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5" r:id="rId1"/>
  </p:sldMasterIdLst>
  <p:notesMasterIdLst>
    <p:notesMasterId r:id="rId24"/>
  </p:notesMasterIdLst>
  <p:handoutMasterIdLst>
    <p:handoutMasterId r:id="rId25"/>
  </p:handoutMasterIdLst>
  <p:sldIdLst>
    <p:sldId id="308" r:id="rId2"/>
    <p:sldId id="310" r:id="rId3"/>
    <p:sldId id="304" r:id="rId4"/>
    <p:sldId id="289" r:id="rId5"/>
    <p:sldId id="311" r:id="rId6"/>
    <p:sldId id="312" r:id="rId7"/>
    <p:sldId id="314" r:id="rId8"/>
    <p:sldId id="303" r:id="rId9"/>
    <p:sldId id="315" r:id="rId10"/>
    <p:sldId id="313" r:id="rId11"/>
    <p:sldId id="281" r:id="rId12"/>
    <p:sldId id="286" r:id="rId13"/>
    <p:sldId id="316" r:id="rId14"/>
    <p:sldId id="318" r:id="rId15"/>
    <p:sldId id="319" r:id="rId16"/>
    <p:sldId id="322" r:id="rId17"/>
    <p:sldId id="317" r:id="rId18"/>
    <p:sldId id="323" r:id="rId19"/>
    <p:sldId id="324" r:id="rId20"/>
    <p:sldId id="325" r:id="rId21"/>
    <p:sldId id="287" r:id="rId22"/>
    <p:sldId id="301" r:id="rId23"/>
  </p:sldIdLst>
  <p:sldSz cx="9144000" cy="6858000" type="screen4x3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314C"/>
    <a:srgbClr val="7F1416"/>
    <a:srgbClr val="459F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823" autoAdjust="0"/>
    <p:restoredTop sz="92074" autoAdjust="0"/>
  </p:normalViewPr>
  <p:slideViewPr>
    <p:cSldViewPr>
      <p:cViewPr>
        <p:scale>
          <a:sx n="60" d="100"/>
          <a:sy n="60" d="100"/>
        </p:scale>
        <p:origin x="-384" y="-19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5" d="100"/>
          <a:sy n="85" d="100"/>
        </p:scale>
        <p:origin x="-3834" y="-9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5660" cy="496411"/>
          </a:xfrm>
          <a:prstGeom prst="rect">
            <a:avLst/>
          </a:prstGeom>
        </p:spPr>
        <p:txBody>
          <a:bodyPr vert="horz" lIns="95563" tIns="47782" rIns="95563" bIns="47782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2" y="2"/>
            <a:ext cx="2945660" cy="496411"/>
          </a:xfrm>
          <a:prstGeom prst="rect">
            <a:avLst/>
          </a:prstGeom>
        </p:spPr>
        <p:txBody>
          <a:bodyPr vert="horz" lIns="95563" tIns="47782" rIns="95563" bIns="47782" rtlCol="0"/>
          <a:lstStyle>
            <a:lvl1pPr algn="r">
              <a:defRPr sz="1300"/>
            </a:lvl1pPr>
          </a:lstStyle>
          <a:p>
            <a:fld id="{12381A15-447F-4DD4-BE92-B6C845C6DFBC}" type="datetimeFigureOut">
              <a:rPr lang="en-GB" smtClean="0"/>
              <a:t>19/10/201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60" cy="496411"/>
          </a:xfrm>
          <a:prstGeom prst="rect">
            <a:avLst/>
          </a:prstGeom>
        </p:spPr>
        <p:txBody>
          <a:bodyPr vert="horz" lIns="95563" tIns="47782" rIns="95563" bIns="47782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2" y="9430091"/>
            <a:ext cx="2945660" cy="496411"/>
          </a:xfrm>
          <a:prstGeom prst="rect">
            <a:avLst/>
          </a:prstGeom>
        </p:spPr>
        <p:txBody>
          <a:bodyPr vert="horz" lIns="95563" tIns="47782" rIns="95563" bIns="47782" rtlCol="0" anchor="b"/>
          <a:lstStyle>
            <a:lvl1pPr algn="r">
              <a:defRPr sz="1300"/>
            </a:lvl1pPr>
          </a:lstStyle>
          <a:p>
            <a:fld id="{6774B565-FA1E-4D79-963C-08C1D370763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60238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5660" cy="496411"/>
          </a:xfrm>
          <a:prstGeom prst="rect">
            <a:avLst/>
          </a:prstGeom>
        </p:spPr>
        <p:txBody>
          <a:bodyPr vert="horz" lIns="95563" tIns="47782" rIns="95563" bIns="47782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2" y="2"/>
            <a:ext cx="2945660" cy="496411"/>
          </a:xfrm>
          <a:prstGeom prst="rect">
            <a:avLst/>
          </a:prstGeom>
        </p:spPr>
        <p:txBody>
          <a:bodyPr vert="horz" lIns="95563" tIns="47782" rIns="95563" bIns="47782" rtlCol="0"/>
          <a:lstStyle>
            <a:lvl1pPr algn="r">
              <a:defRPr sz="1300"/>
            </a:lvl1pPr>
          </a:lstStyle>
          <a:p>
            <a:fld id="{7642051B-1B52-401F-AE1C-323DF4C20EDD}" type="datetimeFigureOut">
              <a:rPr lang="en-GB" smtClean="0"/>
              <a:t>19/10/201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63" tIns="47782" rIns="95563" bIns="47782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9"/>
            <a:ext cx="5438140" cy="4467701"/>
          </a:xfrm>
          <a:prstGeom prst="rect">
            <a:avLst/>
          </a:prstGeom>
        </p:spPr>
        <p:txBody>
          <a:bodyPr vert="horz" lIns="95563" tIns="47782" rIns="95563" bIns="47782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60" cy="496411"/>
          </a:xfrm>
          <a:prstGeom prst="rect">
            <a:avLst/>
          </a:prstGeom>
        </p:spPr>
        <p:txBody>
          <a:bodyPr vert="horz" lIns="95563" tIns="47782" rIns="95563" bIns="47782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2" y="9430091"/>
            <a:ext cx="2945660" cy="496411"/>
          </a:xfrm>
          <a:prstGeom prst="rect">
            <a:avLst/>
          </a:prstGeom>
        </p:spPr>
        <p:txBody>
          <a:bodyPr vert="horz" lIns="95563" tIns="47782" rIns="95563" bIns="47782" rtlCol="0" anchor="b"/>
          <a:lstStyle>
            <a:lvl1pPr algn="r">
              <a:defRPr sz="1300"/>
            </a:lvl1pPr>
          </a:lstStyle>
          <a:p>
            <a:fld id="{712D3970-3CF0-432F-B2B8-46278E180B3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3388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7E765DDF-A07D-43E9-B319-184C07DD0F6A}" type="slidenum">
              <a:rPr lang="de-DE" altLang="en-US">
                <a:latin typeface="Arial" panose="020B0604020202020204" pitchFamily="34" charset="0"/>
              </a:rPr>
              <a:pPr/>
              <a:t>3</a:t>
            </a:fld>
            <a:endParaRPr lang="de-DE" altLang="en-US">
              <a:latin typeface="Arial" panose="020B0604020202020204" pitchFamily="34" charset="0"/>
            </a:endParaRPr>
          </a:p>
        </p:txBody>
      </p:sp>
      <p:sp>
        <p:nvSpPr>
          <p:cNvPr id="389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8676589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2D3970-3CF0-432F-B2B8-46278E180B3C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78038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8,2 </a:t>
            </a:r>
            <a:r>
              <a:rPr lang="en-US" dirty="0" err="1" smtClean="0"/>
              <a:t>mio</a:t>
            </a:r>
            <a:r>
              <a:rPr lang="en-US" dirty="0" smtClean="0"/>
              <a:t> people in the whole 2014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2D3970-3CF0-432F-B2B8-46278E180B3C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69288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2D3970-3CF0-432F-B2B8-46278E180B3C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96935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60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 dirty="0" smtClean="0"/>
              <a:t>Include GC </a:t>
            </a:r>
            <a:r>
              <a:rPr lang="en-US" altLang="en-US" dirty="0" err="1" smtClean="0"/>
              <a:t>Coord</a:t>
            </a:r>
            <a:endParaRPr lang="en-US" altLang="en-US" dirty="0" smtClean="0"/>
          </a:p>
        </p:txBody>
      </p:sp>
      <p:sp>
        <p:nvSpPr>
          <p:cNvPr id="4608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FD635112-B856-482A-AF34-59232BEF459F}" type="slidenum">
              <a:rPr lang="en-US" altLang="en-US"/>
              <a:pPr/>
              <a:t>9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485568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http://www.sheltercluster.org/global_support_team_activiti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2D3970-3CF0-432F-B2B8-46278E180B3C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88777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H" dirty="0" err="1" smtClean="0"/>
              <a:t>Each</a:t>
            </a:r>
            <a:r>
              <a:rPr lang="fr-CH" dirty="0" smtClean="0"/>
              <a:t> of the </a:t>
            </a:r>
            <a:r>
              <a:rPr lang="fr-CH" dirty="0" err="1" smtClean="0"/>
              <a:t>GFPs</a:t>
            </a:r>
            <a:r>
              <a:rPr lang="fr-CH" baseline="0" dirty="0" smtClean="0"/>
              <a:t> </a:t>
            </a:r>
            <a:r>
              <a:rPr lang="fr-CH" baseline="0" dirty="0" err="1" smtClean="0"/>
              <a:t>introduces</a:t>
            </a:r>
            <a:r>
              <a:rPr lang="fr-CH" baseline="0" dirty="0" smtClean="0"/>
              <a:t> </a:t>
            </a:r>
            <a:r>
              <a:rPr lang="fr-CH" baseline="0" dirty="0" err="1" smtClean="0"/>
              <a:t>him</a:t>
            </a:r>
            <a:r>
              <a:rPr lang="fr-CH" baseline="0" dirty="0" smtClean="0"/>
              <a:t>/</a:t>
            </a:r>
            <a:r>
              <a:rPr lang="fr-CH" baseline="0" dirty="0" err="1" smtClean="0"/>
              <a:t>herself</a:t>
            </a:r>
            <a:r>
              <a:rPr lang="fr-CH" baseline="0" dirty="0" smtClean="0"/>
              <a:t> and </a:t>
            </a:r>
            <a:r>
              <a:rPr lang="fr-CH" baseline="0" dirty="0" err="1" smtClean="0"/>
              <a:t>where</a:t>
            </a:r>
            <a:r>
              <a:rPr lang="fr-CH" baseline="0" dirty="0" smtClean="0"/>
              <a:t> has bee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2D3970-3CF0-432F-B2B8-46278E180B3C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46927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6 poster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2D3970-3CF0-432F-B2B8-46278E180B3C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36659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58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9181" indent="-179181">
              <a:buFontTx/>
              <a:buChar char="-"/>
            </a:pPr>
            <a:endParaRPr lang="en-US" altLang="en-US" smtClean="0"/>
          </a:p>
          <a:p>
            <a:pPr marL="179181" indent="-179181"/>
            <a:endParaRPr lang="en-US" altLang="en-US" smtClean="0"/>
          </a:p>
        </p:txBody>
      </p:sp>
      <p:sp>
        <p:nvSpPr>
          <p:cNvPr id="3584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76447" indent="-298634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94536" indent="-238907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72349" indent="-238907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150163" indent="-238907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627978" indent="-23890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3105792" indent="-23890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583606" indent="-23890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4061418" indent="-23890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fld id="{F11E6DCC-E5C9-485C-86E6-CDCC7AEDBA15}" type="slidenum">
              <a:rPr lang="en-US" altLang="en-US"/>
              <a:pPr eaLnBrk="1" hangingPunct="1"/>
              <a:t>2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432757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988840"/>
            <a:ext cx="7772400" cy="1470025"/>
          </a:xfrm>
        </p:spPr>
        <p:txBody>
          <a:bodyPr anchor="b">
            <a:normAutofit/>
          </a:bodyPr>
          <a:lstStyle>
            <a:lvl1pPr>
              <a:defRPr sz="4000" baseline="0">
                <a:solidFill>
                  <a:srgbClr val="7F1416"/>
                </a:solidFill>
              </a:defRPr>
            </a:lvl1pPr>
          </a:lstStyle>
          <a:p>
            <a:r>
              <a:rPr lang="en-US" dirty="0" smtClean="0"/>
              <a:t>CLICK TO EDIT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71600" y="3814192"/>
            <a:ext cx="6400800" cy="1270992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subtitl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24412"/>
            <a:ext cx="2133600" cy="365125"/>
          </a:xfrm>
          <a:prstGeom prst="rect">
            <a:avLst/>
          </a:prstGeom>
        </p:spPr>
        <p:txBody>
          <a:bodyPr/>
          <a:lstStyle/>
          <a:p>
            <a:fld id="{1327C452-0D12-48F3-BB65-BBA3E6350F2C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>
            <a:off x="0" y="-39688"/>
            <a:ext cx="9144000" cy="7286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3000"/>
              </a:lnSpc>
              <a:buClr>
                <a:srgbClr val="000000"/>
              </a:buClr>
              <a:buSzPct val="100000"/>
              <a:buFont typeface="Arial" panose="020B0604020202020204" pitchFamily="34" charset="0"/>
              <a:buNone/>
              <a:defRPr/>
            </a:pPr>
            <a:r>
              <a:rPr lang="en-US" dirty="0">
                <a:solidFill>
                  <a:prstClr val="white"/>
                </a:solidFill>
              </a:rPr>
              <a:t> </a:t>
            </a:r>
          </a:p>
        </p:txBody>
      </p:sp>
      <p:pic>
        <p:nvPicPr>
          <p:cNvPr id="8" name="Picture 16" descr="GSC-ExistingLogo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1138" y="222250"/>
            <a:ext cx="1703387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 userDrawn="1"/>
        </p:nvSpPr>
        <p:spPr>
          <a:xfrm>
            <a:off x="4257675" y="3571533"/>
            <a:ext cx="628650" cy="130175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3000"/>
              </a:lnSpc>
              <a:buClr>
                <a:srgbClr val="000000"/>
              </a:buClr>
              <a:buSzPct val="100000"/>
              <a:buFont typeface="Arial" panose="020B0604020202020204" pitchFamily="34" charset="0"/>
              <a:buNone/>
              <a:defRPr/>
            </a:pPr>
            <a:r>
              <a:rPr lang="en-US" dirty="0">
                <a:solidFill>
                  <a:prstClr val="white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37426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24412"/>
            <a:ext cx="2133600" cy="365125"/>
          </a:xfrm>
          <a:prstGeom prst="rect">
            <a:avLst/>
          </a:prstGeom>
        </p:spPr>
        <p:txBody>
          <a:bodyPr/>
          <a:lstStyle/>
          <a:p>
            <a:fld id="{1327C452-0D12-48F3-BB65-BBA3E6350F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3982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24412"/>
            <a:ext cx="2133600" cy="365125"/>
          </a:xfrm>
          <a:prstGeom prst="rect">
            <a:avLst/>
          </a:prstGeom>
        </p:spPr>
        <p:txBody>
          <a:bodyPr/>
          <a:lstStyle/>
          <a:p>
            <a:fld id="{1327C452-0D12-48F3-BB65-BBA3E6350F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1691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24412"/>
            <a:ext cx="2133600" cy="365125"/>
          </a:xfrm>
          <a:prstGeom prst="rect">
            <a:avLst/>
          </a:prstGeom>
        </p:spPr>
        <p:txBody>
          <a:bodyPr/>
          <a:lstStyle/>
          <a:p>
            <a:fld id="{1327C452-0D12-48F3-BB65-BBA3E6350F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6618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6021288"/>
            <a:ext cx="9144000" cy="720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0" y="116632"/>
            <a:ext cx="9144000" cy="66247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3440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7281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24412"/>
            <a:ext cx="2133600" cy="365125"/>
          </a:xfrm>
          <a:prstGeom prst="rect">
            <a:avLst/>
          </a:prstGeom>
        </p:spPr>
        <p:txBody>
          <a:bodyPr/>
          <a:lstStyle/>
          <a:p>
            <a:fld id="{1327C452-0D12-48F3-BB65-BBA3E6350F2C}" type="slidenum">
              <a:rPr lang="en-GB" smtClean="0"/>
              <a:t>‹#›</a:t>
            </a:fld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0" y="1141413"/>
            <a:ext cx="8348663" cy="501650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31024">
              <a:defRPr/>
            </a:pPr>
            <a:r>
              <a:rPr lang="en-US" dirty="0">
                <a:solidFill>
                  <a:srgbClr val="800000"/>
                </a:solidFill>
              </a:rPr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1141413"/>
            <a:ext cx="7953127" cy="501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590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88840"/>
            <a:ext cx="8229600" cy="430993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24412"/>
            <a:ext cx="2133600" cy="365125"/>
          </a:xfrm>
          <a:prstGeom prst="rect">
            <a:avLst/>
          </a:prstGeom>
        </p:spPr>
        <p:txBody>
          <a:bodyPr/>
          <a:lstStyle/>
          <a:p>
            <a:fld id="{1327C452-0D12-48F3-BB65-BBA3E6350F2C}" type="slidenum">
              <a:rPr lang="en-GB" smtClean="0"/>
              <a:t>‹#›</a:t>
            </a:fld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0" y="1141412"/>
            <a:ext cx="8348663" cy="775419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31024">
              <a:defRPr/>
            </a:pPr>
            <a:r>
              <a:rPr lang="en-US" dirty="0">
                <a:solidFill>
                  <a:srgbClr val="800000"/>
                </a:solidFill>
              </a:rPr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5536" y="1141412"/>
            <a:ext cx="7953127" cy="775419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a very </a:t>
            </a:r>
            <a:r>
              <a:rPr lang="en-US" dirty="0" err="1" smtClean="0"/>
              <a:t>very</a:t>
            </a:r>
            <a:r>
              <a:rPr lang="en-US" dirty="0" smtClean="0"/>
              <a:t> long title Master title style</a:t>
            </a:r>
            <a:endParaRPr lang="en-GB" dirty="0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4187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24412"/>
            <a:ext cx="2133600" cy="365125"/>
          </a:xfrm>
          <a:prstGeom prst="rect">
            <a:avLst/>
          </a:prstGeom>
        </p:spPr>
        <p:txBody>
          <a:bodyPr/>
          <a:lstStyle/>
          <a:p>
            <a:fld id="{1327C452-0D12-48F3-BB65-BBA3E6350F2C}" type="slidenum">
              <a:rPr lang="en-GB" smtClean="0"/>
              <a:t>‹#›</a:t>
            </a:fld>
            <a:endParaRPr lang="en-GB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63142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711349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711349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24412"/>
            <a:ext cx="2133600" cy="365125"/>
          </a:xfrm>
          <a:prstGeom prst="rect">
            <a:avLst/>
          </a:prstGeom>
        </p:spPr>
        <p:txBody>
          <a:bodyPr/>
          <a:lstStyle/>
          <a:p>
            <a:fld id="{1327C452-0D12-48F3-BB65-BBA3E6350F2C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ctangle 5"/>
          <p:cNvSpPr/>
          <p:nvPr userDrawn="1"/>
        </p:nvSpPr>
        <p:spPr>
          <a:xfrm>
            <a:off x="0" y="1141413"/>
            <a:ext cx="8348663" cy="501650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31024">
              <a:defRPr/>
            </a:pPr>
            <a:r>
              <a:rPr lang="en-US" dirty="0">
                <a:solidFill>
                  <a:srgbClr val="800000"/>
                </a:solidFill>
              </a:rPr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1134145"/>
            <a:ext cx="7881119" cy="50891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6428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71827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358032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71827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358032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24412"/>
            <a:ext cx="2133600" cy="365125"/>
          </a:xfrm>
          <a:prstGeom prst="rect">
            <a:avLst/>
          </a:prstGeom>
        </p:spPr>
        <p:txBody>
          <a:bodyPr/>
          <a:lstStyle/>
          <a:p>
            <a:fld id="{1327C452-0D12-48F3-BB65-BBA3E6350F2C}" type="slidenum">
              <a:rPr lang="en-GB" smtClean="0"/>
              <a:t>‹#›</a:t>
            </a:fld>
            <a:endParaRPr lang="en-GB"/>
          </a:p>
        </p:txBody>
      </p:sp>
      <p:sp>
        <p:nvSpPr>
          <p:cNvPr id="8" name="Rectangle 7"/>
          <p:cNvSpPr/>
          <p:nvPr userDrawn="1"/>
        </p:nvSpPr>
        <p:spPr>
          <a:xfrm>
            <a:off x="0" y="1141413"/>
            <a:ext cx="8348663" cy="501650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31024">
              <a:defRPr/>
            </a:pPr>
            <a:r>
              <a:rPr lang="en-US" dirty="0">
                <a:solidFill>
                  <a:srgbClr val="800000"/>
                </a:solidFill>
              </a:rPr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1123504"/>
            <a:ext cx="7881119" cy="50891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9426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24412"/>
            <a:ext cx="2133600" cy="365125"/>
          </a:xfrm>
          <a:prstGeom prst="rect">
            <a:avLst/>
          </a:prstGeom>
        </p:spPr>
        <p:txBody>
          <a:bodyPr/>
          <a:lstStyle/>
          <a:p>
            <a:fld id="{1327C452-0D12-48F3-BB65-BBA3E6350F2C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09043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24412"/>
            <a:ext cx="2133600" cy="365125"/>
          </a:xfrm>
          <a:prstGeom prst="rect">
            <a:avLst/>
          </a:prstGeom>
        </p:spPr>
        <p:txBody>
          <a:bodyPr/>
          <a:lstStyle/>
          <a:p>
            <a:fld id="{1327C452-0D12-48F3-BB65-BBA3E6350F2C}" type="slidenum">
              <a:rPr lang="en-GB" smtClean="0"/>
              <a:t>‹#›</a:t>
            </a:fld>
            <a:endParaRPr lang="en-GB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90535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24412"/>
            <a:ext cx="2133600" cy="365125"/>
          </a:xfrm>
          <a:prstGeom prst="rect">
            <a:avLst/>
          </a:prstGeom>
        </p:spPr>
        <p:txBody>
          <a:bodyPr/>
          <a:lstStyle/>
          <a:p>
            <a:fld id="{1327C452-0D12-48F3-BB65-BBA3E6350F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5304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980728"/>
            <a:ext cx="8229600" cy="5089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17" name="Date Placeholder 2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CD667A46-D55B-4354-9EBD-9A468F803C8C}" type="datetimeFigureOut">
              <a:rPr lang="en-US" smtClean="0"/>
              <a:pPr>
                <a:defRPr/>
              </a:pPr>
              <a:t>10/19/2015</a:t>
            </a:fld>
            <a:endParaRPr lang="en-US" dirty="0"/>
          </a:p>
        </p:txBody>
      </p:sp>
      <p:sp>
        <p:nvSpPr>
          <p:cNvPr id="1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anchor="ctr"/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525F72B-7E20-4902-A6CC-89EA8820337E}" type="slidenum">
              <a:rPr lang="en-US" alt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-36512" y="0"/>
            <a:ext cx="9220200" cy="104775"/>
          </a:xfrm>
          <a:prstGeom prst="rect">
            <a:avLst/>
          </a:prstGeom>
          <a:solidFill>
            <a:srgbClr val="68839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31024">
              <a:defRPr/>
            </a:pPr>
            <a:r>
              <a:rPr lang="en-US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-36512" y="6757988"/>
            <a:ext cx="9220200" cy="106362"/>
          </a:xfrm>
          <a:prstGeom prst="rect">
            <a:avLst/>
          </a:prstGeom>
          <a:solidFill>
            <a:srgbClr val="68839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31024">
              <a:defRPr/>
            </a:pPr>
            <a:r>
              <a:rPr lang="en-US" dirty="0">
                <a:solidFill>
                  <a:prstClr val="white"/>
                </a:solidFill>
              </a:rPr>
              <a:t> </a:t>
            </a:r>
          </a:p>
        </p:txBody>
      </p:sp>
      <p:pic>
        <p:nvPicPr>
          <p:cNvPr id="23" name="Picture 6" descr="GSC-ExistingLogo.jpg"/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6063" y="244475"/>
            <a:ext cx="1992312" cy="325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57314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</p:sldLayoutIdLst>
  <p:timing>
    <p:tnLst>
      <p:par>
        <p:cTn id="1" dur="indefinite" restart="never" nodeType="tmRoot"/>
      </p:par>
    </p:tnLst>
  </p:timing>
  <p:hf hdr="0" ftr="0"/>
  <p:txStyles>
    <p:titleStyle>
      <a:lvl1pPr algn="ctr" defTabSz="914400" rtl="0" eaLnBrk="1" latinLnBrk="0" hangingPunct="1">
        <a:spcBef>
          <a:spcPct val="0"/>
        </a:spcBef>
        <a:buNone/>
        <a:defRPr sz="2800" b="1" kern="1200">
          <a:solidFill>
            <a:srgbClr val="04314C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7F1416"/>
        </a:buClr>
        <a:buFont typeface="Wingdings" pitchFamily="2" charset="2"/>
        <a:buChar char="§"/>
        <a:defRPr sz="3200" kern="1200">
          <a:solidFill>
            <a:srgbClr val="04314C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7F1416"/>
        </a:buClr>
        <a:buFont typeface="Arial" pitchFamily="34" charset="0"/>
        <a:buChar char="–"/>
        <a:defRPr sz="2800" kern="1200">
          <a:solidFill>
            <a:srgbClr val="04314C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7F1416"/>
        </a:buClr>
        <a:buFont typeface="Arial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7F1416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7F1416"/>
        </a:buClr>
        <a:buFont typeface="Arial" pitchFamily="34" charset="0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heltercluster.org/global_support_team_activities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heltercluster.org/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4.jpe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377" Type="http://schemas.openxmlformats.org/officeDocument/2006/relationships/tags" Target="../tags/tag377.xml"/><Relationship Id="rId398" Type="http://schemas.openxmlformats.org/officeDocument/2006/relationships/tags" Target="../tags/tag398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402" Type="http://schemas.openxmlformats.org/officeDocument/2006/relationships/tags" Target="../tags/tag402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388" Type="http://schemas.openxmlformats.org/officeDocument/2006/relationships/tags" Target="../tags/tag388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378" Type="http://schemas.openxmlformats.org/officeDocument/2006/relationships/tags" Target="../tags/tag378.xml"/><Relationship Id="rId399" Type="http://schemas.openxmlformats.org/officeDocument/2006/relationships/tags" Target="../tags/tag399.xml"/><Relationship Id="rId403" Type="http://schemas.openxmlformats.org/officeDocument/2006/relationships/slideLayout" Target="../slideLayouts/slideLayout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389" Type="http://schemas.openxmlformats.org/officeDocument/2006/relationships/tags" Target="../tags/tag389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390" Type="http://schemas.openxmlformats.org/officeDocument/2006/relationships/tags" Target="../tags/tag390.xml"/><Relationship Id="rId404" Type="http://schemas.openxmlformats.org/officeDocument/2006/relationships/notesSlide" Target="../notesSlides/notesSlide1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391" Type="http://schemas.openxmlformats.org/officeDocument/2006/relationships/tags" Target="../tags/tag391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381" Type="http://schemas.openxmlformats.org/officeDocument/2006/relationships/tags" Target="../tags/tag381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392" Type="http://schemas.openxmlformats.org/officeDocument/2006/relationships/tags" Target="../tags/tag392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tags" Target="../tags/tag382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393" Type="http://schemas.openxmlformats.org/officeDocument/2006/relationships/tags" Target="../tags/tag393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tags" Target="../tags/tag383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394" Type="http://schemas.openxmlformats.org/officeDocument/2006/relationships/tags" Target="../tags/tag394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384" Type="http://schemas.openxmlformats.org/officeDocument/2006/relationships/tags" Target="../tags/tag384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395" Type="http://schemas.openxmlformats.org/officeDocument/2006/relationships/tags" Target="../tags/tag395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385" Type="http://schemas.openxmlformats.org/officeDocument/2006/relationships/tags" Target="../tags/tag385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96" Type="http://schemas.openxmlformats.org/officeDocument/2006/relationships/tags" Target="../tags/tag396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400" Type="http://schemas.openxmlformats.org/officeDocument/2006/relationships/tags" Target="../tags/tag400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386" Type="http://schemas.openxmlformats.org/officeDocument/2006/relationships/tags" Target="../tags/tag386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397" Type="http://schemas.openxmlformats.org/officeDocument/2006/relationships/tags" Target="../tags/tag397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401" Type="http://schemas.openxmlformats.org/officeDocument/2006/relationships/tags" Target="../tags/tag401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387" Type="http://schemas.openxmlformats.org/officeDocument/2006/relationships/tags" Target="../tags/tag387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tags" Target="../tags/tag28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13" Type="http://schemas.openxmlformats.org/officeDocument/2006/relationships/image" Target="../media/image19.jpeg"/><Relationship Id="rId18" Type="http://schemas.openxmlformats.org/officeDocument/2006/relationships/image" Target="../media/image24.png"/><Relationship Id="rId3" Type="http://schemas.openxmlformats.org/officeDocument/2006/relationships/image" Target="../media/image10.jpe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17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22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5" Type="http://schemas.openxmlformats.org/officeDocument/2006/relationships/image" Target="../media/image21.jpeg"/><Relationship Id="rId10" Type="http://schemas.openxmlformats.org/officeDocument/2006/relationships/image" Target="../media/image16.png"/><Relationship Id="rId4" Type="http://schemas.openxmlformats.org/officeDocument/2006/relationships/hyperlink" Target="https://www.sheltercluster.org/node/5221" TargetMode="External"/><Relationship Id="rId9" Type="http://schemas.openxmlformats.org/officeDocument/2006/relationships/image" Target="../media/image15.png"/><Relationship Id="rId14" Type="http://schemas.openxmlformats.org/officeDocument/2006/relationships/image" Target="../media/image2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GSC Strategy 2013-2017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Progress 2014-2015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7C452-0D12-48F3-BB65-BBA3E6350F2C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1373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7C452-0D12-48F3-BB65-BBA3E6350F2C}" type="slidenum">
              <a:rPr lang="en-GB" smtClean="0"/>
              <a:t>10</a:t>
            </a:fld>
            <a:endParaRPr lang="en-GB"/>
          </a:p>
        </p:txBody>
      </p:sp>
      <p:pic>
        <p:nvPicPr>
          <p:cNvPr id="2" name="Picture 1">
            <a:hlinkClick r:id="rId3"/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07704" y="645086"/>
            <a:ext cx="5904656" cy="604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287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Clr>
                <a:srgbClr val="632523"/>
              </a:buClr>
            </a:pPr>
            <a:r>
              <a:rPr lang="en-US" altLang="en-US" dirty="0"/>
              <a:t>More than 70% of their time supporting country level clusters</a:t>
            </a:r>
          </a:p>
          <a:p>
            <a:pPr>
              <a:buClr>
                <a:srgbClr val="632523"/>
              </a:buClr>
            </a:pPr>
            <a:endParaRPr lang="en-US" altLang="en-US" b="1" dirty="0" smtClean="0"/>
          </a:p>
          <a:p>
            <a:pPr>
              <a:buClr>
                <a:srgbClr val="632523"/>
              </a:buClr>
            </a:pPr>
            <a:r>
              <a:rPr lang="en-US" altLang="en-US" b="1" dirty="0" smtClean="0"/>
              <a:t>Support missions</a:t>
            </a:r>
            <a:r>
              <a:rPr lang="en-US" altLang="en-US" dirty="0" smtClean="0"/>
              <a:t>: </a:t>
            </a:r>
          </a:p>
          <a:p>
            <a:pPr lvl="1">
              <a:buClr>
                <a:srgbClr val="632523"/>
              </a:buClr>
            </a:pPr>
            <a:r>
              <a:rPr lang="en-US" altLang="en-US" dirty="0" smtClean="0"/>
              <a:t>29 missions to 14 countries in 2013</a:t>
            </a:r>
          </a:p>
          <a:p>
            <a:pPr lvl="1">
              <a:buClr>
                <a:srgbClr val="632523"/>
              </a:buClr>
            </a:pPr>
            <a:r>
              <a:rPr lang="en-US" altLang="en-US" dirty="0" smtClean="0"/>
              <a:t>51 missions to 19 countries in 2014</a:t>
            </a:r>
          </a:p>
          <a:p>
            <a:pPr lvl="1">
              <a:buClr>
                <a:srgbClr val="632523"/>
              </a:buClr>
            </a:pPr>
            <a:r>
              <a:rPr lang="en-US" altLang="en-US" dirty="0" smtClean="0"/>
              <a:t>26 missions to 14 countries so far in 2015</a:t>
            </a:r>
          </a:p>
          <a:p>
            <a:pPr lvl="1">
              <a:buClr>
                <a:srgbClr val="632523"/>
              </a:buClr>
            </a:pPr>
            <a:endParaRPr lang="en-GB" alt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7C452-0D12-48F3-BB65-BBA3E6350F2C}" type="slidenum">
              <a:rPr lang="en-GB" smtClean="0"/>
              <a:t>11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/>
            <a:r>
              <a:rPr lang="en-GB" dirty="0" smtClean="0"/>
              <a:t>Harmonized Surge Capacit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6598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Clr>
                <a:srgbClr val="632523"/>
              </a:buClr>
            </a:pPr>
            <a:r>
              <a:rPr lang="en-US" altLang="en-US" dirty="0"/>
              <a:t>Assessments in Ukraine, Nepal and Vanuatu</a:t>
            </a:r>
            <a:r>
              <a:rPr lang="en-US" altLang="en-US" dirty="0" smtClean="0"/>
              <a:t>.</a:t>
            </a:r>
          </a:p>
          <a:p>
            <a:pPr>
              <a:buClr>
                <a:srgbClr val="632523"/>
              </a:buClr>
            </a:pPr>
            <a:endParaRPr lang="en-US" altLang="en-US" dirty="0"/>
          </a:p>
          <a:p>
            <a:pPr>
              <a:buClr>
                <a:srgbClr val="632523"/>
              </a:buClr>
            </a:pPr>
            <a:r>
              <a:rPr lang="en-US" altLang="en-US" dirty="0" smtClean="0"/>
              <a:t>Country-level </a:t>
            </a:r>
            <a:r>
              <a:rPr lang="en-US" altLang="en-US" dirty="0"/>
              <a:t>clusters </a:t>
            </a:r>
            <a:r>
              <a:rPr lang="en-US" altLang="en-US" dirty="0" smtClean="0"/>
              <a:t>reviews:</a:t>
            </a:r>
          </a:p>
          <a:p>
            <a:pPr lvl="1">
              <a:buClr>
                <a:srgbClr val="632523"/>
              </a:buClr>
            </a:pPr>
            <a:r>
              <a:rPr lang="en-US" altLang="en-US" dirty="0" smtClean="0"/>
              <a:t>Vanuatu</a:t>
            </a:r>
          </a:p>
          <a:p>
            <a:pPr lvl="1">
              <a:buClr>
                <a:srgbClr val="632523"/>
              </a:buClr>
            </a:pPr>
            <a:r>
              <a:rPr lang="en-US" altLang="en-US" dirty="0" smtClean="0"/>
              <a:t>Ukraine</a:t>
            </a:r>
            <a:r>
              <a:rPr lang="en-US" altLang="en-US" b="1" dirty="0"/>
              <a:t/>
            </a:r>
            <a:br>
              <a:rPr lang="en-US" altLang="en-US" b="1" dirty="0"/>
            </a:br>
            <a:endParaRPr lang="en-US" altLang="en-US" dirty="0">
              <a:solidFill>
                <a:srgbClr val="404040"/>
              </a:solidFill>
            </a:endParaRP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7C452-0D12-48F3-BB65-BBA3E6350F2C}" type="slidenum">
              <a:rPr lang="en-GB" smtClean="0"/>
              <a:t>12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CH" dirty="0" err="1" smtClean="0"/>
              <a:t>Assessments</a:t>
            </a:r>
            <a:r>
              <a:rPr lang="fr-CH" dirty="0" smtClean="0"/>
              <a:t>, monitoring </a:t>
            </a:r>
            <a:r>
              <a:rPr lang="en-GB" dirty="0" smtClean="0"/>
              <a:t>and evaluations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8810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Strategic Aim 2</a:t>
            </a:r>
            <a:endParaRPr lang="en-GB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An effective Global Cluster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7C452-0D12-48F3-BB65-BBA3E6350F2C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1174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59,763 visitors in last year</a:t>
            </a:r>
          </a:p>
          <a:p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7C452-0D12-48F3-BB65-BBA3E6350F2C}" type="slidenum">
              <a:rPr lang="en-GB" smtClean="0"/>
              <a:t>14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New sheltercluster.org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2420888"/>
            <a:ext cx="8168233" cy="5752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850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7C452-0D12-48F3-BB65-BBA3E6350F2C}" type="slidenum">
              <a:rPr lang="en-GB" smtClean="0"/>
              <a:t>15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Online training on shelter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544" y="1620141"/>
            <a:ext cx="7597192" cy="5121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7300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New grant received from ECHO ERC for 2015-2016</a:t>
            </a:r>
          </a:p>
          <a:p>
            <a:r>
              <a:rPr lang="en-US" dirty="0" smtClean="0"/>
              <a:t>Roadshow to donors</a:t>
            </a:r>
          </a:p>
          <a:p>
            <a:r>
              <a:rPr lang="en-US" dirty="0" smtClean="0"/>
              <a:t>Contributory mechanism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7C452-0D12-48F3-BB65-BBA3E6350F2C}" type="slidenum">
              <a:rPr lang="en-GB" smtClean="0"/>
              <a:t>16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Broader donor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9931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Strategic Aim 3</a:t>
            </a:r>
            <a:endParaRPr lang="en-GB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ncreased understanding of the sector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7C452-0D12-48F3-BB65-BBA3E6350F2C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1189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7C452-0D12-48F3-BB65-BBA3E6350F2C}" type="slidenum">
              <a:rPr lang="en-GB" smtClean="0"/>
              <a:t>18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Posters, video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536" y="1732080"/>
            <a:ext cx="3549576" cy="4971859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237096" y="1756310"/>
            <a:ext cx="444970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6 posters explaining shelter and:</a:t>
            </a:r>
          </a:p>
          <a:p>
            <a:pPr marL="285750" indent="-285750">
              <a:buFontTx/>
              <a:buChar char="-"/>
            </a:pPr>
            <a:r>
              <a:rPr lang="en-US" dirty="0" smtClean="0"/>
              <a:t>Protection</a:t>
            </a:r>
          </a:p>
          <a:p>
            <a:pPr marL="285750" indent="-285750">
              <a:buFontTx/>
              <a:buChar char="-"/>
            </a:pPr>
            <a:r>
              <a:rPr lang="en-US" dirty="0" smtClean="0"/>
              <a:t>Resilience</a:t>
            </a:r>
          </a:p>
          <a:p>
            <a:pPr marL="285750" indent="-285750">
              <a:buFontTx/>
              <a:buChar char="-"/>
            </a:pPr>
            <a:r>
              <a:rPr lang="en-US" dirty="0" smtClean="0"/>
              <a:t>Rebuild lives</a:t>
            </a:r>
          </a:p>
          <a:p>
            <a:pPr marL="285750" indent="-285750">
              <a:buFontTx/>
              <a:buChar char="-"/>
            </a:pPr>
            <a:r>
              <a:rPr lang="en-US" dirty="0" smtClean="0"/>
              <a:t>Health</a:t>
            </a:r>
          </a:p>
          <a:p>
            <a:pPr marL="285750" indent="-285750">
              <a:buFontTx/>
              <a:buChar char="-"/>
            </a:pPr>
            <a:r>
              <a:rPr lang="en-US" dirty="0" smtClean="0"/>
              <a:t>Livelihoods</a:t>
            </a:r>
          </a:p>
          <a:p>
            <a:pPr marL="285750" indent="-285750">
              <a:buFontTx/>
              <a:buChar char="-"/>
            </a:pPr>
            <a:r>
              <a:rPr lang="en-US" dirty="0" smtClean="0"/>
              <a:t>Home</a:t>
            </a:r>
          </a:p>
          <a:p>
            <a:endParaRPr lang="en-US" dirty="0"/>
          </a:p>
          <a:p>
            <a:r>
              <a:rPr lang="en-US" dirty="0" smtClean="0"/>
              <a:t>Video introducing the Global Shelter Cluster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67944" y="4331330"/>
            <a:ext cx="3107234" cy="2355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9376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 smtClean="0"/>
              <a:t>@</a:t>
            </a:r>
            <a:r>
              <a:rPr lang="en-US" b="1" dirty="0" err="1" smtClean="0"/>
              <a:t>sheltercluster</a:t>
            </a:r>
            <a:r>
              <a:rPr lang="en-US" dirty="0" smtClean="0"/>
              <a:t>:</a:t>
            </a:r>
          </a:p>
          <a:p>
            <a:pPr marL="0" indent="0">
              <a:buNone/>
            </a:pPr>
            <a:endParaRPr lang="en-US" dirty="0" smtClean="0"/>
          </a:p>
          <a:p>
            <a:r>
              <a:rPr lang="en-US" dirty="0" smtClean="0"/>
              <a:t>Followers 1,463</a:t>
            </a:r>
          </a:p>
          <a:p>
            <a:r>
              <a:rPr lang="en-US" dirty="0" smtClean="0"/>
              <a:t>453 tweets in last year (around 2 per working day)</a:t>
            </a:r>
          </a:p>
          <a:p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7C452-0D12-48F3-BB65-BBA3E6350F2C}" type="slidenum">
              <a:rPr lang="en-GB" smtClean="0"/>
              <a:t>19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Website and Twit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5324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Strategic Aim 1</a:t>
            </a:r>
            <a:endParaRPr lang="en-GB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upport country level clusters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7C452-0D12-48F3-BB65-BBA3E6350F2C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3243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7C452-0D12-48F3-BB65-BBA3E6350F2C}" type="slidenum">
              <a:rPr lang="en-GB" smtClean="0"/>
              <a:t>20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Shelter Projects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9592" y="2060848"/>
            <a:ext cx="3762375" cy="16002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5656" y="4078833"/>
            <a:ext cx="2409825" cy="1619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32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 4"/>
          <p:cNvSpPr txBox="1">
            <a:spLocks/>
          </p:cNvSpPr>
          <p:nvPr/>
        </p:nvSpPr>
        <p:spPr bwMode="auto">
          <a:xfrm>
            <a:off x="684213" y="908745"/>
            <a:ext cx="7343775" cy="2808287"/>
          </a:xfrm>
          <a:prstGeom prst="rect">
            <a:avLst/>
          </a:prstGeom>
          <a:solidFill>
            <a:schemeClr val="bg1"/>
          </a:solidFill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20000"/>
              </a:spcBef>
              <a:buFont typeface="Arial" charset="0"/>
              <a:buChar char="•"/>
            </a:pPr>
            <a:endParaRPr lang="en-US" altLang="en-US" sz="3000" dirty="0">
              <a:solidFill>
                <a:srgbClr val="632523"/>
              </a:solidFill>
              <a:latin typeface="Arial" charset="0"/>
            </a:endParaRPr>
          </a:p>
          <a:p>
            <a:pPr algn="ctr" eaLnBrk="1" hangingPunct="1">
              <a:lnSpc>
                <a:spcPct val="90000"/>
              </a:lnSpc>
              <a:spcBef>
                <a:spcPct val="20000"/>
              </a:spcBef>
              <a:buFont typeface="Arial" charset="0"/>
              <a:buNone/>
            </a:pPr>
            <a:r>
              <a:rPr lang="en-US" altLang="en-US" sz="3300" b="1" dirty="0">
                <a:solidFill>
                  <a:srgbClr val="04314C"/>
                </a:solidFill>
                <a:latin typeface="Verdana" pitchFamily="34" charset="0"/>
              </a:rPr>
              <a:t>Thank you!</a:t>
            </a:r>
          </a:p>
          <a:p>
            <a:pPr algn="ctr" eaLnBrk="1" hangingPunct="1">
              <a:lnSpc>
                <a:spcPct val="90000"/>
              </a:lnSpc>
              <a:spcBef>
                <a:spcPct val="20000"/>
              </a:spcBef>
              <a:buFont typeface="Arial" charset="0"/>
              <a:buNone/>
            </a:pPr>
            <a:endParaRPr lang="en-US" altLang="en-US" sz="1900" b="1" dirty="0">
              <a:solidFill>
                <a:srgbClr val="7F7F7F"/>
              </a:solidFill>
              <a:latin typeface="Arial" charset="0"/>
            </a:endParaRPr>
          </a:p>
          <a:p>
            <a:pPr algn="ctr" eaLnBrk="1" hangingPunct="1">
              <a:lnSpc>
                <a:spcPct val="90000"/>
              </a:lnSpc>
              <a:spcBef>
                <a:spcPct val="20000"/>
              </a:spcBef>
              <a:buFont typeface="Arial" charset="0"/>
              <a:buNone/>
            </a:pPr>
            <a:r>
              <a:rPr lang="en-US" altLang="en-US" sz="2600" b="1" dirty="0"/>
              <a:t>More info:</a:t>
            </a:r>
          </a:p>
          <a:p>
            <a:pPr algn="ctr" eaLnBrk="1" hangingPunct="1">
              <a:lnSpc>
                <a:spcPct val="90000"/>
              </a:lnSpc>
              <a:spcBef>
                <a:spcPct val="20000"/>
              </a:spcBef>
              <a:buFont typeface="Arial" charset="0"/>
              <a:buNone/>
            </a:pPr>
            <a:r>
              <a:rPr lang="en-US" altLang="en-US" sz="2600" b="1" dirty="0">
                <a:hlinkClick r:id="rId3"/>
              </a:rPr>
              <a:t>www.sheltercluster.org</a:t>
            </a:r>
            <a:endParaRPr lang="en-US" altLang="en-US" sz="2600" b="1" dirty="0"/>
          </a:p>
          <a:p>
            <a:pPr algn="ctr" eaLnBrk="1" hangingPunct="1">
              <a:lnSpc>
                <a:spcPct val="90000"/>
              </a:lnSpc>
              <a:spcBef>
                <a:spcPct val="20000"/>
              </a:spcBef>
              <a:buFont typeface="Arial" charset="0"/>
              <a:buNone/>
            </a:pPr>
            <a:r>
              <a:rPr lang="en-US" altLang="en-US" sz="2600" b="1" dirty="0"/>
              <a:t>Twitter: @</a:t>
            </a:r>
            <a:r>
              <a:rPr lang="en-US" altLang="en-US" sz="2600" b="1" dirty="0" err="1"/>
              <a:t>sheltercluster</a:t>
            </a:r>
            <a:endParaRPr lang="en-US" altLang="en-US" sz="2600" b="1" dirty="0"/>
          </a:p>
        </p:txBody>
      </p:sp>
      <p:pic>
        <p:nvPicPr>
          <p:cNvPr id="2355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4085679"/>
            <a:ext cx="3094037" cy="206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56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40" y="4104729"/>
            <a:ext cx="3098800" cy="206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57" name="Picture 6" descr="L:\000-SSS\SECTION WIDE\PHOTO LIBRARY\Unknown Location\011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840" y="4104729"/>
            <a:ext cx="2927351" cy="204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2964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95288" y="6237288"/>
            <a:ext cx="2160587" cy="431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pic>
        <p:nvPicPr>
          <p:cNvPr id="30723" name="Picture 2" descr="C:\Users\No-Admin\Dropbox\SC Support Team\Communications and Advocay\GSC Brochure\assets\logos\ECHO flag-HACP_en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7363" y="3597275"/>
            <a:ext cx="3089275" cy="292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4" name="Picture 2" descr="C:\Users\No-Admin\Dropbox\SC Support Team\Communications and Advocay\02 Branding\Logotype\Shelter-Cluster-Global_60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175" y="822325"/>
            <a:ext cx="7359650" cy="123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25" name="TextBox 6"/>
          <p:cNvSpPr txBox="1">
            <a:spLocks noChangeArrowheads="1"/>
          </p:cNvSpPr>
          <p:nvPr/>
        </p:nvSpPr>
        <p:spPr bwMode="auto">
          <a:xfrm>
            <a:off x="3194050" y="2927350"/>
            <a:ext cx="2890838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rgbClr val="7F1416"/>
              </a:buClr>
              <a:buFont typeface="Wingdings" pitchFamily="2" charset="2"/>
              <a:buChar char="§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7F1416"/>
              </a:buClr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7F1416"/>
              </a:buClr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7F1416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7F1416"/>
              </a:buClr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1416"/>
              </a:buClr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1416"/>
              </a:buClr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1416"/>
              </a:buClr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1416"/>
              </a:buClr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3600"/>
              <a:t>Supported by:</a:t>
            </a:r>
          </a:p>
        </p:txBody>
      </p:sp>
    </p:spTree>
    <p:extLst>
      <p:ext uri="{BB962C8B-B14F-4D97-AF65-F5344CB8AC3E}">
        <p14:creationId xmlns:p14="http://schemas.microsoft.com/office/powerpoint/2010/main" val="3165413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/>
          <p:nvPr/>
        </p:nvSpPr>
        <p:spPr>
          <a:xfrm>
            <a:off x="7942175" y="3283987"/>
            <a:ext cx="1166330" cy="1297141"/>
          </a:xfrm>
          <a:prstGeom prst="ellipse">
            <a:avLst/>
          </a:prstGeom>
          <a:gradFill flip="none" rotWithShape="1">
            <a:gsLst>
              <a:gs pos="0">
                <a:srgbClr val="149C48">
                  <a:tint val="66000"/>
                  <a:satMod val="160000"/>
                </a:srgbClr>
              </a:gs>
              <a:gs pos="22000">
                <a:srgbClr val="149C48">
                  <a:tint val="44500"/>
                  <a:satMod val="160000"/>
                </a:srgbClr>
              </a:gs>
              <a:gs pos="73000">
                <a:srgbClr val="149C48">
                  <a:tint val="23500"/>
                  <a:satMod val="160000"/>
                  <a:lumMod val="98000"/>
                  <a:alpha val="7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GB" altLang="en-US" sz="1800" smtClean="0">
              <a:solidFill>
                <a:srgbClr val="149C48"/>
              </a:solidFill>
            </a:endParaRPr>
          </a:p>
        </p:txBody>
      </p:sp>
      <p:sp>
        <p:nvSpPr>
          <p:cNvPr id="634" name="TextBox 633"/>
          <p:cNvSpPr txBox="1"/>
          <p:nvPr/>
        </p:nvSpPr>
        <p:spPr>
          <a:xfrm>
            <a:off x="7578725" y="3198813"/>
            <a:ext cx="1252538" cy="349250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1000"/>
              </a:lnSpc>
              <a:defRPr/>
            </a:pPr>
            <a:r>
              <a:rPr lang="en-US" altLang="en-US" sz="1600" b="1" smtClean="0">
                <a:solidFill>
                  <a:srgbClr val="994345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Philippines</a:t>
            </a:r>
          </a:p>
          <a:p>
            <a:pPr eaLnBrk="1" hangingPunct="1">
              <a:lnSpc>
                <a:spcPts val="1000"/>
              </a:lnSpc>
              <a:defRPr/>
            </a:pPr>
            <a:r>
              <a:rPr lang="en-US" altLang="en-US" sz="1100" smtClean="0">
                <a:solidFill>
                  <a:srgbClr val="994345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FRC - IOM</a:t>
            </a:r>
          </a:p>
        </p:txBody>
      </p:sp>
      <p:grpSp>
        <p:nvGrpSpPr>
          <p:cNvPr id="15366" name="Group 1"/>
          <p:cNvGrpSpPr>
            <a:grpSpLocks/>
          </p:cNvGrpSpPr>
          <p:nvPr/>
        </p:nvGrpSpPr>
        <p:grpSpPr bwMode="auto">
          <a:xfrm>
            <a:off x="-50800" y="965200"/>
            <a:ext cx="9021763" cy="5032375"/>
            <a:chOff x="677863" y="1196975"/>
            <a:chExt cx="7639050" cy="4260850"/>
          </a:xfrm>
        </p:grpSpPr>
        <p:sp>
          <p:nvSpPr>
            <p:cNvPr id="15396" name="Freeform 4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2519363" y="5394325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2147483647 w 73"/>
                <a:gd name="T3" fmla="*/ 2147483647 h 20"/>
                <a:gd name="T4" fmla="*/ 2147483647 w 73"/>
                <a:gd name="T5" fmla="*/ 2147483647 h 20"/>
                <a:gd name="T6" fmla="*/ 2147483647 w 73"/>
                <a:gd name="T7" fmla="*/ 2147483647 h 20"/>
                <a:gd name="T8" fmla="*/ 2147483647 w 73"/>
                <a:gd name="T9" fmla="*/ 2147483647 h 20"/>
                <a:gd name="T10" fmla="*/ 2147483647 w 73"/>
                <a:gd name="T11" fmla="*/ 2147483647 h 20"/>
                <a:gd name="T12" fmla="*/ 2147483647 w 73"/>
                <a:gd name="T13" fmla="*/ 2147483647 h 20"/>
                <a:gd name="T14" fmla="*/ 2147483647 w 73"/>
                <a:gd name="T15" fmla="*/ 2147483647 h 20"/>
                <a:gd name="T16" fmla="*/ 2147483647 w 73"/>
                <a:gd name="T17" fmla="*/ 2147483647 h 20"/>
                <a:gd name="T18" fmla="*/ 2147483647 w 73"/>
                <a:gd name="T19" fmla="*/ 2147483647 h 20"/>
                <a:gd name="T20" fmla="*/ 2147483647 w 73"/>
                <a:gd name="T21" fmla="*/ 2147483647 h 20"/>
                <a:gd name="T22" fmla="*/ 2147483647 w 73"/>
                <a:gd name="T23" fmla="*/ 2147483647 h 20"/>
                <a:gd name="T24" fmla="*/ 2147483647 w 73"/>
                <a:gd name="T25" fmla="*/ 2147483647 h 20"/>
                <a:gd name="T26" fmla="*/ 2147483647 w 73"/>
                <a:gd name="T27" fmla="*/ 2147483647 h 20"/>
                <a:gd name="T28" fmla="*/ 2147483647 w 73"/>
                <a:gd name="T29" fmla="*/ 2147483647 h 20"/>
                <a:gd name="T30" fmla="*/ 2147483647 w 73"/>
                <a:gd name="T31" fmla="*/ 2147483647 h 20"/>
                <a:gd name="T32" fmla="*/ 214748364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3"/>
                <a:gd name="T55" fmla="*/ 0 h 20"/>
                <a:gd name="T56" fmla="*/ 73 w 73"/>
                <a:gd name="T57" fmla="*/ 20 h 2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397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677863" y="1495425"/>
              <a:ext cx="784225" cy="446088"/>
            </a:xfrm>
            <a:custGeom>
              <a:avLst/>
              <a:gdLst>
                <a:gd name="T0" fmla="*/ 2147483647 w 1808"/>
                <a:gd name="T1" fmla="*/ 2147483647 h 850"/>
                <a:gd name="T2" fmla="*/ 2147483647 w 1808"/>
                <a:gd name="T3" fmla="*/ 2147483647 h 850"/>
                <a:gd name="T4" fmla="*/ 2147483647 w 1808"/>
                <a:gd name="T5" fmla="*/ 2147483647 h 850"/>
                <a:gd name="T6" fmla="*/ 2147483647 w 1808"/>
                <a:gd name="T7" fmla="*/ 2147483647 h 850"/>
                <a:gd name="T8" fmla="*/ 2147483647 w 1808"/>
                <a:gd name="T9" fmla="*/ 2147483647 h 850"/>
                <a:gd name="T10" fmla="*/ 2147483647 w 1808"/>
                <a:gd name="T11" fmla="*/ 2147483647 h 850"/>
                <a:gd name="T12" fmla="*/ 2147483647 w 1808"/>
                <a:gd name="T13" fmla="*/ 2147483647 h 850"/>
                <a:gd name="T14" fmla="*/ 2147483647 w 1808"/>
                <a:gd name="T15" fmla="*/ 2147483647 h 850"/>
                <a:gd name="T16" fmla="*/ 2147483647 w 1808"/>
                <a:gd name="T17" fmla="*/ 2147483647 h 850"/>
                <a:gd name="T18" fmla="*/ 2147483647 w 1808"/>
                <a:gd name="T19" fmla="*/ 2147483647 h 850"/>
                <a:gd name="T20" fmla="*/ 2147483647 w 1808"/>
                <a:gd name="T21" fmla="*/ 2147483647 h 850"/>
                <a:gd name="T22" fmla="*/ 2147483647 w 1808"/>
                <a:gd name="T23" fmla="*/ 2147483647 h 850"/>
                <a:gd name="T24" fmla="*/ 2147483647 w 1808"/>
                <a:gd name="T25" fmla="*/ 2147483647 h 850"/>
                <a:gd name="T26" fmla="*/ 2147483647 w 1808"/>
                <a:gd name="T27" fmla="*/ 2147483647 h 850"/>
                <a:gd name="T28" fmla="*/ 2147483647 w 1808"/>
                <a:gd name="T29" fmla="*/ 2147483647 h 850"/>
                <a:gd name="T30" fmla="*/ 2147483647 w 1808"/>
                <a:gd name="T31" fmla="*/ 2147483647 h 850"/>
                <a:gd name="T32" fmla="*/ 2147483647 w 1808"/>
                <a:gd name="T33" fmla="*/ 2147483647 h 850"/>
                <a:gd name="T34" fmla="*/ 2147483647 w 1808"/>
                <a:gd name="T35" fmla="*/ 2147483647 h 850"/>
                <a:gd name="T36" fmla="*/ 2147483647 w 1808"/>
                <a:gd name="T37" fmla="*/ 2147483647 h 850"/>
                <a:gd name="T38" fmla="*/ 2147483647 w 1808"/>
                <a:gd name="T39" fmla="*/ 2147483647 h 850"/>
                <a:gd name="T40" fmla="*/ 2147483647 w 1808"/>
                <a:gd name="T41" fmla="*/ 2147483647 h 850"/>
                <a:gd name="T42" fmla="*/ 2147483647 w 1808"/>
                <a:gd name="T43" fmla="*/ 2147483647 h 850"/>
                <a:gd name="T44" fmla="*/ 2147483647 w 1808"/>
                <a:gd name="T45" fmla="*/ 2147483647 h 850"/>
                <a:gd name="T46" fmla="*/ 2147483647 w 1808"/>
                <a:gd name="T47" fmla="*/ 2147483647 h 850"/>
                <a:gd name="T48" fmla="*/ 2147483647 w 1808"/>
                <a:gd name="T49" fmla="*/ 2147483647 h 850"/>
                <a:gd name="T50" fmla="*/ 2147483647 w 1808"/>
                <a:gd name="T51" fmla="*/ 2147483647 h 850"/>
                <a:gd name="T52" fmla="*/ 2147483647 w 1808"/>
                <a:gd name="T53" fmla="*/ 2147483647 h 850"/>
                <a:gd name="T54" fmla="*/ 2147483647 w 1808"/>
                <a:gd name="T55" fmla="*/ 2147483647 h 850"/>
                <a:gd name="T56" fmla="*/ 2147483647 w 1808"/>
                <a:gd name="T57" fmla="*/ 2147483647 h 850"/>
                <a:gd name="T58" fmla="*/ 2147483647 w 1808"/>
                <a:gd name="T59" fmla="*/ 2147483647 h 850"/>
                <a:gd name="T60" fmla="*/ 2147483647 w 1808"/>
                <a:gd name="T61" fmla="*/ 2147483647 h 850"/>
                <a:gd name="T62" fmla="*/ 2147483647 w 1808"/>
                <a:gd name="T63" fmla="*/ 2147483647 h 850"/>
                <a:gd name="T64" fmla="*/ 2147483647 w 1808"/>
                <a:gd name="T65" fmla="*/ 2147483647 h 850"/>
                <a:gd name="T66" fmla="*/ 2147483647 w 1808"/>
                <a:gd name="T67" fmla="*/ 2147483647 h 850"/>
                <a:gd name="T68" fmla="*/ 2147483647 w 1808"/>
                <a:gd name="T69" fmla="*/ 2147483647 h 850"/>
                <a:gd name="T70" fmla="*/ 2147483647 w 1808"/>
                <a:gd name="T71" fmla="*/ 2147483647 h 850"/>
                <a:gd name="T72" fmla="*/ 2147483647 w 1808"/>
                <a:gd name="T73" fmla="*/ 2147483647 h 850"/>
                <a:gd name="T74" fmla="*/ 2147483647 w 1808"/>
                <a:gd name="T75" fmla="*/ 2147483647 h 850"/>
                <a:gd name="T76" fmla="*/ 2147483647 w 1808"/>
                <a:gd name="T77" fmla="*/ 2147483647 h 850"/>
                <a:gd name="T78" fmla="*/ 2147483647 w 1808"/>
                <a:gd name="T79" fmla="*/ 2147483647 h 850"/>
                <a:gd name="T80" fmla="*/ 2147483647 w 1808"/>
                <a:gd name="T81" fmla="*/ 2147483647 h 850"/>
                <a:gd name="T82" fmla="*/ 2147483647 w 1808"/>
                <a:gd name="T83" fmla="*/ 2147483647 h 850"/>
                <a:gd name="T84" fmla="*/ 2147483647 w 1808"/>
                <a:gd name="T85" fmla="*/ 2147483647 h 850"/>
                <a:gd name="T86" fmla="*/ 2147483647 w 1808"/>
                <a:gd name="T87" fmla="*/ 2147483647 h 850"/>
                <a:gd name="T88" fmla="*/ 2147483647 w 1808"/>
                <a:gd name="T89" fmla="*/ 2147483647 h 850"/>
                <a:gd name="T90" fmla="*/ 2147483647 w 1808"/>
                <a:gd name="T91" fmla="*/ 2147483647 h 850"/>
                <a:gd name="T92" fmla="*/ 2147483647 w 1808"/>
                <a:gd name="T93" fmla="*/ 2147483647 h 850"/>
                <a:gd name="T94" fmla="*/ 2147483647 w 1808"/>
                <a:gd name="T95" fmla="*/ 2147483647 h 850"/>
                <a:gd name="T96" fmla="*/ 2147483647 w 1808"/>
                <a:gd name="T97" fmla="*/ 2147483647 h 850"/>
                <a:gd name="T98" fmla="*/ 2147483647 w 1808"/>
                <a:gd name="T99" fmla="*/ 2147483647 h 850"/>
                <a:gd name="T100" fmla="*/ 2147483647 w 1808"/>
                <a:gd name="T101" fmla="*/ 2147483647 h 850"/>
                <a:gd name="T102" fmla="*/ 2147483647 w 1808"/>
                <a:gd name="T103" fmla="*/ 2147483647 h 850"/>
                <a:gd name="T104" fmla="*/ 2147483647 w 1808"/>
                <a:gd name="T105" fmla="*/ 2147483647 h 850"/>
                <a:gd name="T106" fmla="*/ 2147483647 w 1808"/>
                <a:gd name="T107" fmla="*/ 2147483647 h 850"/>
                <a:gd name="T108" fmla="*/ 2147483647 w 1808"/>
                <a:gd name="T109" fmla="*/ 2147483647 h 850"/>
                <a:gd name="T110" fmla="*/ 2147483647 w 1808"/>
                <a:gd name="T111" fmla="*/ 2147483647 h 850"/>
                <a:gd name="T112" fmla="*/ 2147483647 w 1808"/>
                <a:gd name="T113" fmla="*/ 2147483647 h 850"/>
                <a:gd name="T114" fmla="*/ 2147483647 w 1808"/>
                <a:gd name="T115" fmla="*/ 2147483647 h 850"/>
                <a:gd name="T116" fmla="*/ 2147483647 w 1808"/>
                <a:gd name="T117" fmla="*/ 2147483647 h 850"/>
                <a:gd name="T118" fmla="*/ 2147483647 w 1808"/>
                <a:gd name="T119" fmla="*/ 2147483647 h 850"/>
                <a:gd name="T120" fmla="*/ 2147483647 w 1808"/>
                <a:gd name="T121" fmla="*/ 2147483647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08"/>
                <a:gd name="T184" fmla="*/ 0 h 850"/>
                <a:gd name="T185" fmla="*/ 1808 w 1808"/>
                <a:gd name="T186" fmla="*/ 850 h 85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398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138238" y="2111375"/>
              <a:ext cx="1381125" cy="769938"/>
            </a:xfrm>
            <a:custGeom>
              <a:avLst/>
              <a:gdLst>
                <a:gd name="T0" fmla="*/ 2147483647 w 3175"/>
                <a:gd name="T1" fmla="*/ 2147483647 h 1472"/>
                <a:gd name="T2" fmla="*/ 2147483647 w 3175"/>
                <a:gd name="T3" fmla="*/ 2147483647 h 1472"/>
                <a:gd name="T4" fmla="*/ 2147483647 w 3175"/>
                <a:gd name="T5" fmla="*/ 2147483647 h 1472"/>
                <a:gd name="T6" fmla="*/ 2147483647 w 3175"/>
                <a:gd name="T7" fmla="*/ 2147483647 h 1472"/>
                <a:gd name="T8" fmla="*/ 2147483647 w 3175"/>
                <a:gd name="T9" fmla="*/ 2147483647 h 1472"/>
                <a:gd name="T10" fmla="*/ 2147483647 w 3175"/>
                <a:gd name="T11" fmla="*/ 2147483647 h 1472"/>
                <a:gd name="T12" fmla="*/ 2147483647 w 3175"/>
                <a:gd name="T13" fmla="*/ 2147483647 h 1472"/>
                <a:gd name="T14" fmla="*/ 2147483647 w 3175"/>
                <a:gd name="T15" fmla="*/ 2147483647 h 1472"/>
                <a:gd name="T16" fmla="*/ 2147483647 w 3175"/>
                <a:gd name="T17" fmla="*/ 2147483647 h 1472"/>
                <a:gd name="T18" fmla="*/ 2147483647 w 3175"/>
                <a:gd name="T19" fmla="*/ 2147483647 h 1472"/>
                <a:gd name="T20" fmla="*/ 2147483647 w 3175"/>
                <a:gd name="T21" fmla="*/ 2147483647 h 1472"/>
                <a:gd name="T22" fmla="*/ 2147483647 w 3175"/>
                <a:gd name="T23" fmla="*/ 2147483647 h 1472"/>
                <a:gd name="T24" fmla="*/ 2147483647 w 3175"/>
                <a:gd name="T25" fmla="*/ 2147483647 h 1472"/>
                <a:gd name="T26" fmla="*/ 2147483647 w 3175"/>
                <a:gd name="T27" fmla="*/ 2147483647 h 1472"/>
                <a:gd name="T28" fmla="*/ 2147483647 w 3175"/>
                <a:gd name="T29" fmla="*/ 2147483647 h 1472"/>
                <a:gd name="T30" fmla="*/ 2147483647 w 3175"/>
                <a:gd name="T31" fmla="*/ 2147483647 h 1472"/>
                <a:gd name="T32" fmla="*/ 2147483647 w 3175"/>
                <a:gd name="T33" fmla="*/ 2147483647 h 1472"/>
                <a:gd name="T34" fmla="*/ 2147483647 w 3175"/>
                <a:gd name="T35" fmla="*/ 2147483647 h 1472"/>
                <a:gd name="T36" fmla="*/ 2147483647 w 3175"/>
                <a:gd name="T37" fmla="*/ 2147483647 h 1472"/>
                <a:gd name="T38" fmla="*/ 2147483647 w 3175"/>
                <a:gd name="T39" fmla="*/ 2147483647 h 1472"/>
                <a:gd name="T40" fmla="*/ 2147483647 w 3175"/>
                <a:gd name="T41" fmla="*/ 2147483647 h 1472"/>
                <a:gd name="T42" fmla="*/ 2147483647 w 3175"/>
                <a:gd name="T43" fmla="*/ 2147483647 h 1472"/>
                <a:gd name="T44" fmla="*/ 2147483647 w 3175"/>
                <a:gd name="T45" fmla="*/ 2147483647 h 1472"/>
                <a:gd name="T46" fmla="*/ 2147483647 w 3175"/>
                <a:gd name="T47" fmla="*/ 2147483647 h 1472"/>
                <a:gd name="T48" fmla="*/ 2147483647 w 3175"/>
                <a:gd name="T49" fmla="*/ 2147483647 h 1472"/>
                <a:gd name="T50" fmla="*/ 2147483647 w 3175"/>
                <a:gd name="T51" fmla="*/ 2147483647 h 1472"/>
                <a:gd name="T52" fmla="*/ 2147483647 w 3175"/>
                <a:gd name="T53" fmla="*/ 2147483647 h 1472"/>
                <a:gd name="T54" fmla="*/ 2147483647 w 3175"/>
                <a:gd name="T55" fmla="*/ 2147483647 h 1472"/>
                <a:gd name="T56" fmla="*/ 2147483647 w 3175"/>
                <a:gd name="T57" fmla="*/ 2147483647 h 1472"/>
                <a:gd name="T58" fmla="*/ 2147483647 w 3175"/>
                <a:gd name="T59" fmla="*/ 2147483647 h 1472"/>
                <a:gd name="T60" fmla="*/ 2147483647 w 3175"/>
                <a:gd name="T61" fmla="*/ 2147483647 h 1472"/>
                <a:gd name="T62" fmla="*/ 2147483647 w 3175"/>
                <a:gd name="T63" fmla="*/ 2147483647 h 1472"/>
                <a:gd name="T64" fmla="*/ 2147483647 w 3175"/>
                <a:gd name="T65" fmla="*/ 2147483647 h 1472"/>
                <a:gd name="T66" fmla="*/ 2147483647 w 3175"/>
                <a:gd name="T67" fmla="*/ 2147483647 h 1472"/>
                <a:gd name="T68" fmla="*/ 2147483647 w 3175"/>
                <a:gd name="T69" fmla="*/ 2147483647 h 1472"/>
                <a:gd name="T70" fmla="*/ 0 w 3175"/>
                <a:gd name="T71" fmla="*/ 2147483647 h 1472"/>
                <a:gd name="T72" fmla="*/ 2147483647 w 3175"/>
                <a:gd name="T73" fmla="*/ 2147483647 h 1472"/>
                <a:gd name="T74" fmla="*/ 2147483647 w 3175"/>
                <a:gd name="T75" fmla="*/ 2147483647 h 1472"/>
                <a:gd name="T76" fmla="*/ 2147483647 w 3175"/>
                <a:gd name="T77" fmla="*/ 2147483647 h 1472"/>
                <a:gd name="T78" fmla="*/ 2147483647 w 3175"/>
                <a:gd name="T79" fmla="*/ 2147483647 h 1472"/>
                <a:gd name="T80" fmla="*/ 2147483647 w 3175"/>
                <a:gd name="T81" fmla="*/ 0 h 1472"/>
                <a:gd name="T82" fmla="*/ 2147483647 w 3175"/>
                <a:gd name="T83" fmla="*/ 2147483647 h 1472"/>
                <a:gd name="T84" fmla="*/ 2147483647 w 3175"/>
                <a:gd name="T85" fmla="*/ 2147483647 h 1472"/>
                <a:gd name="T86" fmla="*/ 2147483647 w 3175"/>
                <a:gd name="T87" fmla="*/ 2147483647 h 1472"/>
                <a:gd name="T88" fmla="*/ 2147483647 w 3175"/>
                <a:gd name="T89" fmla="*/ 2147483647 h 1472"/>
                <a:gd name="T90" fmla="*/ 2147483647 w 3175"/>
                <a:gd name="T91" fmla="*/ 2147483647 h 1472"/>
                <a:gd name="T92" fmla="*/ 2147483647 w 3175"/>
                <a:gd name="T93" fmla="*/ 2147483647 h 1472"/>
                <a:gd name="T94" fmla="*/ 2147483647 w 3175"/>
                <a:gd name="T95" fmla="*/ 2147483647 h 1472"/>
                <a:gd name="T96" fmla="*/ 2147483647 w 3175"/>
                <a:gd name="T97" fmla="*/ 2147483647 h 1472"/>
                <a:gd name="T98" fmla="*/ 2147483647 w 3175"/>
                <a:gd name="T99" fmla="*/ 2147483647 h 1472"/>
                <a:gd name="T100" fmla="*/ 2147483647 w 3175"/>
                <a:gd name="T101" fmla="*/ 2147483647 h 1472"/>
                <a:gd name="T102" fmla="*/ 2147483647 w 3175"/>
                <a:gd name="T103" fmla="*/ 2147483647 h 1472"/>
                <a:gd name="T104" fmla="*/ 2147483647 w 3175"/>
                <a:gd name="T105" fmla="*/ 2147483647 h 1472"/>
                <a:gd name="T106" fmla="*/ 2147483647 w 3175"/>
                <a:gd name="T107" fmla="*/ 2147483647 h 1472"/>
                <a:gd name="T108" fmla="*/ 2147483647 w 3175"/>
                <a:gd name="T109" fmla="*/ 2147483647 h 1472"/>
                <a:gd name="T110" fmla="*/ 2147483647 w 3175"/>
                <a:gd name="T111" fmla="*/ 2147483647 h 1472"/>
                <a:gd name="T112" fmla="*/ 2147483647 w 3175"/>
                <a:gd name="T113" fmla="*/ 2147483647 h 1472"/>
                <a:gd name="T114" fmla="*/ 2147483647 w 3175"/>
                <a:gd name="T115" fmla="*/ 2147483647 h 1472"/>
                <a:gd name="T116" fmla="*/ 2147483647 w 3175"/>
                <a:gd name="T117" fmla="*/ 2147483647 h 1472"/>
                <a:gd name="T118" fmla="*/ 2147483647 w 3175"/>
                <a:gd name="T119" fmla="*/ 2147483647 h 1472"/>
                <a:gd name="T120" fmla="*/ 2147483647 w 3175"/>
                <a:gd name="T121" fmla="*/ 2147483647 h 1472"/>
                <a:gd name="T122" fmla="*/ 2147483647 w 3175"/>
                <a:gd name="T123" fmla="*/ 2147483647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175"/>
                <a:gd name="T187" fmla="*/ 0 h 1472"/>
                <a:gd name="T188" fmla="*/ 3175 w 3175"/>
                <a:gd name="T189" fmla="*/ 1472 h 147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399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971675" y="3662363"/>
              <a:ext cx="339725" cy="590550"/>
            </a:xfrm>
            <a:custGeom>
              <a:avLst/>
              <a:gdLst>
                <a:gd name="T0" fmla="*/ 2147483647 w 784"/>
                <a:gd name="T1" fmla="*/ 2147483647 h 1128"/>
                <a:gd name="T2" fmla="*/ 2147483647 w 784"/>
                <a:gd name="T3" fmla="*/ 2147483647 h 1128"/>
                <a:gd name="T4" fmla="*/ 2147483647 w 784"/>
                <a:gd name="T5" fmla="*/ 2147483647 h 1128"/>
                <a:gd name="T6" fmla="*/ 2147483647 w 784"/>
                <a:gd name="T7" fmla="*/ 2147483647 h 1128"/>
                <a:gd name="T8" fmla="*/ 2147483647 w 784"/>
                <a:gd name="T9" fmla="*/ 2147483647 h 1128"/>
                <a:gd name="T10" fmla="*/ 2147483647 w 784"/>
                <a:gd name="T11" fmla="*/ 2147483647 h 1128"/>
                <a:gd name="T12" fmla="*/ 2147483647 w 784"/>
                <a:gd name="T13" fmla="*/ 2147483647 h 1128"/>
                <a:gd name="T14" fmla="*/ 2147483647 w 784"/>
                <a:gd name="T15" fmla="*/ 2147483647 h 1128"/>
                <a:gd name="T16" fmla="*/ 2147483647 w 784"/>
                <a:gd name="T17" fmla="*/ 2147483647 h 1128"/>
                <a:gd name="T18" fmla="*/ 2147483647 w 784"/>
                <a:gd name="T19" fmla="*/ 2147483647 h 1128"/>
                <a:gd name="T20" fmla="*/ 2147483647 w 784"/>
                <a:gd name="T21" fmla="*/ 2147483647 h 1128"/>
                <a:gd name="T22" fmla="*/ 2147483647 w 784"/>
                <a:gd name="T23" fmla="*/ 2147483647 h 1128"/>
                <a:gd name="T24" fmla="*/ 2147483647 w 784"/>
                <a:gd name="T25" fmla="*/ 2147483647 h 1128"/>
                <a:gd name="T26" fmla="*/ 2147483647 w 784"/>
                <a:gd name="T27" fmla="*/ 2147483647 h 1128"/>
                <a:gd name="T28" fmla="*/ 2147483647 w 784"/>
                <a:gd name="T29" fmla="*/ 2147483647 h 1128"/>
                <a:gd name="T30" fmla="*/ 2147483647 w 784"/>
                <a:gd name="T31" fmla="*/ 2147483647 h 1128"/>
                <a:gd name="T32" fmla="*/ 2147483647 w 784"/>
                <a:gd name="T33" fmla="*/ 2147483647 h 1128"/>
                <a:gd name="T34" fmla="*/ 2147483647 w 784"/>
                <a:gd name="T35" fmla="*/ 2147483647 h 1128"/>
                <a:gd name="T36" fmla="*/ 2147483647 w 784"/>
                <a:gd name="T37" fmla="*/ 2147483647 h 1128"/>
                <a:gd name="T38" fmla="*/ 2147483647 w 784"/>
                <a:gd name="T39" fmla="*/ 2147483647 h 1128"/>
                <a:gd name="T40" fmla="*/ 2147483647 w 784"/>
                <a:gd name="T41" fmla="*/ 2147483647 h 1128"/>
                <a:gd name="T42" fmla="*/ 2147483647 w 784"/>
                <a:gd name="T43" fmla="*/ 2147483647 h 1128"/>
                <a:gd name="T44" fmla="*/ 2147483647 w 784"/>
                <a:gd name="T45" fmla="*/ 2147483647 h 1128"/>
                <a:gd name="T46" fmla="*/ 2147483647 w 784"/>
                <a:gd name="T47" fmla="*/ 2147483647 h 1128"/>
                <a:gd name="T48" fmla="*/ 2147483647 w 784"/>
                <a:gd name="T49" fmla="*/ 2147483647 h 1128"/>
                <a:gd name="T50" fmla="*/ 2147483647 w 784"/>
                <a:gd name="T51" fmla="*/ 2147483647 h 1128"/>
                <a:gd name="T52" fmla="*/ 2147483647 w 784"/>
                <a:gd name="T53" fmla="*/ 2147483647 h 1128"/>
                <a:gd name="T54" fmla="*/ 2147483647 w 784"/>
                <a:gd name="T55" fmla="*/ 2147483647 h 1128"/>
                <a:gd name="T56" fmla="*/ 2147483647 w 784"/>
                <a:gd name="T57" fmla="*/ 2147483647 h 1128"/>
                <a:gd name="T58" fmla="*/ 2147483647 w 784"/>
                <a:gd name="T59" fmla="*/ 2147483647 h 1128"/>
                <a:gd name="T60" fmla="*/ 2147483647 w 784"/>
                <a:gd name="T61" fmla="*/ 2147483647 h 1128"/>
                <a:gd name="T62" fmla="*/ 2147483647 w 784"/>
                <a:gd name="T63" fmla="*/ 2147483647 h 1128"/>
                <a:gd name="T64" fmla="*/ 2147483647 w 784"/>
                <a:gd name="T65" fmla="*/ 2147483647 h 1128"/>
                <a:gd name="T66" fmla="*/ 2147483647 w 784"/>
                <a:gd name="T67" fmla="*/ 2147483647 h 1128"/>
                <a:gd name="T68" fmla="*/ 0 w 784"/>
                <a:gd name="T69" fmla="*/ 2147483647 h 1128"/>
                <a:gd name="T70" fmla="*/ 2147483647 w 784"/>
                <a:gd name="T71" fmla="*/ 2147483647 h 1128"/>
                <a:gd name="T72" fmla="*/ 2147483647 w 784"/>
                <a:gd name="T73" fmla="*/ 2147483647 h 1128"/>
                <a:gd name="T74" fmla="*/ 2147483647 w 784"/>
                <a:gd name="T75" fmla="*/ 2147483647 h 1128"/>
                <a:gd name="T76" fmla="*/ 2147483647 w 784"/>
                <a:gd name="T77" fmla="*/ 2147483647 h 1128"/>
                <a:gd name="T78" fmla="*/ 2147483647 w 784"/>
                <a:gd name="T79" fmla="*/ 2147483647 h 1128"/>
                <a:gd name="T80" fmla="*/ 2147483647 w 784"/>
                <a:gd name="T81" fmla="*/ 2147483647 h 1128"/>
                <a:gd name="T82" fmla="*/ 2147483647 w 784"/>
                <a:gd name="T83" fmla="*/ 2147483647 h 1128"/>
                <a:gd name="T84" fmla="*/ 2147483647 w 784"/>
                <a:gd name="T85" fmla="*/ 2147483647 h 1128"/>
                <a:gd name="T86" fmla="*/ 2147483647 w 784"/>
                <a:gd name="T87" fmla="*/ 2147483647 h 1128"/>
                <a:gd name="T88" fmla="*/ 2147483647 w 784"/>
                <a:gd name="T89" fmla="*/ 2147483647 h 1128"/>
                <a:gd name="T90" fmla="*/ 2147483647 w 784"/>
                <a:gd name="T91" fmla="*/ 2147483647 h 1128"/>
                <a:gd name="T92" fmla="*/ 2147483647 w 784"/>
                <a:gd name="T93" fmla="*/ 2147483647 h 1128"/>
                <a:gd name="T94" fmla="*/ 2147483647 w 784"/>
                <a:gd name="T95" fmla="*/ 2147483647 h 1128"/>
                <a:gd name="T96" fmla="*/ 2147483647 w 784"/>
                <a:gd name="T97" fmla="*/ 2147483647 h 1128"/>
                <a:gd name="T98" fmla="*/ 2147483647 w 784"/>
                <a:gd name="T99" fmla="*/ 2147483647 h 1128"/>
                <a:gd name="T100" fmla="*/ 2147483647 w 784"/>
                <a:gd name="T101" fmla="*/ 2147483647 h 1128"/>
                <a:gd name="T102" fmla="*/ 2147483647 w 784"/>
                <a:gd name="T103" fmla="*/ 2147483647 h 1128"/>
                <a:gd name="T104" fmla="*/ 2147483647 w 784"/>
                <a:gd name="T105" fmla="*/ 2147483647 h 1128"/>
                <a:gd name="T106" fmla="*/ 2147483647 w 784"/>
                <a:gd name="T107" fmla="*/ 2147483647 h 1128"/>
                <a:gd name="T108" fmla="*/ 2147483647 w 784"/>
                <a:gd name="T109" fmla="*/ 2147483647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84"/>
                <a:gd name="T166" fmla="*/ 0 h 1128"/>
                <a:gd name="T167" fmla="*/ 784 w 784"/>
                <a:gd name="T168" fmla="*/ 1128 h 112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00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271713" y="4225925"/>
              <a:ext cx="261937" cy="1130300"/>
            </a:xfrm>
            <a:custGeom>
              <a:avLst/>
              <a:gdLst>
                <a:gd name="T0" fmla="*/ 2147483647 w 598"/>
                <a:gd name="T1" fmla="*/ 2147483647 h 2158"/>
                <a:gd name="T2" fmla="*/ 2147483647 w 598"/>
                <a:gd name="T3" fmla="*/ 2147483647 h 2158"/>
                <a:gd name="T4" fmla="*/ 2147483647 w 598"/>
                <a:gd name="T5" fmla="*/ 2147483647 h 2158"/>
                <a:gd name="T6" fmla="*/ 2147483647 w 598"/>
                <a:gd name="T7" fmla="*/ 2147483647 h 2158"/>
                <a:gd name="T8" fmla="*/ 2147483647 w 598"/>
                <a:gd name="T9" fmla="*/ 2147483647 h 2158"/>
                <a:gd name="T10" fmla="*/ 2147483647 w 598"/>
                <a:gd name="T11" fmla="*/ 2147483647 h 2158"/>
                <a:gd name="T12" fmla="*/ 2147483647 w 598"/>
                <a:gd name="T13" fmla="*/ 2147483647 h 2158"/>
                <a:gd name="T14" fmla="*/ 2147483647 w 598"/>
                <a:gd name="T15" fmla="*/ 2147483647 h 2158"/>
                <a:gd name="T16" fmla="*/ 2147483647 w 598"/>
                <a:gd name="T17" fmla="*/ 2147483647 h 2158"/>
                <a:gd name="T18" fmla="*/ 2147483647 w 598"/>
                <a:gd name="T19" fmla="*/ 2147483647 h 2158"/>
                <a:gd name="T20" fmla="*/ 2147483647 w 598"/>
                <a:gd name="T21" fmla="*/ 2147483647 h 2158"/>
                <a:gd name="T22" fmla="*/ 2147483647 w 598"/>
                <a:gd name="T23" fmla="*/ 2147483647 h 2158"/>
                <a:gd name="T24" fmla="*/ 2147483647 w 598"/>
                <a:gd name="T25" fmla="*/ 2147483647 h 2158"/>
                <a:gd name="T26" fmla="*/ 2147483647 w 598"/>
                <a:gd name="T27" fmla="*/ 2147483647 h 2158"/>
                <a:gd name="T28" fmla="*/ 2147483647 w 598"/>
                <a:gd name="T29" fmla="*/ 2147483647 h 2158"/>
                <a:gd name="T30" fmla="*/ 2147483647 w 598"/>
                <a:gd name="T31" fmla="*/ 2147483647 h 2158"/>
                <a:gd name="T32" fmla="*/ 2147483647 w 598"/>
                <a:gd name="T33" fmla="*/ 2147483647 h 2158"/>
                <a:gd name="T34" fmla="*/ 2147483647 w 598"/>
                <a:gd name="T35" fmla="*/ 2147483647 h 2158"/>
                <a:gd name="T36" fmla="*/ 2147483647 w 598"/>
                <a:gd name="T37" fmla="*/ 2147483647 h 2158"/>
                <a:gd name="T38" fmla="*/ 2147483647 w 598"/>
                <a:gd name="T39" fmla="*/ 2147483647 h 2158"/>
                <a:gd name="T40" fmla="*/ 2147483647 w 598"/>
                <a:gd name="T41" fmla="*/ 2147483647 h 2158"/>
                <a:gd name="T42" fmla="*/ 2147483647 w 598"/>
                <a:gd name="T43" fmla="*/ 2147483647 h 2158"/>
                <a:gd name="T44" fmla="*/ 2147483647 w 598"/>
                <a:gd name="T45" fmla="*/ 2147483647 h 2158"/>
                <a:gd name="T46" fmla="*/ 2147483647 w 598"/>
                <a:gd name="T47" fmla="*/ 2147483647 h 2158"/>
                <a:gd name="T48" fmla="*/ 2147483647 w 598"/>
                <a:gd name="T49" fmla="*/ 2147483647 h 2158"/>
                <a:gd name="T50" fmla="*/ 2147483647 w 598"/>
                <a:gd name="T51" fmla="*/ 2147483647 h 2158"/>
                <a:gd name="T52" fmla="*/ 2147483647 w 598"/>
                <a:gd name="T53" fmla="*/ 2147483647 h 2158"/>
                <a:gd name="T54" fmla="*/ 2147483647 w 598"/>
                <a:gd name="T55" fmla="*/ 2147483647 h 2158"/>
                <a:gd name="T56" fmla="*/ 2147483647 w 598"/>
                <a:gd name="T57" fmla="*/ 2147483647 h 2158"/>
                <a:gd name="T58" fmla="*/ 0 w 598"/>
                <a:gd name="T59" fmla="*/ 2147483647 h 2158"/>
                <a:gd name="T60" fmla="*/ 2147483647 w 598"/>
                <a:gd name="T61" fmla="*/ 2147483647 h 2158"/>
                <a:gd name="T62" fmla="*/ 2147483647 w 598"/>
                <a:gd name="T63" fmla="*/ 2147483647 h 2158"/>
                <a:gd name="T64" fmla="*/ 2147483647 w 598"/>
                <a:gd name="T65" fmla="*/ 2147483647 h 2158"/>
                <a:gd name="T66" fmla="*/ 2147483647 w 598"/>
                <a:gd name="T67" fmla="*/ 2147483647 h 2158"/>
                <a:gd name="T68" fmla="*/ 2147483647 w 598"/>
                <a:gd name="T69" fmla="*/ 2147483647 h 2158"/>
                <a:gd name="T70" fmla="*/ 2147483647 w 598"/>
                <a:gd name="T71" fmla="*/ 2147483647 h 2158"/>
                <a:gd name="T72" fmla="*/ 2147483647 w 598"/>
                <a:gd name="T73" fmla="*/ 2147483647 h 2158"/>
                <a:gd name="T74" fmla="*/ 2147483647 w 598"/>
                <a:gd name="T75" fmla="*/ 2147483647 h 2158"/>
                <a:gd name="T76" fmla="*/ 2147483647 w 598"/>
                <a:gd name="T77" fmla="*/ 2147483647 h 2158"/>
                <a:gd name="T78" fmla="*/ 2147483647 w 598"/>
                <a:gd name="T79" fmla="*/ 2147483647 h 2158"/>
                <a:gd name="T80" fmla="*/ 2147483647 w 598"/>
                <a:gd name="T81" fmla="*/ 2147483647 h 2158"/>
                <a:gd name="T82" fmla="*/ 2147483647 w 598"/>
                <a:gd name="T83" fmla="*/ 2147483647 h 2158"/>
                <a:gd name="T84" fmla="*/ 2147483647 w 598"/>
                <a:gd name="T85" fmla="*/ 2147483647 h 2158"/>
                <a:gd name="T86" fmla="*/ 2147483647 w 598"/>
                <a:gd name="T87" fmla="*/ 2147483647 h 2158"/>
                <a:gd name="T88" fmla="*/ 2147483647 w 598"/>
                <a:gd name="T89" fmla="*/ 2147483647 h 2158"/>
                <a:gd name="T90" fmla="*/ 2147483647 w 598"/>
                <a:gd name="T91" fmla="*/ 2147483647 h 2158"/>
                <a:gd name="T92" fmla="*/ 2147483647 w 598"/>
                <a:gd name="T93" fmla="*/ 2147483647 h 2158"/>
                <a:gd name="T94" fmla="*/ 2147483647 w 598"/>
                <a:gd name="T95" fmla="*/ 2147483647 h 2158"/>
                <a:gd name="T96" fmla="*/ 2147483647 w 598"/>
                <a:gd name="T97" fmla="*/ 2147483647 h 2158"/>
                <a:gd name="T98" fmla="*/ 2147483647 w 598"/>
                <a:gd name="T99" fmla="*/ 2147483647 h 2158"/>
                <a:gd name="T100" fmla="*/ 2147483647 w 598"/>
                <a:gd name="T101" fmla="*/ 2147483647 h 2158"/>
                <a:gd name="T102" fmla="*/ 2147483647 w 598"/>
                <a:gd name="T103" fmla="*/ 2147483647 h 2158"/>
                <a:gd name="T104" fmla="*/ 2147483647 w 598"/>
                <a:gd name="T105" fmla="*/ 2147483647 h 2158"/>
                <a:gd name="T106" fmla="*/ 2147483647 w 598"/>
                <a:gd name="T107" fmla="*/ 2147483647 h 2158"/>
                <a:gd name="T108" fmla="*/ 2147483647 w 598"/>
                <a:gd name="T109" fmla="*/ 2147483647 h 2158"/>
                <a:gd name="T110" fmla="*/ 2147483647 w 598"/>
                <a:gd name="T111" fmla="*/ 2147483647 h 2158"/>
                <a:gd name="T112" fmla="*/ 2147483647 w 598"/>
                <a:gd name="T113" fmla="*/ 2147483647 h 2158"/>
                <a:gd name="T114" fmla="*/ 2147483647 w 598"/>
                <a:gd name="T115" fmla="*/ 2147483647 h 2158"/>
                <a:gd name="T116" fmla="*/ 2147483647 w 598"/>
                <a:gd name="T117" fmla="*/ 2147483647 h 2158"/>
                <a:gd name="T118" fmla="*/ 2147483647 w 598"/>
                <a:gd name="T119" fmla="*/ 2147483647 h 2158"/>
                <a:gd name="T120" fmla="*/ 2147483647 w 598"/>
                <a:gd name="T121" fmla="*/ 2147483647 h 2158"/>
                <a:gd name="T122" fmla="*/ 2147483647 w 598"/>
                <a:gd name="T123" fmla="*/ 2147483647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98"/>
                <a:gd name="T187" fmla="*/ 0 h 2158"/>
                <a:gd name="T188" fmla="*/ 598 w 598"/>
                <a:gd name="T189" fmla="*/ 2158 h 215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01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176463" y="3508375"/>
              <a:ext cx="966787" cy="1203325"/>
            </a:xfrm>
            <a:custGeom>
              <a:avLst/>
              <a:gdLst>
                <a:gd name="T0" fmla="*/ 2147483647 w 2226"/>
                <a:gd name="T1" fmla="*/ 2147483647 h 2292"/>
                <a:gd name="T2" fmla="*/ 2147483647 w 2226"/>
                <a:gd name="T3" fmla="*/ 2147483647 h 2292"/>
                <a:gd name="T4" fmla="*/ 2147483647 w 2226"/>
                <a:gd name="T5" fmla="*/ 2147483647 h 2292"/>
                <a:gd name="T6" fmla="*/ 2147483647 w 2226"/>
                <a:gd name="T7" fmla="*/ 2147483647 h 2292"/>
                <a:gd name="T8" fmla="*/ 2147483647 w 2226"/>
                <a:gd name="T9" fmla="*/ 2147483647 h 2292"/>
                <a:gd name="T10" fmla="*/ 2147483647 w 2226"/>
                <a:gd name="T11" fmla="*/ 2147483647 h 2292"/>
                <a:gd name="T12" fmla="*/ 2147483647 w 2226"/>
                <a:gd name="T13" fmla="*/ 2147483647 h 2292"/>
                <a:gd name="T14" fmla="*/ 2147483647 w 2226"/>
                <a:gd name="T15" fmla="*/ 2147483647 h 2292"/>
                <a:gd name="T16" fmla="*/ 2147483647 w 2226"/>
                <a:gd name="T17" fmla="*/ 2147483647 h 2292"/>
                <a:gd name="T18" fmla="*/ 2147483647 w 2226"/>
                <a:gd name="T19" fmla="*/ 2147483647 h 2292"/>
                <a:gd name="T20" fmla="*/ 2147483647 w 2226"/>
                <a:gd name="T21" fmla="*/ 2147483647 h 2292"/>
                <a:gd name="T22" fmla="*/ 2147483647 w 2226"/>
                <a:gd name="T23" fmla="*/ 2147483647 h 2292"/>
                <a:gd name="T24" fmla="*/ 2147483647 w 2226"/>
                <a:gd name="T25" fmla="*/ 2147483647 h 2292"/>
                <a:gd name="T26" fmla="*/ 2147483647 w 2226"/>
                <a:gd name="T27" fmla="*/ 2147483647 h 2292"/>
                <a:gd name="T28" fmla="*/ 2147483647 w 2226"/>
                <a:gd name="T29" fmla="*/ 2147483647 h 2292"/>
                <a:gd name="T30" fmla="*/ 2147483647 w 2226"/>
                <a:gd name="T31" fmla="*/ 2147483647 h 2292"/>
                <a:gd name="T32" fmla="*/ 2147483647 w 2226"/>
                <a:gd name="T33" fmla="*/ 2147483647 h 2292"/>
                <a:gd name="T34" fmla="*/ 2147483647 w 2226"/>
                <a:gd name="T35" fmla="*/ 2147483647 h 2292"/>
                <a:gd name="T36" fmla="*/ 2147483647 w 2226"/>
                <a:gd name="T37" fmla="*/ 2147483647 h 2292"/>
                <a:gd name="T38" fmla="*/ 2147483647 w 2226"/>
                <a:gd name="T39" fmla="*/ 2147483647 h 2292"/>
                <a:gd name="T40" fmla="*/ 2147483647 w 2226"/>
                <a:gd name="T41" fmla="*/ 2147483647 h 2292"/>
                <a:gd name="T42" fmla="*/ 2147483647 w 2226"/>
                <a:gd name="T43" fmla="*/ 2147483647 h 2292"/>
                <a:gd name="T44" fmla="*/ 2147483647 w 2226"/>
                <a:gd name="T45" fmla="*/ 2147483647 h 2292"/>
                <a:gd name="T46" fmla="*/ 2147483647 w 2226"/>
                <a:gd name="T47" fmla="*/ 2147483647 h 2292"/>
                <a:gd name="T48" fmla="*/ 2147483647 w 2226"/>
                <a:gd name="T49" fmla="*/ 2147483647 h 2292"/>
                <a:gd name="T50" fmla="*/ 2147483647 w 2226"/>
                <a:gd name="T51" fmla="*/ 2147483647 h 2292"/>
                <a:gd name="T52" fmla="*/ 2147483647 w 2226"/>
                <a:gd name="T53" fmla="*/ 2147483647 h 2292"/>
                <a:gd name="T54" fmla="*/ 2147483647 w 2226"/>
                <a:gd name="T55" fmla="*/ 2147483647 h 2292"/>
                <a:gd name="T56" fmla="*/ 2147483647 w 2226"/>
                <a:gd name="T57" fmla="*/ 2147483647 h 2292"/>
                <a:gd name="T58" fmla="*/ 2147483647 w 2226"/>
                <a:gd name="T59" fmla="*/ 2147483647 h 2292"/>
                <a:gd name="T60" fmla="*/ 2147483647 w 2226"/>
                <a:gd name="T61" fmla="*/ 2147483647 h 2292"/>
                <a:gd name="T62" fmla="*/ 2147483647 w 2226"/>
                <a:gd name="T63" fmla="*/ 2147483647 h 2292"/>
                <a:gd name="T64" fmla="*/ 2147483647 w 2226"/>
                <a:gd name="T65" fmla="*/ 2147483647 h 2292"/>
                <a:gd name="T66" fmla="*/ 2147483647 w 2226"/>
                <a:gd name="T67" fmla="*/ 2147483647 h 2292"/>
                <a:gd name="T68" fmla="*/ 2147483647 w 2226"/>
                <a:gd name="T69" fmla="*/ 2147483647 h 2292"/>
                <a:gd name="T70" fmla="*/ 2147483647 w 2226"/>
                <a:gd name="T71" fmla="*/ 2147483647 h 2292"/>
                <a:gd name="T72" fmla="*/ 2147483647 w 2226"/>
                <a:gd name="T73" fmla="*/ 2147483647 h 2292"/>
                <a:gd name="T74" fmla="*/ 2147483647 w 2226"/>
                <a:gd name="T75" fmla="*/ 2147483647 h 2292"/>
                <a:gd name="T76" fmla="*/ 2147483647 w 2226"/>
                <a:gd name="T77" fmla="*/ 2147483647 h 2292"/>
                <a:gd name="T78" fmla="*/ 2147483647 w 2226"/>
                <a:gd name="T79" fmla="*/ 2147483647 h 2292"/>
                <a:gd name="T80" fmla="*/ 2147483647 w 2226"/>
                <a:gd name="T81" fmla="*/ 2147483647 h 2292"/>
                <a:gd name="T82" fmla="*/ 2147483647 w 2226"/>
                <a:gd name="T83" fmla="*/ 2147483647 h 2292"/>
                <a:gd name="T84" fmla="*/ 2147483647 w 2226"/>
                <a:gd name="T85" fmla="*/ 2147483647 h 2292"/>
                <a:gd name="T86" fmla="*/ 2147483647 w 2226"/>
                <a:gd name="T87" fmla="*/ 2147483647 h 2292"/>
                <a:gd name="T88" fmla="*/ 2147483647 w 2226"/>
                <a:gd name="T89" fmla="*/ 2147483647 h 2292"/>
                <a:gd name="T90" fmla="*/ 2147483647 w 2226"/>
                <a:gd name="T91" fmla="*/ 2147483647 h 2292"/>
                <a:gd name="T92" fmla="*/ 2147483647 w 2226"/>
                <a:gd name="T93" fmla="*/ 2147483647 h 2292"/>
                <a:gd name="T94" fmla="*/ 2147483647 w 2226"/>
                <a:gd name="T95" fmla="*/ 2147483647 h 2292"/>
                <a:gd name="T96" fmla="*/ 2147483647 w 2226"/>
                <a:gd name="T97" fmla="*/ 0 h 2292"/>
                <a:gd name="T98" fmla="*/ 2147483647 w 2226"/>
                <a:gd name="T99" fmla="*/ 2147483647 h 2292"/>
                <a:gd name="T100" fmla="*/ 2147483647 w 2226"/>
                <a:gd name="T101" fmla="*/ 2147483647 h 2292"/>
                <a:gd name="T102" fmla="*/ 2147483647 w 2226"/>
                <a:gd name="T103" fmla="*/ 2147483647 h 2292"/>
                <a:gd name="T104" fmla="*/ 2147483647 w 2226"/>
                <a:gd name="T105" fmla="*/ 2147483647 h 2292"/>
                <a:gd name="T106" fmla="*/ 2147483647 w 2226"/>
                <a:gd name="T107" fmla="*/ 2147483647 h 2292"/>
                <a:gd name="T108" fmla="*/ 2147483647 w 2226"/>
                <a:gd name="T109" fmla="*/ 2147483647 h 2292"/>
                <a:gd name="T110" fmla="*/ 2147483647 w 2226"/>
                <a:gd name="T111" fmla="*/ 2147483647 h 2292"/>
                <a:gd name="T112" fmla="*/ 2147483647 w 2226"/>
                <a:gd name="T113" fmla="*/ 2147483647 h 2292"/>
                <a:gd name="T114" fmla="*/ 2147483647 w 2226"/>
                <a:gd name="T115" fmla="*/ 2147483647 h 2292"/>
                <a:gd name="T116" fmla="*/ 2147483647 w 2226"/>
                <a:gd name="T117" fmla="*/ 2147483647 h 2292"/>
                <a:gd name="T118" fmla="*/ 2147483647 w 2226"/>
                <a:gd name="T119" fmla="*/ 2147483647 h 2292"/>
                <a:gd name="T120" fmla="*/ 2147483647 w 2226"/>
                <a:gd name="T121" fmla="*/ 2147483647 h 2292"/>
                <a:gd name="T122" fmla="*/ 2147483647 w 2226"/>
                <a:gd name="T123" fmla="*/ 2147483647 h 2292"/>
                <a:gd name="T124" fmla="*/ 2147483647 w 2226"/>
                <a:gd name="T125" fmla="*/ 2147483647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2292"/>
                <a:gd name="T191" fmla="*/ 2226 w 2226"/>
                <a:gd name="T192" fmla="*/ 2292 h 22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02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4289425" y="2454275"/>
              <a:ext cx="69850" cy="49213"/>
            </a:xfrm>
            <a:custGeom>
              <a:avLst/>
              <a:gdLst>
                <a:gd name="T0" fmla="*/ 2147483647 w 161"/>
                <a:gd name="T1" fmla="*/ 0 h 93"/>
                <a:gd name="T2" fmla="*/ 2147483647 w 161"/>
                <a:gd name="T3" fmla="*/ 2147483647 h 93"/>
                <a:gd name="T4" fmla="*/ 2147483647 w 161"/>
                <a:gd name="T5" fmla="*/ 2147483647 h 93"/>
                <a:gd name="T6" fmla="*/ 2147483647 w 161"/>
                <a:gd name="T7" fmla="*/ 2147483647 h 93"/>
                <a:gd name="T8" fmla="*/ 2147483647 w 161"/>
                <a:gd name="T9" fmla="*/ 2147483647 h 93"/>
                <a:gd name="T10" fmla="*/ 2147483647 w 161"/>
                <a:gd name="T11" fmla="*/ 2147483647 h 93"/>
                <a:gd name="T12" fmla="*/ 2147483647 w 161"/>
                <a:gd name="T13" fmla="*/ 2147483647 h 93"/>
                <a:gd name="T14" fmla="*/ 2147483647 w 161"/>
                <a:gd name="T15" fmla="*/ 0 h 93"/>
                <a:gd name="T16" fmla="*/ 2147483647 w 161"/>
                <a:gd name="T17" fmla="*/ 0 h 93"/>
                <a:gd name="T18" fmla="*/ 2147483647 w 161"/>
                <a:gd name="T19" fmla="*/ 0 h 93"/>
                <a:gd name="T20" fmla="*/ 2147483647 w 161"/>
                <a:gd name="T21" fmla="*/ 2147483647 h 93"/>
                <a:gd name="T22" fmla="*/ 2147483647 w 161"/>
                <a:gd name="T23" fmla="*/ 2147483647 h 93"/>
                <a:gd name="T24" fmla="*/ 2147483647 w 161"/>
                <a:gd name="T25" fmla="*/ 2147483647 h 93"/>
                <a:gd name="T26" fmla="*/ 2147483647 w 161"/>
                <a:gd name="T27" fmla="*/ 2147483647 h 93"/>
                <a:gd name="T28" fmla="*/ 2147483647 w 161"/>
                <a:gd name="T29" fmla="*/ 2147483647 h 93"/>
                <a:gd name="T30" fmla="*/ 2147483647 w 161"/>
                <a:gd name="T31" fmla="*/ 2147483647 h 93"/>
                <a:gd name="T32" fmla="*/ 2147483647 w 161"/>
                <a:gd name="T33" fmla="*/ 2147483647 h 93"/>
                <a:gd name="T34" fmla="*/ 2147483647 w 161"/>
                <a:gd name="T35" fmla="*/ 2147483647 h 93"/>
                <a:gd name="T36" fmla="*/ 2147483647 w 161"/>
                <a:gd name="T37" fmla="*/ 2147483647 h 93"/>
                <a:gd name="T38" fmla="*/ 2147483647 w 161"/>
                <a:gd name="T39" fmla="*/ 2147483647 h 93"/>
                <a:gd name="T40" fmla="*/ 2147483647 w 161"/>
                <a:gd name="T41" fmla="*/ 2147483647 h 93"/>
                <a:gd name="T42" fmla="*/ 2147483647 w 161"/>
                <a:gd name="T43" fmla="*/ 2147483647 h 93"/>
                <a:gd name="T44" fmla="*/ 2147483647 w 161"/>
                <a:gd name="T45" fmla="*/ 2147483647 h 93"/>
                <a:gd name="T46" fmla="*/ 2147483647 w 161"/>
                <a:gd name="T47" fmla="*/ 2147483647 h 93"/>
                <a:gd name="T48" fmla="*/ 2147483647 w 161"/>
                <a:gd name="T49" fmla="*/ 2147483647 h 93"/>
                <a:gd name="T50" fmla="*/ 2147483647 w 161"/>
                <a:gd name="T51" fmla="*/ 2147483647 h 93"/>
                <a:gd name="T52" fmla="*/ 2147483647 w 161"/>
                <a:gd name="T53" fmla="*/ 2147483647 h 93"/>
                <a:gd name="T54" fmla="*/ 2147483647 w 161"/>
                <a:gd name="T55" fmla="*/ 2147483647 h 93"/>
                <a:gd name="T56" fmla="*/ 2147483647 w 161"/>
                <a:gd name="T57" fmla="*/ 2147483647 h 93"/>
                <a:gd name="T58" fmla="*/ 2147483647 w 161"/>
                <a:gd name="T59" fmla="*/ 2147483647 h 93"/>
                <a:gd name="T60" fmla="*/ 2147483647 w 161"/>
                <a:gd name="T61" fmla="*/ 2147483647 h 93"/>
                <a:gd name="T62" fmla="*/ 2147483647 w 161"/>
                <a:gd name="T63" fmla="*/ 2147483647 h 93"/>
                <a:gd name="T64" fmla="*/ 2147483647 w 161"/>
                <a:gd name="T65" fmla="*/ 2147483647 h 93"/>
                <a:gd name="T66" fmla="*/ 2147483647 w 161"/>
                <a:gd name="T67" fmla="*/ 2147483647 h 93"/>
                <a:gd name="T68" fmla="*/ 2147483647 w 161"/>
                <a:gd name="T69" fmla="*/ 2147483647 h 93"/>
                <a:gd name="T70" fmla="*/ 2147483647 w 161"/>
                <a:gd name="T71" fmla="*/ 2147483647 h 93"/>
                <a:gd name="T72" fmla="*/ 0 w 161"/>
                <a:gd name="T73" fmla="*/ 0 h 93"/>
                <a:gd name="T74" fmla="*/ 2147483647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61"/>
                <a:gd name="T115" fmla="*/ 0 h 93"/>
                <a:gd name="T116" fmla="*/ 161 w 161"/>
                <a:gd name="T117" fmla="*/ 93 h 9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03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787775" y="2328863"/>
              <a:ext cx="82550" cy="160337"/>
            </a:xfrm>
            <a:custGeom>
              <a:avLst/>
              <a:gdLst>
                <a:gd name="T0" fmla="*/ 2147483647 w 192"/>
                <a:gd name="T1" fmla="*/ 2147483647 h 307"/>
                <a:gd name="T2" fmla="*/ 2147483647 w 192"/>
                <a:gd name="T3" fmla="*/ 0 h 307"/>
                <a:gd name="T4" fmla="*/ 2147483647 w 192"/>
                <a:gd name="T5" fmla="*/ 2147483647 h 307"/>
                <a:gd name="T6" fmla="*/ 2147483647 w 192"/>
                <a:gd name="T7" fmla="*/ 2147483647 h 307"/>
                <a:gd name="T8" fmla="*/ 2147483647 w 192"/>
                <a:gd name="T9" fmla="*/ 2147483647 h 307"/>
                <a:gd name="T10" fmla="*/ 2147483647 w 192"/>
                <a:gd name="T11" fmla="*/ 2147483647 h 307"/>
                <a:gd name="T12" fmla="*/ 2147483647 w 192"/>
                <a:gd name="T13" fmla="*/ 2147483647 h 307"/>
                <a:gd name="T14" fmla="*/ 2147483647 w 192"/>
                <a:gd name="T15" fmla="*/ 2147483647 h 307"/>
                <a:gd name="T16" fmla="*/ 2147483647 w 192"/>
                <a:gd name="T17" fmla="*/ 2147483647 h 307"/>
                <a:gd name="T18" fmla="*/ 2147483647 w 192"/>
                <a:gd name="T19" fmla="*/ 2147483647 h 307"/>
                <a:gd name="T20" fmla="*/ 2147483647 w 192"/>
                <a:gd name="T21" fmla="*/ 2147483647 h 307"/>
                <a:gd name="T22" fmla="*/ 2147483647 w 192"/>
                <a:gd name="T23" fmla="*/ 2147483647 h 307"/>
                <a:gd name="T24" fmla="*/ 2147483647 w 192"/>
                <a:gd name="T25" fmla="*/ 2147483647 h 307"/>
                <a:gd name="T26" fmla="*/ 2147483647 w 192"/>
                <a:gd name="T27" fmla="*/ 2147483647 h 307"/>
                <a:gd name="T28" fmla="*/ 2147483647 w 192"/>
                <a:gd name="T29" fmla="*/ 2147483647 h 307"/>
                <a:gd name="T30" fmla="*/ 2147483647 w 192"/>
                <a:gd name="T31" fmla="*/ 2147483647 h 307"/>
                <a:gd name="T32" fmla="*/ 2147483647 w 192"/>
                <a:gd name="T33" fmla="*/ 2147483647 h 307"/>
                <a:gd name="T34" fmla="*/ 2147483647 w 192"/>
                <a:gd name="T35" fmla="*/ 2147483647 h 307"/>
                <a:gd name="T36" fmla="*/ 2147483647 w 192"/>
                <a:gd name="T37" fmla="*/ 2147483647 h 307"/>
                <a:gd name="T38" fmla="*/ 2147483647 w 192"/>
                <a:gd name="T39" fmla="*/ 2147483647 h 307"/>
                <a:gd name="T40" fmla="*/ 2147483647 w 192"/>
                <a:gd name="T41" fmla="*/ 2147483647 h 307"/>
                <a:gd name="T42" fmla="*/ 2147483647 w 192"/>
                <a:gd name="T43" fmla="*/ 2147483647 h 307"/>
                <a:gd name="T44" fmla="*/ 2147483647 w 192"/>
                <a:gd name="T45" fmla="*/ 2147483647 h 307"/>
                <a:gd name="T46" fmla="*/ 0 w 192"/>
                <a:gd name="T47" fmla="*/ 2147483647 h 307"/>
                <a:gd name="T48" fmla="*/ 0 w 192"/>
                <a:gd name="T49" fmla="*/ 2147483647 h 307"/>
                <a:gd name="T50" fmla="*/ 2147483647 w 192"/>
                <a:gd name="T51" fmla="*/ 2147483647 h 307"/>
                <a:gd name="T52" fmla="*/ 2147483647 w 192"/>
                <a:gd name="T53" fmla="*/ 2147483647 h 307"/>
                <a:gd name="T54" fmla="*/ 2147483647 w 192"/>
                <a:gd name="T55" fmla="*/ 2147483647 h 307"/>
                <a:gd name="T56" fmla="*/ 2147483647 w 192"/>
                <a:gd name="T57" fmla="*/ 2147483647 h 307"/>
                <a:gd name="T58" fmla="*/ 2147483647 w 192"/>
                <a:gd name="T59" fmla="*/ 2147483647 h 307"/>
                <a:gd name="T60" fmla="*/ 2147483647 w 192"/>
                <a:gd name="T61" fmla="*/ 2147483647 h 307"/>
                <a:gd name="T62" fmla="*/ 2147483647 w 192"/>
                <a:gd name="T63" fmla="*/ 2147483647 h 307"/>
                <a:gd name="T64" fmla="*/ 2147483647 w 192"/>
                <a:gd name="T65" fmla="*/ 2147483647 h 307"/>
                <a:gd name="T66" fmla="*/ 2147483647 w 192"/>
                <a:gd name="T67" fmla="*/ 2147483647 h 307"/>
                <a:gd name="T68" fmla="*/ 2147483647 w 192"/>
                <a:gd name="T69" fmla="*/ 2147483647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92"/>
                <a:gd name="T106" fmla="*/ 0 h 307"/>
                <a:gd name="T107" fmla="*/ 192 w 192"/>
                <a:gd name="T108" fmla="*/ 307 h 30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04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3868738" y="1814513"/>
              <a:ext cx="171450" cy="269875"/>
            </a:xfrm>
            <a:custGeom>
              <a:avLst/>
              <a:gdLst>
                <a:gd name="T0" fmla="*/ 2147483647 w 398"/>
                <a:gd name="T1" fmla="*/ 2147483647 h 518"/>
                <a:gd name="T2" fmla="*/ 2147483647 w 398"/>
                <a:gd name="T3" fmla="*/ 2147483647 h 518"/>
                <a:gd name="T4" fmla="*/ 2147483647 w 398"/>
                <a:gd name="T5" fmla="*/ 2147483647 h 518"/>
                <a:gd name="T6" fmla="*/ 2147483647 w 398"/>
                <a:gd name="T7" fmla="*/ 2147483647 h 518"/>
                <a:gd name="T8" fmla="*/ 2147483647 w 398"/>
                <a:gd name="T9" fmla="*/ 2147483647 h 518"/>
                <a:gd name="T10" fmla="*/ 2147483647 w 398"/>
                <a:gd name="T11" fmla="*/ 2147483647 h 518"/>
                <a:gd name="T12" fmla="*/ 2147483647 w 398"/>
                <a:gd name="T13" fmla="*/ 2147483647 h 518"/>
                <a:gd name="T14" fmla="*/ 2147483647 w 398"/>
                <a:gd name="T15" fmla="*/ 2147483647 h 518"/>
                <a:gd name="T16" fmla="*/ 2147483647 w 398"/>
                <a:gd name="T17" fmla="*/ 2147483647 h 518"/>
                <a:gd name="T18" fmla="*/ 2147483647 w 398"/>
                <a:gd name="T19" fmla="*/ 2147483647 h 518"/>
                <a:gd name="T20" fmla="*/ 2147483647 w 398"/>
                <a:gd name="T21" fmla="*/ 2147483647 h 518"/>
                <a:gd name="T22" fmla="*/ 2147483647 w 398"/>
                <a:gd name="T23" fmla="*/ 2147483647 h 518"/>
                <a:gd name="T24" fmla="*/ 2147483647 w 398"/>
                <a:gd name="T25" fmla="*/ 2147483647 h 518"/>
                <a:gd name="T26" fmla="*/ 2147483647 w 398"/>
                <a:gd name="T27" fmla="*/ 2147483647 h 518"/>
                <a:gd name="T28" fmla="*/ 2147483647 w 398"/>
                <a:gd name="T29" fmla="*/ 2147483647 h 518"/>
                <a:gd name="T30" fmla="*/ 2147483647 w 398"/>
                <a:gd name="T31" fmla="*/ 2147483647 h 518"/>
                <a:gd name="T32" fmla="*/ 2147483647 w 398"/>
                <a:gd name="T33" fmla="*/ 2147483647 h 518"/>
                <a:gd name="T34" fmla="*/ 2147483647 w 398"/>
                <a:gd name="T35" fmla="*/ 2147483647 h 518"/>
                <a:gd name="T36" fmla="*/ 2147483647 w 398"/>
                <a:gd name="T37" fmla="*/ 2147483647 h 518"/>
                <a:gd name="T38" fmla="*/ 2147483647 w 398"/>
                <a:gd name="T39" fmla="*/ 2147483647 h 518"/>
                <a:gd name="T40" fmla="*/ 2147483647 w 398"/>
                <a:gd name="T41" fmla="*/ 2147483647 h 518"/>
                <a:gd name="T42" fmla="*/ 2147483647 w 398"/>
                <a:gd name="T43" fmla="*/ 2147483647 h 518"/>
                <a:gd name="T44" fmla="*/ 2147483647 w 398"/>
                <a:gd name="T45" fmla="*/ 2147483647 h 518"/>
                <a:gd name="T46" fmla="*/ 2147483647 w 398"/>
                <a:gd name="T47" fmla="*/ 2147483647 h 518"/>
                <a:gd name="T48" fmla="*/ 2147483647 w 398"/>
                <a:gd name="T49" fmla="*/ 2147483647 h 518"/>
                <a:gd name="T50" fmla="*/ 2147483647 w 398"/>
                <a:gd name="T51" fmla="*/ 2147483647 h 518"/>
                <a:gd name="T52" fmla="*/ 2147483647 w 398"/>
                <a:gd name="T53" fmla="*/ 2147483647 h 518"/>
                <a:gd name="T54" fmla="*/ 2147483647 w 398"/>
                <a:gd name="T55" fmla="*/ 2147483647 h 518"/>
                <a:gd name="T56" fmla="*/ 2147483647 w 398"/>
                <a:gd name="T57" fmla="*/ 2147483647 h 518"/>
                <a:gd name="T58" fmla="*/ 2147483647 w 398"/>
                <a:gd name="T59" fmla="*/ 2147483647 h 518"/>
                <a:gd name="T60" fmla="*/ 2147483647 w 398"/>
                <a:gd name="T61" fmla="*/ 2147483647 h 518"/>
                <a:gd name="T62" fmla="*/ 2147483647 w 398"/>
                <a:gd name="T63" fmla="*/ 2147483647 h 518"/>
                <a:gd name="T64" fmla="*/ 2147483647 w 398"/>
                <a:gd name="T65" fmla="*/ 2147483647 h 518"/>
                <a:gd name="T66" fmla="*/ 2147483647 w 398"/>
                <a:gd name="T67" fmla="*/ 2147483647 h 518"/>
                <a:gd name="T68" fmla="*/ 2147483647 w 398"/>
                <a:gd name="T69" fmla="*/ 2147483647 h 518"/>
                <a:gd name="T70" fmla="*/ 2147483647 w 398"/>
                <a:gd name="T71" fmla="*/ 2147483647 h 518"/>
                <a:gd name="T72" fmla="*/ 2147483647 w 398"/>
                <a:gd name="T73" fmla="*/ 2147483647 h 518"/>
                <a:gd name="T74" fmla="*/ 2147483647 w 398"/>
                <a:gd name="T75" fmla="*/ 2147483647 h 518"/>
                <a:gd name="T76" fmla="*/ 2147483647 w 398"/>
                <a:gd name="T77" fmla="*/ 2147483647 h 518"/>
                <a:gd name="T78" fmla="*/ 2147483647 w 398"/>
                <a:gd name="T79" fmla="*/ 2147483647 h 518"/>
                <a:gd name="T80" fmla="*/ 2147483647 w 398"/>
                <a:gd name="T81" fmla="*/ 2147483647 h 518"/>
                <a:gd name="T82" fmla="*/ 2147483647 w 398"/>
                <a:gd name="T83" fmla="*/ 2147483647 h 518"/>
                <a:gd name="T84" fmla="*/ 2147483647 w 398"/>
                <a:gd name="T85" fmla="*/ 2147483647 h 518"/>
                <a:gd name="T86" fmla="*/ 2147483647 w 398"/>
                <a:gd name="T87" fmla="*/ 2147483647 h 518"/>
                <a:gd name="T88" fmla="*/ 2147483647 w 398"/>
                <a:gd name="T89" fmla="*/ 2147483647 h 518"/>
                <a:gd name="T90" fmla="*/ 2147483647 w 398"/>
                <a:gd name="T91" fmla="*/ 2147483647 h 518"/>
                <a:gd name="T92" fmla="*/ 2147483647 w 398"/>
                <a:gd name="T93" fmla="*/ 2147483647 h 518"/>
                <a:gd name="T94" fmla="*/ 2147483647 w 398"/>
                <a:gd name="T95" fmla="*/ 2147483647 h 518"/>
                <a:gd name="T96" fmla="*/ 2147483647 w 398"/>
                <a:gd name="T97" fmla="*/ 2147483647 h 518"/>
                <a:gd name="T98" fmla="*/ 2147483647 w 398"/>
                <a:gd name="T99" fmla="*/ 2147483647 h 518"/>
                <a:gd name="T100" fmla="*/ 2147483647 w 398"/>
                <a:gd name="T101" fmla="*/ 2147483647 h 518"/>
                <a:gd name="T102" fmla="*/ 2147483647 w 398"/>
                <a:gd name="T103" fmla="*/ 2147483647 h 518"/>
                <a:gd name="T104" fmla="*/ 2147483647 w 398"/>
                <a:gd name="T105" fmla="*/ 2147483647 h 518"/>
                <a:gd name="T106" fmla="*/ 2147483647 w 398"/>
                <a:gd name="T107" fmla="*/ 2147483647 h 518"/>
                <a:gd name="T108" fmla="*/ 2147483647 w 398"/>
                <a:gd name="T109" fmla="*/ 2147483647 h 518"/>
                <a:gd name="T110" fmla="*/ 2147483647 w 398"/>
                <a:gd name="T111" fmla="*/ 2147483647 h 518"/>
                <a:gd name="T112" fmla="*/ 2147483647 w 398"/>
                <a:gd name="T113" fmla="*/ 2147483647 h 518"/>
                <a:gd name="T114" fmla="*/ 2147483647 w 398"/>
                <a:gd name="T115" fmla="*/ 2147483647 h 518"/>
                <a:gd name="T116" fmla="*/ 2147483647 w 398"/>
                <a:gd name="T117" fmla="*/ 2147483647 h 518"/>
                <a:gd name="T118" fmla="*/ 2147483647 w 398"/>
                <a:gd name="T119" fmla="*/ 2147483647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98"/>
                <a:gd name="T181" fmla="*/ 0 h 518"/>
                <a:gd name="T182" fmla="*/ 398 w 398"/>
                <a:gd name="T183" fmla="*/ 518 h 51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05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4227513" y="2117725"/>
              <a:ext cx="169862" cy="76200"/>
            </a:xfrm>
            <a:custGeom>
              <a:avLst/>
              <a:gdLst>
                <a:gd name="T0" fmla="*/ 2147483647 w 382"/>
                <a:gd name="T1" fmla="*/ 2147483647 h 148"/>
                <a:gd name="T2" fmla="*/ 2147483647 w 382"/>
                <a:gd name="T3" fmla="*/ 2147483647 h 148"/>
                <a:gd name="T4" fmla="*/ 2147483647 w 382"/>
                <a:gd name="T5" fmla="*/ 2147483647 h 148"/>
                <a:gd name="T6" fmla="*/ 2147483647 w 382"/>
                <a:gd name="T7" fmla="*/ 2147483647 h 148"/>
                <a:gd name="T8" fmla="*/ 2147483647 w 382"/>
                <a:gd name="T9" fmla="*/ 2147483647 h 148"/>
                <a:gd name="T10" fmla="*/ 2147483647 w 382"/>
                <a:gd name="T11" fmla="*/ 2147483647 h 148"/>
                <a:gd name="T12" fmla="*/ 2147483647 w 382"/>
                <a:gd name="T13" fmla="*/ 2147483647 h 148"/>
                <a:gd name="T14" fmla="*/ 2147483647 w 382"/>
                <a:gd name="T15" fmla="*/ 2147483647 h 148"/>
                <a:gd name="T16" fmla="*/ 2147483647 w 382"/>
                <a:gd name="T17" fmla="*/ 2147483647 h 148"/>
                <a:gd name="T18" fmla="*/ 2147483647 w 382"/>
                <a:gd name="T19" fmla="*/ 2147483647 h 148"/>
                <a:gd name="T20" fmla="*/ 2147483647 w 382"/>
                <a:gd name="T21" fmla="*/ 2147483647 h 148"/>
                <a:gd name="T22" fmla="*/ 0 w 382"/>
                <a:gd name="T23" fmla="*/ 2147483647 h 148"/>
                <a:gd name="T24" fmla="*/ 2147483647 w 382"/>
                <a:gd name="T25" fmla="*/ 2147483647 h 148"/>
                <a:gd name="T26" fmla="*/ 2147483647 w 382"/>
                <a:gd name="T27" fmla="*/ 2147483647 h 148"/>
                <a:gd name="T28" fmla="*/ 2147483647 w 382"/>
                <a:gd name="T29" fmla="*/ 2147483647 h 148"/>
                <a:gd name="T30" fmla="*/ 2147483647 w 382"/>
                <a:gd name="T31" fmla="*/ 2147483647 h 148"/>
                <a:gd name="T32" fmla="*/ 2147483647 w 382"/>
                <a:gd name="T33" fmla="*/ 2147483647 h 148"/>
                <a:gd name="T34" fmla="*/ 2147483647 w 382"/>
                <a:gd name="T35" fmla="*/ 2147483647 h 148"/>
                <a:gd name="T36" fmla="*/ 2147483647 w 382"/>
                <a:gd name="T37" fmla="*/ 2147483647 h 148"/>
                <a:gd name="T38" fmla="*/ 2147483647 w 382"/>
                <a:gd name="T39" fmla="*/ 2147483647 h 148"/>
                <a:gd name="T40" fmla="*/ 2147483647 w 382"/>
                <a:gd name="T41" fmla="*/ 2147483647 h 148"/>
                <a:gd name="T42" fmla="*/ 2147483647 w 382"/>
                <a:gd name="T43" fmla="*/ 2147483647 h 148"/>
                <a:gd name="T44" fmla="*/ 2147483647 w 382"/>
                <a:gd name="T45" fmla="*/ 2147483647 h 148"/>
                <a:gd name="T46" fmla="*/ 2147483647 w 382"/>
                <a:gd name="T47" fmla="*/ 2147483647 h 148"/>
                <a:gd name="T48" fmla="*/ 2147483647 w 382"/>
                <a:gd name="T49" fmla="*/ 2147483647 h 148"/>
                <a:gd name="T50" fmla="*/ 2147483647 w 382"/>
                <a:gd name="T51" fmla="*/ 2147483647 h 148"/>
                <a:gd name="T52" fmla="*/ 2147483647 w 382"/>
                <a:gd name="T53" fmla="*/ 2147483647 h 148"/>
                <a:gd name="T54" fmla="*/ 2147483647 w 382"/>
                <a:gd name="T55" fmla="*/ 2147483647 h 148"/>
                <a:gd name="T56" fmla="*/ 2147483647 w 382"/>
                <a:gd name="T57" fmla="*/ 2147483647 h 148"/>
                <a:gd name="T58" fmla="*/ 2147483647 w 382"/>
                <a:gd name="T59" fmla="*/ 2147483647 h 148"/>
                <a:gd name="T60" fmla="*/ 2147483647 w 382"/>
                <a:gd name="T61" fmla="*/ 2147483647 h 148"/>
                <a:gd name="T62" fmla="*/ 2147483647 w 382"/>
                <a:gd name="T63" fmla="*/ 2147483647 h 148"/>
                <a:gd name="T64" fmla="*/ 2147483647 w 382"/>
                <a:gd name="T65" fmla="*/ 2147483647 h 148"/>
                <a:gd name="T66" fmla="*/ 2147483647 w 382"/>
                <a:gd name="T67" fmla="*/ 2147483647 h 148"/>
                <a:gd name="T68" fmla="*/ 2147483647 w 382"/>
                <a:gd name="T69" fmla="*/ 2147483647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82"/>
                <a:gd name="T106" fmla="*/ 0 h 148"/>
                <a:gd name="T107" fmla="*/ 382 w 382"/>
                <a:gd name="T108" fmla="*/ 148 h 14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06" name="Freeform 14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5719763" y="1966913"/>
              <a:ext cx="1281112" cy="1038225"/>
            </a:xfrm>
            <a:custGeom>
              <a:avLst/>
              <a:gdLst>
                <a:gd name="T0" fmla="*/ 2147483647 w 2936"/>
                <a:gd name="T1" fmla="*/ 2147483647 h 1983"/>
                <a:gd name="T2" fmla="*/ 2147483647 w 2936"/>
                <a:gd name="T3" fmla="*/ 2147483647 h 1983"/>
                <a:gd name="T4" fmla="*/ 2147483647 w 2936"/>
                <a:gd name="T5" fmla="*/ 2147483647 h 1983"/>
                <a:gd name="T6" fmla="*/ 2147483647 w 2936"/>
                <a:gd name="T7" fmla="*/ 2147483647 h 1983"/>
                <a:gd name="T8" fmla="*/ 2147483647 w 2936"/>
                <a:gd name="T9" fmla="*/ 2147483647 h 1983"/>
                <a:gd name="T10" fmla="*/ 2147483647 w 2936"/>
                <a:gd name="T11" fmla="*/ 2147483647 h 1983"/>
                <a:gd name="T12" fmla="*/ 2147483647 w 2936"/>
                <a:gd name="T13" fmla="*/ 2147483647 h 1983"/>
                <a:gd name="T14" fmla="*/ 2147483647 w 2936"/>
                <a:gd name="T15" fmla="*/ 2147483647 h 1983"/>
                <a:gd name="T16" fmla="*/ 2147483647 w 2936"/>
                <a:gd name="T17" fmla="*/ 2147483647 h 1983"/>
                <a:gd name="T18" fmla="*/ 2147483647 w 2936"/>
                <a:gd name="T19" fmla="*/ 2147483647 h 1983"/>
                <a:gd name="T20" fmla="*/ 2147483647 w 2936"/>
                <a:gd name="T21" fmla="*/ 2147483647 h 1983"/>
                <a:gd name="T22" fmla="*/ 2147483647 w 2936"/>
                <a:gd name="T23" fmla="*/ 2147483647 h 1983"/>
                <a:gd name="T24" fmla="*/ 2147483647 w 2936"/>
                <a:gd name="T25" fmla="*/ 2147483647 h 1983"/>
                <a:gd name="T26" fmla="*/ 2147483647 w 2936"/>
                <a:gd name="T27" fmla="*/ 2147483647 h 1983"/>
                <a:gd name="T28" fmla="*/ 2147483647 w 2936"/>
                <a:gd name="T29" fmla="*/ 2147483647 h 1983"/>
                <a:gd name="T30" fmla="*/ 2147483647 w 2936"/>
                <a:gd name="T31" fmla="*/ 2147483647 h 1983"/>
                <a:gd name="T32" fmla="*/ 2147483647 w 2936"/>
                <a:gd name="T33" fmla="*/ 2147483647 h 1983"/>
                <a:gd name="T34" fmla="*/ 2147483647 w 2936"/>
                <a:gd name="T35" fmla="*/ 2147483647 h 1983"/>
                <a:gd name="T36" fmla="*/ 2147483647 w 2936"/>
                <a:gd name="T37" fmla="*/ 2147483647 h 1983"/>
                <a:gd name="T38" fmla="*/ 2147483647 w 2936"/>
                <a:gd name="T39" fmla="*/ 2147483647 h 1983"/>
                <a:gd name="T40" fmla="*/ 2147483647 w 2936"/>
                <a:gd name="T41" fmla="*/ 2147483647 h 1983"/>
                <a:gd name="T42" fmla="*/ 2147483647 w 2936"/>
                <a:gd name="T43" fmla="*/ 2147483647 h 1983"/>
                <a:gd name="T44" fmla="*/ 2147483647 w 2936"/>
                <a:gd name="T45" fmla="*/ 2147483647 h 1983"/>
                <a:gd name="T46" fmla="*/ 2147483647 w 2936"/>
                <a:gd name="T47" fmla="*/ 2147483647 h 1983"/>
                <a:gd name="T48" fmla="*/ 2147483647 w 2936"/>
                <a:gd name="T49" fmla="*/ 2147483647 h 1983"/>
                <a:gd name="T50" fmla="*/ 2147483647 w 2936"/>
                <a:gd name="T51" fmla="*/ 2147483647 h 1983"/>
                <a:gd name="T52" fmla="*/ 2147483647 w 2936"/>
                <a:gd name="T53" fmla="*/ 2147483647 h 1983"/>
                <a:gd name="T54" fmla="*/ 2147483647 w 2936"/>
                <a:gd name="T55" fmla="*/ 2147483647 h 1983"/>
                <a:gd name="T56" fmla="*/ 2147483647 w 2936"/>
                <a:gd name="T57" fmla="*/ 2147483647 h 1983"/>
                <a:gd name="T58" fmla="*/ 2147483647 w 2936"/>
                <a:gd name="T59" fmla="*/ 2147483647 h 1983"/>
                <a:gd name="T60" fmla="*/ 2147483647 w 2936"/>
                <a:gd name="T61" fmla="*/ 2147483647 h 1983"/>
                <a:gd name="T62" fmla="*/ 2147483647 w 2936"/>
                <a:gd name="T63" fmla="*/ 2147483647 h 1983"/>
                <a:gd name="T64" fmla="*/ 2147483647 w 2936"/>
                <a:gd name="T65" fmla="*/ 2147483647 h 1983"/>
                <a:gd name="T66" fmla="*/ 2147483647 w 2936"/>
                <a:gd name="T67" fmla="*/ 2147483647 h 1983"/>
                <a:gd name="T68" fmla="*/ 2147483647 w 2936"/>
                <a:gd name="T69" fmla="*/ 2147483647 h 1983"/>
                <a:gd name="T70" fmla="*/ 2147483647 w 2936"/>
                <a:gd name="T71" fmla="*/ 2147483647 h 1983"/>
                <a:gd name="T72" fmla="*/ 2147483647 w 2936"/>
                <a:gd name="T73" fmla="*/ 2147483647 h 1983"/>
                <a:gd name="T74" fmla="*/ 2147483647 w 2936"/>
                <a:gd name="T75" fmla="*/ 2147483647 h 1983"/>
                <a:gd name="T76" fmla="*/ 2147483647 w 2936"/>
                <a:gd name="T77" fmla="*/ 2147483647 h 1983"/>
                <a:gd name="T78" fmla="*/ 2147483647 w 2936"/>
                <a:gd name="T79" fmla="*/ 2147483647 h 1983"/>
                <a:gd name="T80" fmla="*/ 2147483647 w 2936"/>
                <a:gd name="T81" fmla="*/ 2147483647 h 1983"/>
                <a:gd name="T82" fmla="*/ 2147483647 w 2936"/>
                <a:gd name="T83" fmla="*/ 2147483647 h 1983"/>
                <a:gd name="T84" fmla="*/ 2147483647 w 2936"/>
                <a:gd name="T85" fmla="*/ 2147483647 h 1983"/>
                <a:gd name="T86" fmla="*/ 2147483647 w 2936"/>
                <a:gd name="T87" fmla="*/ 2147483647 h 1983"/>
                <a:gd name="T88" fmla="*/ 2147483647 w 2936"/>
                <a:gd name="T89" fmla="*/ 2147483647 h 1983"/>
                <a:gd name="T90" fmla="*/ 2147483647 w 2936"/>
                <a:gd name="T91" fmla="*/ 2147483647 h 1983"/>
                <a:gd name="T92" fmla="*/ 2147483647 w 2936"/>
                <a:gd name="T93" fmla="*/ 2147483647 h 1983"/>
                <a:gd name="T94" fmla="*/ 2147483647 w 2936"/>
                <a:gd name="T95" fmla="*/ 2147483647 h 1983"/>
                <a:gd name="T96" fmla="*/ 2147483647 w 2936"/>
                <a:gd name="T97" fmla="*/ 2147483647 h 1983"/>
                <a:gd name="T98" fmla="*/ 2147483647 w 2936"/>
                <a:gd name="T99" fmla="*/ 2147483647 h 1983"/>
                <a:gd name="T100" fmla="*/ 2147483647 w 2936"/>
                <a:gd name="T101" fmla="*/ 2147483647 h 1983"/>
                <a:gd name="T102" fmla="*/ 2147483647 w 2936"/>
                <a:gd name="T103" fmla="*/ 2147483647 h 1983"/>
                <a:gd name="T104" fmla="*/ 2147483647 w 2936"/>
                <a:gd name="T105" fmla="*/ 2147483647 h 1983"/>
                <a:gd name="T106" fmla="*/ 2147483647 w 2936"/>
                <a:gd name="T107" fmla="*/ 2147483647 h 1983"/>
                <a:gd name="T108" fmla="*/ 2147483647 w 2936"/>
                <a:gd name="T109" fmla="*/ 2147483647 h 1983"/>
                <a:gd name="T110" fmla="*/ 2147483647 w 2936"/>
                <a:gd name="T111" fmla="*/ 2147483647 h 1983"/>
                <a:gd name="T112" fmla="*/ 2147483647 w 2936"/>
                <a:gd name="T113" fmla="*/ 2147483647 h 1983"/>
                <a:gd name="T114" fmla="*/ 2147483647 w 2936"/>
                <a:gd name="T115" fmla="*/ 2147483647 h 1983"/>
                <a:gd name="T116" fmla="*/ 2147483647 w 2936"/>
                <a:gd name="T117" fmla="*/ 2147483647 h 1983"/>
                <a:gd name="T118" fmla="*/ 2147483647 w 2936"/>
                <a:gd name="T119" fmla="*/ 2147483647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936"/>
                <a:gd name="T181" fmla="*/ 0 h 1983"/>
                <a:gd name="T182" fmla="*/ 2936 w 2936"/>
                <a:gd name="T183" fmla="*/ 1983 h 198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07" name="Freeform 15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4411663" y="1508125"/>
              <a:ext cx="220662" cy="273050"/>
            </a:xfrm>
            <a:custGeom>
              <a:avLst/>
              <a:gdLst>
                <a:gd name="T0" fmla="*/ 2147483647 w 504"/>
                <a:gd name="T1" fmla="*/ 2147483647 h 524"/>
                <a:gd name="T2" fmla="*/ 2147483647 w 504"/>
                <a:gd name="T3" fmla="*/ 2147483647 h 524"/>
                <a:gd name="T4" fmla="*/ 2147483647 w 504"/>
                <a:gd name="T5" fmla="*/ 2147483647 h 524"/>
                <a:gd name="T6" fmla="*/ 2147483647 w 504"/>
                <a:gd name="T7" fmla="*/ 2147483647 h 524"/>
                <a:gd name="T8" fmla="*/ 2147483647 w 504"/>
                <a:gd name="T9" fmla="*/ 2147483647 h 524"/>
                <a:gd name="T10" fmla="*/ 2147483647 w 504"/>
                <a:gd name="T11" fmla="*/ 2147483647 h 524"/>
                <a:gd name="T12" fmla="*/ 2147483647 w 504"/>
                <a:gd name="T13" fmla="*/ 2147483647 h 524"/>
                <a:gd name="T14" fmla="*/ 2147483647 w 504"/>
                <a:gd name="T15" fmla="*/ 2147483647 h 524"/>
                <a:gd name="T16" fmla="*/ 2147483647 w 504"/>
                <a:gd name="T17" fmla="*/ 2147483647 h 524"/>
                <a:gd name="T18" fmla="*/ 2147483647 w 504"/>
                <a:gd name="T19" fmla="*/ 2147483647 h 524"/>
                <a:gd name="T20" fmla="*/ 2147483647 w 504"/>
                <a:gd name="T21" fmla="*/ 2147483647 h 524"/>
                <a:gd name="T22" fmla="*/ 2147483647 w 504"/>
                <a:gd name="T23" fmla="*/ 2147483647 h 524"/>
                <a:gd name="T24" fmla="*/ 2147483647 w 504"/>
                <a:gd name="T25" fmla="*/ 2147483647 h 524"/>
                <a:gd name="T26" fmla="*/ 2147483647 w 504"/>
                <a:gd name="T27" fmla="*/ 2147483647 h 524"/>
                <a:gd name="T28" fmla="*/ 2147483647 w 504"/>
                <a:gd name="T29" fmla="*/ 2147483647 h 524"/>
                <a:gd name="T30" fmla="*/ 2147483647 w 504"/>
                <a:gd name="T31" fmla="*/ 2147483647 h 524"/>
                <a:gd name="T32" fmla="*/ 2147483647 w 504"/>
                <a:gd name="T33" fmla="*/ 2147483647 h 524"/>
                <a:gd name="T34" fmla="*/ 2147483647 w 504"/>
                <a:gd name="T35" fmla="*/ 2147483647 h 524"/>
                <a:gd name="T36" fmla="*/ 2147483647 w 504"/>
                <a:gd name="T37" fmla="*/ 2147483647 h 524"/>
                <a:gd name="T38" fmla="*/ 2147483647 w 504"/>
                <a:gd name="T39" fmla="*/ 2147483647 h 524"/>
                <a:gd name="T40" fmla="*/ 2147483647 w 504"/>
                <a:gd name="T41" fmla="*/ 2147483647 h 524"/>
                <a:gd name="T42" fmla="*/ 2147483647 w 504"/>
                <a:gd name="T43" fmla="*/ 2147483647 h 524"/>
                <a:gd name="T44" fmla="*/ 2147483647 w 504"/>
                <a:gd name="T45" fmla="*/ 2147483647 h 524"/>
                <a:gd name="T46" fmla="*/ 2147483647 w 504"/>
                <a:gd name="T47" fmla="*/ 2147483647 h 524"/>
                <a:gd name="T48" fmla="*/ 2147483647 w 504"/>
                <a:gd name="T49" fmla="*/ 2147483647 h 524"/>
                <a:gd name="T50" fmla="*/ 2147483647 w 504"/>
                <a:gd name="T51" fmla="*/ 2147483647 h 524"/>
                <a:gd name="T52" fmla="*/ 2147483647 w 504"/>
                <a:gd name="T53" fmla="*/ 2147483647 h 524"/>
                <a:gd name="T54" fmla="*/ 2147483647 w 504"/>
                <a:gd name="T55" fmla="*/ 2147483647 h 524"/>
                <a:gd name="T56" fmla="*/ 2147483647 w 504"/>
                <a:gd name="T57" fmla="*/ 2147483647 h 524"/>
                <a:gd name="T58" fmla="*/ 2147483647 w 504"/>
                <a:gd name="T59" fmla="*/ 2147483647 h 524"/>
                <a:gd name="T60" fmla="*/ 2147483647 w 504"/>
                <a:gd name="T61" fmla="*/ 2147483647 h 524"/>
                <a:gd name="T62" fmla="*/ 2147483647 w 504"/>
                <a:gd name="T63" fmla="*/ 2147483647 h 524"/>
                <a:gd name="T64" fmla="*/ 2147483647 w 504"/>
                <a:gd name="T65" fmla="*/ 2147483647 h 524"/>
                <a:gd name="T66" fmla="*/ 2147483647 w 504"/>
                <a:gd name="T67" fmla="*/ 2147483647 h 524"/>
                <a:gd name="T68" fmla="*/ 2147483647 w 504"/>
                <a:gd name="T69" fmla="*/ 2147483647 h 524"/>
                <a:gd name="T70" fmla="*/ 2147483647 w 504"/>
                <a:gd name="T71" fmla="*/ 2147483647 h 524"/>
                <a:gd name="T72" fmla="*/ 2147483647 w 504"/>
                <a:gd name="T73" fmla="*/ 2147483647 h 524"/>
                <a:gd name="T74" fmla="*/ 2147483647 w 504"/>
                <a:gd name="T75" fmla="*/ 0 h 524"/>
                <a:gd name="T76" fmla="*/ 2147483647 w 504"/>
                <a:gd name="T77" fmla="*/ 0 h 524"/>
                <a:gd name="T78" fmla="*/ 2147483647 w 504"/>
                <a:gd name="T79" fmla="*/ 2147483647 h 524"/>
                <a:gd name="T80" fmla="*/ 2147483647 w 504"/>
                <a:gd name="T81" fmla="*/ 2147483647 h 524"/>
                <a:gd name="T82" fmla="*/ 2147483647 w 504"/>
                <a:gd name="T83" fmla="*/ 2147483647 h 524"/>
                <a:gd name="T84" fmla="*/ 2147483647 w 504"/>
                <a:gd name="T85" fmla="*/ 2147483647 h 524"/>
                <a:gd name="T86" fmla="*/ 2147483647 w 504"/>
                <a:gd name="T87" fmla="*/ 2147483647 h 524"/>
                <a:gd name="T88" fmla="*/ 2147483647 w 504"/>
                <a:gd name="T89" fmla="*/ 2147483647 h 524"/>
                <a:gd name="T90" fmla="*/ 2147483647 w 504"/>
                <a:gd name="T91" fmla="*/ 2147483647 h 524"/>
                <a:gd name="T92" fmla="*/ 2147483647 w 504"/>
                <a:gd name="T93" fmla="*/ 2147483647 h 524"/>
                <a:gd name="T94" fmla="*/ 2147483647 w 504"/>
                <a:gd name="T95" fmla="*/ 2147483647 h 524"/>
                <a:gd name="T96" fmla="*/ 2147483647 w 504"/>
                <a:gd name="T97" fmla="*/ 2147483647 h 524"/>
                <a:gd name="T98" fmla="*/ 2147483647 w 504"/>
                <a:gd name="T99" fmla="*/ 2147483647 h 524"/>
                <a:gd name="T100" fmla="*/ 2147483647 w 504"/>
                <a:gd name="T101" fmla="*/ 2147483647 h 524"/>
                <a:gd name="T102" fmla="*/ 2147483647 w 504"/>
                <a:gd name="T103" fmla="*/ 2147483647 h 524"/>
                <a:gd name="T104" fmla="*/ 2147483647 w 504"/>
                <a:gd name="T105" fmla="*/ 2147483647 h 524"/>
                <a:gd name="T106" fmla="*/ 2147483647 w 504"/>
                <a:gd name="T107" fmla="*/ 2147483647 h 524"/>
                <a:gd name="T108" fmla="*/ 2147483647 w 504"/>
                <a:gd name="T109" fmla="*/ 2147483647 h 524"/>
                <a:gd name="T110" fmla="*/ 2147483647 w 504"/>
                <a:gd name="T111" fmla="*/ 214748364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04"/>
                <a:gd name="T169" fmla="*/ 0 h 524"/>
                <a:gd name="T170" fmla="*/ 504 w 504"/>
                <a:gd name="T171" fmla="*/ 524 h 5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08" name="Freeform 16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4148138" y="1925638"/>
              <a:ext cx="182562" cy="238125"/>
            </a:xfrm>
            <a:custGeom>
              <a:avLst/>
              <a:gdLst>
                <a:gd name="T0" fmla="*/ 2147483647 w 438"/>
                <a:gd name="T1" fmla="*/ 2147483647 h 451"/>
                <a:gd name="T2" fmla="*/ 2147483647 w 438"/>
                <a:gd name="T3" fmla="*/ 2147483647 h 451"/>
                <a:gd name="T4" fmla="*/ 2147483647 w 438"/>
                <a:gd name="T5" fmla="*/ 2147483647 h 451"/>
                <a:gd name="T6" fmla="*/ 2147483647 w 438"/>
                <a:gd name="T7" fmla="*/ 2147483647 h 451"/>
                <a:gd name="T8" fmla="*/ 2147483647 w 438"/>
                <a:gd name="T9" fmla="*/ 2147483647 h 451"/>
                <a:gd name="T10" fmla="*/ 2147483647 w 438"/>
                <a:gd name="T11" fmla="*/ 2147483647 h 451"/>
                <a:gd name="T12" fmla="*/ 2147483647 w 438"/>
                <a:gd name="T13" fmla="*/ 2147483647 h 451"/>
                <a:gd name="T14" fmla="*/ 2147483647 w 438"/>
                <a:gd name="T15" fmla="*/ 2147483647 h 451"/>
                <a:gd name="T16" fmla="*/ 2147483647 w 438"/>
                <a:gd name="T17" fmla="*/ 2147483647 h 451"/>
                <a:gd name="T18" fmla="*/ 2147483647 w 438"/>
                <a:gd name="T19" fmla="*/ 2147483647 h 451"/>
                <a:gd name="T20" fmla="*/ 2147483647 w 438"/>
                <a:gd name="T21" fmla="*/ 2147483647 h 451"/>
                <a:gd name="T22" fmla="*/ 2147483647 w 438"/>
                <a:gd name="T23" fmla="*/ 2147483647 h 451"/>
                <a:gd name="T24" fmla="*/ 2147483647 w 438"/>
                <a:gd name="T25" fmla="*/ 2147483647 h 451"/>
                <a:gd name="T26" fmla="*/ 2147483647 w 438"/>
                <a:gd name="T27" fmla="*/ 0 h 451"/>
                <a:gd name="T28" fmla="*/ 2147483647 w 438"/>
                <a:gd name="T29" fmla="*/ 2147483647 h 451"/>
                <a:gd name="T30" fmla="*/ 2147483647 w 438"/>
                <a:gd name="T31" fmla="*/ 2147483647 h 451"/>
                <a:gd name="T32" fmla="*/ 2147483647 w 438"/>
                <a:gd name="T33" fmla="*/ 2147483647 h 451"/>
                <a:gd name="T34" fmla="*/ 2147483647 w 438"/>
                <a:gd name="T35" fmla="*/ 2147483647 h 451"/>
                <a:gd name="T36" fmla="*/ 2147483647 w 438"/>
                <a:gd name="T37" fmla="*/ 2147483647 h 451"/>
                <a:gd name="T38" fmla="*/ 2147483647 w 438"/>
                <a:gd name="T39" fmla="*/ 2147483647 h 451"/>
                <a:gd name="T40" fmla="*/ 2147483647 w 438"/>
                <a:gd name="T41" fmla="*/ 2147483647 h 451"/>
                <a:gd name="T42" fmla="*/ 2147483647 w 438"/>
                <a:gd name="T43" fmla="*/ 2147483647 h 451"/>
                <a:gd name="T44" fmla="*/ 2147483647 w 438"/>
                <a:gd name="T45" fmla="*/ 2147483647 h 451"/>
                <a:gd name="T46" fmla="*/ 2147483647 w 438"/>
                <a:gd name="T47" fmla="*/ 2147483647 h 451"/>
                <a:gd name="T48" fmla="*/ 2147483647 w 438"/>
                <a:gd name="T49" fmla="*/ 2147483647 h 451"/>
                <a:gd name="T50" fmla="*/ 2147483647 w 438"/>
                <a:gd name="T51" fmla="*/ 2147483647 h 451"/>
                <a:gd name="T52" fmla="*/ 2147483647 w 438"/>
                <a:gd name="T53" fmla="*/ 2147483647 h 451"/>
                <a:gd name="T54" fmla="*/ 2147483647 w 438"/>
                <a:gd name="T55" fmla="*/ 2147483647 h 451"/>
                <a:gd name="T56" fmla="*/ 2147483647 w 438"/>
                <a:gd name="T57" fmla="*/ 2147483647 h 451"/>
                <a:gd name="T58" fmla="*/ 2147483647 w 438"/>
                <a:gd name="T59" fmla="*/ 2147483647 h 451"/>
                <a:gd name="T60" fmla="*/ 2147483647 w 438"/>
                <a:gd name="T61" fmla="*/ 2147483647 h 451"/>
                <a:gd name="T62" fmla="*/ 2147483647 w 438"/>
                <a:gd name="T63" fmla="*/ 2147483647 h 451"/>
                <a:gd name="T64" fmla="*/ 2147483647 w 438"/>
                <a:gd name="T65" fmla="*/ 2147483647 h 451"/>
                <a:gd name="T66" fmla="*/ 2147483647 w 438"/>
                <a:gd name="T67" fmla="*/ 2147483647 h 451"/>
                <a:gd name="T68" fmla="*/ 2147483647 w 438"/>
                <a:gd name="T69" fmla="*/ 2147483647 h 451"/>
                <a:gd name="T70" fmla="*/ 2147483647 w 438"/>
                <a:gd name="T71" fmla="*/ 2147483647 h 451"/>
                <a:gd name="T72" fmla="*/ 2147483647 w 438"/>
                <a:gd name="T73" fmla="*/ 2147483647 h 451"/>
                <a:gd name="T74" fmla="*/ 2147483647 w 438"/>
                <a:gd name="T75" fmla="*/ 2147483647 h 451"/>
                <a:gd name="T76" fmla="*/ 2147483647 w 438"/>
                <a:gd name="T77" fmla="*/ 2147483647 h 451"/>
                <a:gd name="T78" fmla="*/ 2147483647 w 438"/>
                <a:gd name="T79" fmla="*/ 2147483647 h 451"/>
                <a:gd name="T80" fmla="*/ 2147483647 w 438"/>
                <a:gd name="T81" fmla="*/ 2147483647 h 451"/>
                <a:gd name="T82" fmla="*/ 2147483647 w 438"/>
                <a:gd name="T83" fmla="*/ 2147483647 h 451"/>
                <a:gd name="T84" fmla="*/ 2147483647 w 438"/>
                <a:gd name="T85" fmla="*/ 2147483647 h 451"/>
                <a:gd name="T86" fmla="*/ 2147483647 w 438"/>
                <a:gd name="T87" fmla="*/ 2147483647 h 451"/>
                <a:gd name="T88" fmla="*/ 2147483647 w 438"/>
                <a:gd name="T89" fmla="*/ 2147483647 h 451"/>
                <a:gd name="T90" fmla="*/ 2147483647 w 438"/>
                <a:gd name="T91" fmla="*/ 2147483647 h 451"/>
                <a:gd name="T92" fmla="*/ 2147483647 w 438"/>
                <a:gd name="T93" fmla="*/ 2147483647 h 451"/>
                <a:gd name="T94" fmla="*/ 2147483647 w 438"/>
                <a:gd name="T95" fmla="*/ 2147483647 h 451"/>
                <a:gd name="T96" fmla="*/ 2147483647 w 438"/>
                <a:gd name="T97" fmla="*/ 2147483647 h 451"/>
                <a:gd name="T98" fmla="*/ 2147483647 w 438"/>
                <a:gd name="T99" fmla="*/ 2147483647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38"/>
                <a:gd name="T151" fmla="*/ 0 h 451"/>
                <a:gd name="T152" fmla="*/ 438 w 438"/>
                <a:gd name="T153" fmla="*/ 451 h 451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09" name="Freeform 17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173538" y="2182813"/>
              <a:ext cx="250825" cy="274637"/>
            </a:xfrm>
            <a:custGeom>
              <a:avLst/>
              <a:gdLst>
                <a:gd name="T0" fmla="*/ 2147483647 w 578"/>
                <a:gd name="T1" fmla="*/ 2147483647 h 524"/>
                <a:gd name="T2" fmla="*/ 2147483647 w 578"/>
                <a:gd name="T3" fmla="*/ 2147483647 h 524"/>
                <a:gd name="T4" fmla="*/ 2147483647 w 578"/>
                <a:gd name="T5" fmla="*/ 2147483647 h 524"/>
                <a:gd name="T6" fmla="*/ 2147483647 w 578"/>
                <a:gd name="T7" fmla="*/ 2147483647 h 524"/>
                <a:gd name="T8" fmla="*/ 2147483647 w 578"/>
                <a:gd name="T9" fmla="*/ 2147483647 h 524"/>
                <a:gd name="T10" fmla="*/ 2147483647 w 578"/>
                <a:gd name="T11" fmla="*/ 2147483647 h 524"/>
                <a:gd name="T12" fmla="*/ 2147483647 w 578"/>
                <a:gd name="T13" fmla="*/ 2147483647 h 524"/>
                <a:gd name="T14" fmla="*/ 2147483647 w 578"/>
                <a:gd name="T15" fmla="*/ 2147483647 h 524"/>
                <a:gd name="T16" fmla="*/ 2147483647 w 578"/>
                <a:gd name="T17" fmla="*/ 2147483647 h 524"/>
                <a:gd name="T18" fmla="*/ 2147483647 w 578"/>
                <a:gd name="T19" fmla="*/ 2147483647 h 524"/>
                <a:gd name="T20" fmla="*/ 2147483647 w 578"/>
                <a:gd name="T21" fmla="*/ 2147483647 h 524"/>
                <a:gd name="T22" fmla="*/ 2147483647 w 578"/>
                <a:gd name="T23" fmla="*/ 2147483647 h 524"/>
                <a:gd name="T24" fmla="*/ 2147483647 w 578"/>
                <a:gd name="T25" fmla="*/ 2147483647 h 524"/>
                <a:gd name="T26" fmla="*/ 2147483647 w 578"/>
                <a:gd name="T27" fmla="*/ 2147483647 h 524"/>
                <a:gd name="T28" fmla="*/ 2147483647 w 578"/>
                <a:gd name="T29" fmla="*/ 2147483647 h 524"/>
                <a:gd name="T30" fmla="*/ 2147483647 w 578"/>
                <a:gd name="T31" fmla="*/ 2147483647 h 524"/>
                <a:gd name="T32" fmla="*/ 2147483647 w 578"/>
                <a:gd name="T33" fmla="*/ 2147483647 h 524"/>
                <a:gd name="T34" fmla="*/ 2147483647 w 578"/>
                <a:gd name="T35" fmla="*/ 2147483647 h 524"/>
                <a:gd name="T36" fmla="*/ 2147483647 w 578"/>
                <a:gd name="T37" fmla="*/ 2147483647 h 524"/>
                <a:gd name="T38" fmla="*/ 2147483647 w 578"/>
                <a:gd name="T39" fmla="*/ 2147483647 h 524"/>
                <a:gd name="T40" fmla="*/ 2147483647 w 578"/>
                <a:gd name="T41" fmla="*/ 2147483647 h 524"/>
                <a:gd name="T42" fmla="*/ 2147483647 w 578"/>
                <a:gd name="T43" fmla="*/ 2147483647 h 524"/>
                <a:gd name="T44" fmla="*/ 2147483647 w 578"/>
                <a:gd name="T45" fmla="*/ 2147483647 h 524"/>
                <a:gd name="T46" fmla="*/ 2147483647 w 578"/>
                <a:gd name="T47" fmla="*/ 2147483647 h 524"/>
                <a:gd name="T48" fmla="*/ 2147483647 w 578"/>
                <a:gd name="T49" fmla="*/ 2147483647 h 524"/>
                <a:gd name="T50" fmla="*/ 2147483647 w 578"/>
                <a:gd name="T51" fmla="*/ 2147483647 h 524"/>
                <a:gd name="T52" fmla="*/ 2147483647 w 578"/>
                <a:gd name="T53" fmla="*/ 2147483647 h 524"/>
                <a:gd name="T54" fmla="*/ 2147483647 w 578"/>
                <a:gd name="T55" fmla="*/ 2147483647 h 524"/>
                <a:gd name="T56" fmla="*/ 2147483647 w 578"/>
                <a:gd name="T57" fmla="*/ 2147483647 h 524"/>
                <a:gd name="T58" fmla="*/ 2147483647 w 578"/>
                <a:gd name="T59" fmla="*/ 2147483647 h 524"/>
                <a:gd name="T60" fmla="*/ 2147483647 w 578"/>
                <a:gd name="T61" fmla="*/ 2147483647 h 524"/>
                <a:gd name="T62" fmla="*/ 2147483647 w 578"/>
                <a:gd name="T63" fmla="*/ 2147483647 h 524"/>
                <a:gd name="T64" fmla="*/ 2147483647 w 578"/>
                <a:gd name="T65" fmla="*/ 2147483647 h 524"/>
                <a:gd name="T66" fmla="*/ 2147483647 w 578"/>
                <a:gd name="T67" fmla="*/ 2147483647 h 524"/>
                <a:gd name="T68" fmla="*/ 2147483647 w 578"/>
                <a:gd name="T69" fmla="*/ 2147483647 h 524"/>
                <a:gd name="T70" fmla="*/ 2147483647 w 578"/>
                <a:gd name="T71" fmla="*/ 2147483647 h 524"/>
                <a:gd name="T72" fmla="*/ 2147483647 w 578"/>
                <a:gd name="T73" fmla="*/ 2147483647 h 524"/>
                <a:gd name="T74" fmla="*/ 2147483647 w 578"/>
                <a:gd name="T75" fmla="*/ 2147483647 h 524"/>
                <a:gd name="T76" fmla="*/ 2147483647 w 578"/>
                <a:gd name="T77" fmla="*/ 2147483647 h 524"/>
                <a:gd name="T78" fmla="*/ 2147483647 w 578"/>
                <a:gd name="T79" fmla="*/ 2147483647 h 524"/>
                <a:gd name="T80" fmla="*/ 2147483647 w 578"/>
                <a:gd name="T81" fmla="*/ 2147483647 h 524"/>
                <a:gd name="T82" fmla="*/ 2147483647 w 578"/>
                <a:gd name="T83" fmla="*/ 2147483647 h 524"/>
                <a:gd name="T84" fmla="*/ 2147483647 w 578"/>
                <a:gd name="T85" fmla="*/ 2147483647 h 524"/>
                <a:gd name="T86" fmla="*/ 2147483647 w 578"/>
                <a:gd name="T87" fmla="*/ 2147483647 h 524"/>
                <a:gd name="T88" fmla="*/ 2147483647 w 578"/>
                <a:gd name="T89" fmla="*/ 2147483647 h 524"/>
                <a:gd name="T90" fmla="*/ 2147483647 w 578"/>
                <a:gd name="T91" fmla="*/ 2147483647 h 524"/>
                <a:gd name="T92" fmla="*/ 2147483647 w 578"/>
                <a:gd name="T93" fmla="*/ 2147483647 h 524"/>
                <a:gd name="T94" fmla="*/ 2147483647 w 578"/>
                <a:gd name="T95" fmla="*/ 2147483647 h 524"/>
                <a:gd name="T96" fmla="*/ 2147483647 w 578"/>
                <a:gd name="T97" fmla="*/ 0 h 524"/>
                <a:gd name="T98" fmla="*/ 2147483647 w 578"/>
                <a:gd name="T99" fmla="*/ 2147483647 h 524"/>
                <a:gd name="T100" fmla="*/ 2147483647 w 578"/>
                <a:gd name="T101" fmla="*/ 2147483647 h 524"/>
                <a:gd name="T102" fmla="*/ 2147483647 w 578"/>
                <a:gd name="T103" fmla="*/ 2147483647 h 524"/>
                <a:gd name="T104" fmla="*/ 2147483647 w 578"/>
                <a:gd name="T105" fmla="*/ 2147483647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78"/>
                <a:gd name="T160" fmla="*/ 0 h 524"/>
                <a:gd name="T161" fmla="*/ 578 w 578"/>
                <a:gd name="T162" fmla="*/ 524 h 52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10" name="Freeform 18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191000" y="2351088"/>
              <a:ext cx="33338" cy="82550"/>
            </a:xfrm>
            <a:custGeom>
              <a:avLst/>
              <a:gdLst>
                <a:gd name="T0" fmla="*/ 0 w 79"/>
                <a:gd name="T1" fmla="*/ 2147483647 h 160"/>
                <a:gd name="T2" fmla="*/ 2147483647 w 79"/>
                <a:gd name="T3" fmla="*/ 2147483647 h 160"/>
                <a:gd name="T4" fmla="*/ 2147483647 w 79"/>
                <a:gd name="T5" fmla="*/ 2147483647 h 160"/>
                <a:gd name="T6" fmla="*/ 2147483647 w 79"/>
                <a:gd name="T7" fmla="*/ 2147483647 h 160"/>
                <a:gd name="T8" fmla="*/ 2147483647 w 79"/>
                <a:gd name="T9" fmla="*/ 2147483647 h 160"/>
                <a:gd name="T10" fmla="*/ 2147483647 w 79"/>
                <a:gd name="T11" fmla="*/ 2147483647 h 160"/>
                <a:gd name="T12" fmla="*/ 2147483647 w 79"/>
                <a:gd name="T13" fmla="*/ 2147483647 h 160"/>
                <a:gd name="T14" fmla="*/ 2147483647 w 79"/>
                <a:gd name="T15" fmla="*/ 2147483647 h 160"/>
                <a:gd name="T16" fmla="*/ 2147483647 w 79"/>
                <a:gd name="T17" fmla="*/ 2147483647 h 160"/>
                <a:gd name="T18" fmla="*/ 2147483647 w 79"/>
                <a:gd name="T19" fmla="*/ 2147483647 h 160"/>
                <a:gd name="T20" fmla="*/ 2147483647 w 79"/>
                <a:gd name="T21" fmla="*/ 0 h 160"/>
                <a:gd name="T22" fmla="*/ 2147483647 w 79"/>
                <a:gd name="T23" fmla="*/ 2147483647 h 160"/>
                <a:gd name="T24" fmla="*/ 2147483647 w 79"/>
                <a:gd name="T25" fmla="*/ 2147483647 h 160"/>
                <a:gd name="T26" fmla="*/ 2147483647 w 79"/>
                <a:gd name="T27" fmla="*/ 2147483647 h 160"/>
                <a:gd name="T28" fmla="*/ 2147483647 w 79"/>
                <a:gd name="T29" fmla="*/ 2147483647 h 160"/>
                <a:gd name="T30" fmla="*/ 2147483647 w 79"/>
                <a:gd name="T31" fmla="*/ 2147483647 h 160"/>
                <a:gd name="T32" fmla="*/ 2147483647 w 79"/>
                <a:gd name="T33" fmla="*/ 2147483647 h 160"/>
                <a:gd name="T34" fmla="*/ 2147483647 w 79"/>
                <a:gd name="T35" fmla="*/ 2147483647 h 160"/>
                <a:gd name="T36" fmla="*/ 2147483647 w 79"/>
                <a:gd name="T37" fmla="*/ 2147483647 h 160"/>
                <a:gd name="T38" fmla="*/ 2147483647 w 79"/>
                <a:gd name="T39" fmla="*/ 2147483647 h 160"/>
                <a:gd name="T40" fmla="*/ 2147483647 w 79"/>
                <a:gd name="T41" fmla="*/ 2147483647 h 160"/>
                <a:gd name="T42" fmla="*/ 2147483647 w 79"/>
                <a:gd name="T43" fmla="*/ 2147483647 h 160"/>
                <a:gd name="T44" fmla="*/ 2147483647 w 79"/>
                <a:gd name="T45" fmla="*/ 2147483647 h 160"/>
                <a:gd name="T46" fmla="*/ 2147483647 w 79"/>
                <a:gd name="T47" fmla="*/ 2147483647 h 160"/>
                <a:gd name="T48" fmla="*/ 2147483647 w 79"/>
                <a:gd name="T49" fmla="*/ 2147483647 h 160"/>
                <a:gd name="T50" fmla="*/ 2147483647 w 79"/>
                <a:gd name="T51" fmla="*/ 2147483647 h 160"/>
                <a:gd name="T52" fmla="*/ 2147483647 w 79"/>
                <a:gd name="T53" fmla="*/ 2147483647 h 160"/>
                <a:gd name="T54" fmla="*/ 2147483647 w 79"/>
                <a:gd name="T55" fmla="*/ 2147483647 h 160"/>
                <a:gd name="T56" fmla="*/ 2147483647 w 79"/>
                <a:gd name="T57" fmla="*/ 2147483647 h 160"/>
                <a:gd name="T58" fmla="*/ 2147483647 w 79"/>
                <a:gd name="T59" fmla="*/ 2147483647 h 160"/>
                <a:gd name="T60" fmla="*/ 2147483647 w 79"/>
                <a:gd name="T61" fmla="*/ 2147483647 h 160"/>
                <a:gd name="T62" fmla="*/ 2147483647 w 79"/>
                <a:gd name="T63" fmla="*/ 2147483647 h 160"/>
                <a:gd name="T64" fmla="*/ 2147483647 w 79"/>
                <a:gd name="T65" fmla="*/ 2147483647 h 160"/>
                <a:gd name="T66" fmla="*/ 2147483647 w 79"/>
                <a:gd name="T67" fmla="*/ 2147483647 h 160"/>
                <a:gd name="T68" fmla="*/ 2147483647 w 79"/>
                <a:gd name="T69" fmla="*/ 2147483647 h 160"/>
                <a:gd name="T70" fmla="*/ 2147483647 w 79"/>
                <a:gd name="T71" fmla="*/ 2147483647 h 160"/>
                <a:gd name="T72" fmla="*/ 2147483647 w 79"/>
                <a:gd name="T73" fmla="*/ 2147483647 h 160"/>
                <a:gd name="T74" fmla="*/ 2147483647 w 79"/>
                <a:gd name="T75" fmla="*/ 2147483647 h 160"/>
                <a:gd name="T76" fmla="*/ 0 w 79"/>
                <a:gd name="T77" fmla="*/ 2147483647 h 160"/>
                <a:gd name="T78" fmla="*/ 0 w 79"/>
                <a:gd name="T79" fmla="*/ 2147483647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79"/>
                <a:gd name="T121" fmla="*/ 0 h 160"/>
                <a:gd name="T122" fmla="*/ 79 w 79"/>
                <a:gd name="T123" fmla="*/ 160 h 16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15411" name="Group 19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510338" y="3411538"/>
              <a:ext cx="473075" cy="212725"/>
              <a:chOff x="4488" y="2394"/>
              <a:chExt cx="358" cy="124"/>
            </a:xfrm>
          </p:grpSpPr>
          <p:sp>
            <p:nvSpPr>
              <p:cNvPr id="15987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0 w 512"/>
                  <a:gd name="T1" fmla="*/ 0 h 408"/>
                  <a:gd name="T2" fmla="*/ 0 w 512"/>
                  <a:gd name="T3" fmla="*/ 0 h 408"/>
                  <a:gd name="T4" fmla="*/ 0 w 512"/>
                  <a:gd name="T5" fmla="*/ 0 h 408"/>
                  <a:gd name="T6" fmla="*/ 0 w 512"/>
                  <a:gd name="T7" fmla="*/ 0 h 408"/>
                  <a:gd name="T8" fmla="*/ 0 w 512"/>
                  <a:gd name="T9" fmla="*/ 0 h 408"/>
                  <a:gd name="T10" fmla="*/ 0 w 512"/>
                  <a:gd name="T11" fmla="*/ 0 h 408"/>
                  <a:gd name="T12" fmla="*/ 0 w 512"/>
                  <a:gd name="T13" fmla="*/ 0 h 408"/>
                  <a:gd name="T14" fmla="*/ 0 w 512"/>
                  <a:gd name="T15" fmla="*/ 0 h 408"/>
                  <a:gd name="T16" fmla="*/ 0 w 512"/>
                  <a:gd name="T17" fmla="*/ 0 h 408"/>
                  <a:gd name="T18" fmla="*/ 0 w 512"/>
                  <a:gd name="T19" fmla="*/ 0 h 408"/>
                  <a:gd name="T20" fmla="*/ 0 w 512"/>
                  <a:gd name="T21" fmla="*/ 0 h 408"/>
                  <a:gd name="T22" fmla="*/ 0 w 512"/>
                  <a:gd name="T23" fmla="*/ 0 h 408"/>
                  <a:gd name="T24" fmla="*/ 0 w 512"/>
                  <a:gd name="T25" fmla="*/ 0 h 408"/>
                  <a:gd name="T26" fmla="*/ 0 w 512"/>
                  <a:gd name="T27" fmla="*/ 0 h 408"/>
                  <a:gd name="T28" fmla="*/ 0 w 512"/>
                  <a:gd name="T29" fmla="*/ 0 h 408"/>
                  <a:gd name="T30" fmla="*/ 0 w 512"/>
                  <a:gd name="T31" fmla="*/ 0 h 408"/>
                  <a:gd name="T32" fmla="*/ 0 w 512"/>
                  <a:gd name="T33" fmla="*/ 0 h 408"/>
                  <a:gd name="T34" fmla="*/ 0 w 512"/>
                  <a:gd name="T35" fmla="*/ 0 h 408"/>
                  <a:gd name="T36" fmla="*/ 0 w 512"/>
                  <a:gd name="T37" fmla="*/ 0 h 408"/>
                  <a:gd name="T38" fmla="*/ 0 w 512"/>
                  <a:gd name="T39" fmla="*/ 0 h 408"/>
                  <a:gd name="T40" fmla="*/ 0 w 512"/>
                  <a:gd name="T41" fmla="*/ 0 h 408"/>
                  <a:gd name="T42" fmla="*/ 0 w 512"/>
                  <a:gd name="T43" fmla="*/ 0 h 408"/>
                  <a:gd name="T44" fmla="*/ 0 w 512"/>
                  <a:gd name="T45" fmla="*/ 0 h 408"/>
                  <a:gd name="T46" fmla="*/ 0 w 512"/>
                  <a:gd name="T47" fmla="*/ 0 h 408"/>
                  <a:gd name="T48" fmla="*/ 0 w 512"/>
                  <a:gd name="T49" fmla="*/ 0 h 408"/>
                  <a:gd name="T50" fmla="*/ 0 w 512"/>
                  <a:gd name="T51" fmla="*/ 0 h 408"/>
                  <a:gd name="T52" fmla="*/ 0 w 512"/>
                  <a:gd name="T53" fmla="*/ 0 h 408"/>
                  <a:gd name="T54" fmla="*/ 0 w 512"/>
                  <a:gd name="T55" fmla="*/ 0 h 408"/>
                  <a:gd name="T56" fmla="*/ 0 w 512"/>
                  <a:gd name="T57" fmla="*/ 0 h 408"/>
                  <a:gd name="T58" fmla="*/ 0 w 512"/>
                  <a:gd name="T59" fmla="*/ 0 h 408"/>
                  <a:gd name="T60" fmla="*/ 0 w 512"/>
                  <a:gd name="T61" fmla="*/ 0 h 408"/>
                  <a:gd name="T62" fmla="*/ 0 w 512"/>
                  <a:gd name="T63" fmla="*/ 0 h 408"/>
                  <a:gd name="T64" fmla="*/ 0 w 512"/>
                  <a:gd name="T65" fmla="*/ 0 h 408"/>
                  <a:gd name="T66" fmla="*/ 0 w 512"/>
                  <a:gd name="T67" fmla="*/ 0 h 408"/>
                  <a:gd name="T68" fmla="*/ 0 w 512"/>
                  <a:gd name="T69" fmla="*/ 0 h 408"/>
                  <a:gd name="T70" fmla="*/ 0 w 512"/>
                  <a:gd name="T71" fmla="*/ 0 h 408"/>
                  <a:gd name="T72" fmla="*/ 0 w 512"/>
                  <a:gd name="T73" fmla="*/ 0 h 408"/>
                  <a:gd name="T74" fmla="*/ 0 w 512"/>
                  <a:gd name="T75" fmla="*/ 0 h 408"/>
                  <a:gd name="T76" fmla="*/ 0 w 512"/>
                  <a:gd name="T77" fmla="*/ 0 h 408"/>
                  <a:gd name="T78" fmla="*/ 0 w 512"/>
                  <a:gd name="T79" fmla="*/ 0 h 408"/>
                  <a:gd name="T80" fmla="*/ 0 w 512"/>
                  <a:gd name="T81" fmla="*/ 0 h 408"/>
                  <a:gd name="T82" fmla="*/ 0 w 512"/>
                  <a:gd name="T83" fmla="*/ 0 h 408"/>
                  <a:gd name="T84" fmla="*/ 0 w 512"/>
                  <a:gd name="T85" fmla="*/ 0 h 408"/>
                  <a:gd name="T86" fmla="*/ 0 w 512"/>
                  <a:gd name="T87" fmla="*/ 0 h 408"/>
                  <a:gd name="T88" fmla="*/ 0 w 512"/>
                  <a:gd name="T89" fmla="*/ 0 h 408"/>
                  <a:gd name="T90" fmla="*/ 0 w 512"/>
                  <a:gd name="T91" fmla="*/ 0 h 408"/>
                  <a:gd name="T92" fmla="*/ 0 w 512"/>
                  <a:gd name="T93" fmla="*/ 0 h 408"/>
                  <a:gd name="T94" fmla="*/ 0 w 512"/>
                  <a:gd name="T95" fmla="*/ 0 h 408"/>
                  <a:gd name="T96" fmla="*/ 0 w 512"/>
                  <a:gd name="T97" fmla="*/ 0 h 408"/>
                  <a:gd name="T98" fmla="*/ 0 w 512"/>
                  <a:gd name="T99" fmla="*/ 0 h 408"/>
                  <a:gd name="T100" fmla="*/ 0 w 512"/>
                  <a:gd name="T101" fmla="*/ 0 h 408"/>
                  <a:gd name="T102" fmla="*/ 0 w 512"/>
                  <a:gd name="T103" fmla="*/ 0 h 408"/>
                  <a:gd name="T104" fmla="*/ 0 w 512"/>
                  <a:gd name="T105" fmla="*/ 0 h 408"/>
                  <a:gd name="T106" fmla="*/ 0 w 512"/>
                  <a:gd name="T107" fmla="*/ 0 h 408"/>
                  <a:gd name="T108" fmla="*/ 0 w 512"/>
                  <a:gd name="T109" fmla="*/ 0 h 408"/>
                  <a:gd name="T110" fmla="*/ 0 w 512"/>
                  <a:gd name="T111" fmla="*/ 0 h 408"/>
                  <a:gd name="T112" fmla="*/ 0 w 512"/>
                  <a:gd name="T113" fmla="*/ 0 h 408"/>
                  <a:gd name="T114" fmla="*/ 0 w 512"/>
                  <a:gd name="T115" fmla="*/ 0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512"/>
                  <a:gd name="T175" fmla="*/ 0 h 408"/>
                  <a:gd name="T176" fmla="*/ 512 w 512"/>
                  <a:gd name="T177" fmla="*/ 408 h 408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88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0 w 232"/>
                  <a:gd name="T1" fmla="*/ 0 h 289"/>
                  <a:gd name="T2" fmla="*/ 0 w 232"/>
                  <a:gd name="T3" fmla="*/ 0 h 289"/>
                  <a:gd name="T4" fmla="*/ 0 w 232"/>
                  <a:gd name="T5" fmla="*/ 0 h 289"/>
                  <a:gd name="T6" fmla="*/ 0 w 232"/>
                  <a:gd name="T7" fmla="*/ 0 h 289"/>
                  <a:gd name="T8" fmla="*/ 0 w 232"/>
                  <a:gd name="T9" fmla="*/ 0 h 289"/>
                  <a:gd name="T10" fmla="*/ 0 w 232"/>
                  <a:gd name="T11" fmla="*/ 0 h 289"/>
                  <a:gd name="T12" fmla="*/ 0 w 232"/>
                  <a:gd name="T13" fmla="*/ 0 h 289"/>
                  <a:gd name="T14" fmla="*/ 0 w 232"/>
                  <a:gd name="T15" fmla="*/ 0 h 289"/>
                  <a:gd name="T16" fmla="*/ 0 w 232"/>
                  <a:gd name="T17" fmla="*/ 0 h 289"/>
                  <a:gd name="T18" fmla="*/ 0 w 232"/>
                  <a:gd name="T19" fmla="*/ 0 h 289"/>
                  <a:gd name="T20" fmla="*/ 0 w 232"/>
                  <a:gd name="T21" fmla="*/ 0 h 289"/>
                  <a:gd name="T22" fmla="*/ 0 w 232"/>
                  <a:gd name="T23" fmla="*/ 0 h 289"/>
                  <a:gd name="T24" fmla="*/ 0 w 232"/>
                  <a:gd name="T25" fmla="*/ 0 h 289"/>
                  <a:gd name="T26" fmla="*/ 0 w 232"/>
                  <a:gd name="T27" fmla="*/ 0 h 289"/>
                  <a:gd name="T28" fmla="*/ 0 w 232"/>
                  <a:gd name="T29" fmla="*/ 0 h 289"/>
                  <a:gd name="T30" fmla="*/ 0 w 232"/>
                  <a:gd name="T31" fmla="*/ 0 h 289"/>
                  <a:gd name="T32" fmla="*/ 0 w 232"/>
                  <a:gd name="T33" fmla="*/ 0 h 289"/>
                  <a:gd name="T34" fmla="*/ 0 w 232"/>
                  <a:gd name="T35" fmla="*/ 0 h 289"/>
                  <a:gd name="T36" fmla="*/ 0 w 232"/>
                  <a:gd name="T37" fmla="*/ 0 h 289"/>
                  <a:gd name="T38" fmla="*/ 0 w 232"/>
                  <a:gd name="T39" fmla="*/ 0 h 289"/>
                  <a:gd name="T40" fmla="*/ 0 w 232"/>
                  <a:gd name="T41" fmla="*/ 0 h 289"/>
                  <a:gd name="T42" fmla="*/ 0 w 232"/>
                  <a:gd name="T43" fmla="*/ 0 h 289"/>
                  <a:gd name="T44" fmla="*/ 0 w 232"/>
                  <a:gd name="T45" fmla="*/ 0 h 289"/>
                  <a:gd name="T46" fmla="*/ 0 w 232"/>
                  <a:gd name="T47" fmla="*/ 0 h 289"/>
                  <a:gd name="T48" fmla="*/ 0 w 232"/>
                  <a:gd name="T49" fmla="*/ 0 h 289"/>
                  <a:gd name="T50" fmla="*/ 0 w 232"/>
                  <a:gd name="T51" fmla="*/ 0 h 289"/>
                  <a:gd name="T52" fmla="*/ 0 w 232"/>
                  <a:gd name="T53" fmla="*/ 0 h 289"/>
                  <a:gd name="T54" fmla="*/ 0 w 232"/>
                  <a:gd name="T55" fmla="*/ 0 h 289"/>
                  <a:gd name="T56" fmla="*/ 0 w 232"/>
                  <a:gd name="T57" fmla="*/ 0 h 289"/>
                  <a:gd name="T58" fmla="*/ 0 w 232"/>
                  <a:gd name="T59" fmla="*/ 0 h 289"/>
                  <a:gd name="T60" fmla="*/ 0 w 232"/>
                  <a:gd name="T61" fmla="*/ 0 h 289"/>
                  <a:gd name="T62" fmla="*/ 0 w 232"/>
                  <a:gd name="T63" fmla="*/ 0 h 289"/>
                  <a:gd name="T64" fmla="*/ 0 w 232"/>
                  <a:gd name="T65" fmla="*/ 0 h 289"/>
                  <a:gd name="T66" fmla="*/ 0 w 232"/>
                  <a:gd name="T67" fmla="*/ 0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232"/>
                  <a:gd name="T103" fmla="*/ 0 h 289"/>
                  <a:gd name="T104" fmla="*/ 232 w 232"/>
                  <a:gd name="T105" fmla="*/ 289 h 289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5412" name="Freeform 22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4532313" y="1287463"/>
              <a:ext cx="3065462" cy="1074737"/>
            </a:xfrm>
            <a:custGeom>
              <a:avLst/>
              <a:gdLst>
                <a:gd name="T0" fmla="*/ 2147483647 w 7049"/>
                <a:gd name="T1" fmla="*/ 2147483647 h 2048"/>
                <a:gd name="T2" fmla="*/ 2147483647 w 7049"/>
                <a:gd name="T3" fmla="*/ 2147483647 h 2048"/>
                <a:gd name="T4" fmla="*/ 2147483647 w 7049"/>
                <a:gd name="T5" fmla="*/ 2147483647 h 2048"/>
                <a:gd name="T6" fmla="*/ 2147483647 w 7049"/>
                <a:gd name="T7" fmla="*/ 2147483647 h 2048"/>
                <a:gd name="T8" fmla="*/ 2147483647 w 7049"/>
                <a:gd name="T9" fmla="*/ 2147483647 h 2048"/>
                <a:gd name="T10" fmla="*/ 2147483647 w 7049"/>
                <a:gd name="T11" fmla="*/ 2147483647 h 2048"/>
                <a:gd name="T12" fmla="*/ 2147483647 w 7049"/>
                <a:gd name="T13" fmla="*/ 2147483647 h 2048"/>
                <a:gd name="T14" fmla="*/ 2147483647 w 7049"/>
                <a:gd name="T15" fmla="*/ 2147483647 h 2048"/>
                <a:gd name="T16" fmla="*/ 2147483647 w 7049"/>
                <a:gd name="T17" fmla="*/ 2147483647 h 2048"/>
                <a:gd name="T18" fmla="*/ 2147483647 w 7049"/>
                <a:gd name="T19" fmla="*/ 2147483647 h 2048"/>
                <a:gd name="T20" fmla="*/ 2147483647 w 7049"/>
                <a:gd name="T21" fmla="*/ 2147483647 h 2048"/>
                <a:gd name="T22" fmla="*/ 2147483647 w 7049"/>
                <a:gd name="T23" fmla="*/ 2147483647 h 2048"/>
                <a:gd name="T24" fmla="*/ 2147483647 w 7049"/>
                <a:gd name="T25" fmla="*/ 2147483647 h 2048"/>
                <a:gd name="T26" fmla="*/ 2147483647 w 7049"/>
                <a:gd name="T27" fmla="*/ 2147483647 h 2048"/>
                <a:gd name="T28" fmla="*/ 2147483647 w 7049"/>
                <a:gd name="T29" fmla="*/ 2147483647 h 2048"/>
                <a:gd name="T30" fmla="*/ 2147483647 w 7049"/>
                <a:gd name="T31" fmla="*/ 2147483647 h 2048"/>
                <a:gd name="T32" fmla="*/ 2147483647 w 7049"/>
                <a:gd name="T33" fmla="*/ 2147483647 h 2048"/>
                <a:gd name="T34" fmla="*/ 2147483647 w 7049"/>
                <a:gd name="T35" fmla="*/ 2147483647 h 2048"/>
                <a:gd name="T36" fmla="*/ 2147483647 w 7049"/>
                <a:gd name="T37" fmla="*/ 2147483647 h 2048"/>
                <a:gd name="T38" fmla="*/ 2147483647 w 7049"/>
                <a:gd name="T39" fmla="*/ 2147483647 h 2048"/>
                <a:gd name="T40" fmla="*/ 2147483647 w 7049"/>
                <a:gd name="T41" fmla="*/ 2147483647 h 2048"/>
                <a:gd name="T42" fmla="*/ 2147483647 w 7049"/>
                <a:gd name="T43" fmla="*/ 2147483647 h 2048"/>
                <a:gd name="T44" fmla="*/ 2147483647 w 7049"/>
                <a:gd name="T45" fmla="*/ 2147483647 h 2048"/>
                <a:gd name="T46" fmla="*/ 2147483647 w 7049"/>
                <a:gd name="T47" fmla="*/ 2147483647 h 2048"/>
                <a:gd name="T48" fmla="*/ 2147483647 w 7049"/>
                <a:gd name="T49" fmla="*/ 2147483647 h 2048"/>
                <a:gd name="T50" fmla="*/ 2147483647 w 7049"/>
                <a:gd name="T51" fmla="*/ 2147483647 h 2048"/>
                <a:gd name="T52" fmla="*/ 2147483647 w 7049"/>
                <a:gd name="T53" fmla="*/ 2147483647 h 2048"/>
                <a:gd name="T54" fmla="*/ 2147483647 w 7049"/>
                <a:gd name="T55" fmla="*/ 2147483647 h 2048"/>
                <a:gd name="T56" fmla="*/ 2147483647 w 7049"/>
                <a:gd name="T57" fmla="*/ 2147483647 h 2048"/>
                <a:gd name="T58" fmla="*/ 2147483647 w 7049"/>
                <a:gd name="T59" fmla="*/ 2147483647 h 2048"/>
                <a:gd name="T60" fmla="*/ 2147483647 w 7049"/>
                <a:gd name="T61" fmla="*/ 2147483647 h 2048"/>
                <a:gd name="T62" fmla="*/ 2147483647 w 7049"/>
                <a:gd name="T63" fmla="*/ 2147483647 h 2048"/>
                <a:gd name="T64" fmla="*/ 2147483647 w 7049"/>
                <a:gd name="T65" fmla="*/ 2147483647 h 2048"/>
                <a:gd name="T66" fmla="*/ 2147483647 w 7049"/>
                <a:gd name="T67" fmla="*/ 2147483647 h 2048"/>
                <a:gd name="T68" fmla="*/ 2147483647 w 7049"/>
                <a:gd name="T69" fmla="*/ 2147483647 h 2048"/>
                <a:gd name="T70" fmla="*/ 2147483647 w 7049"/>
                <a:gd name="T71" fmla="*/ 2147483647 h 2048"/>
                <a:gd name="T72" fmla="*/ 2147483647 w 7049"/>
                <a:gd name="T73" fmla="*/ 2147483647 h 2048"/>
                <a:gd name="T74" fmla="*/ 2147483647 w 7049"/>
                <a:gd name="T75" fmla="*/ 2147483647 h 2048"/>
                <a:gd name="T76" fmla="*/ 2147483647 w 7049"/>
                <a:gd name="T77" fmla="*/ 2147483647 h 2048"/>
                <a:gd name="T78" fmla="*/ 2147483647 w 7049"/>
                <a:gd name="T79" fmla="*/ 2147483647 h 2048"/>
                <a:gd name="T80" fmla="*/ 2147483647 w 7049"/>
                <a:gd name="T81" fmla="*/ 2147483647 h 2048"/>
                <a:gd name="T82" fmla="*/ 2147483647 w 7049"/>
                <a:gd name="T83" fmla="*/ 2147483647 h 2048"/>
                <a:gd name="T84" fmla="*/ 2147483647 w 7049"/>
                <a:gd name="T85" fmla="*/ 2147483647 h 2048"/>
                <a:gd name="T86" fmla="*/ 2147483647 w 7049"/>
                <a:gd name="T87" fmla="*/ 2147483647 h 2048"/>
                <a:gd name="T88" fmla="*/ 2147483647 w 7049"/>
                <a:gd name="T89" fmla="*/ 2147483647 h 2048"/>
                <a:gd name="T90" fmla="*/ 2147483647 w 7049"/>
                <a:gd name="T91" fmla="*/ 2147483647 h 2048"/>
                <a:gd name="T92" fmla="*/ 2147483647 w 7049"/>
                <a:gd name="T93" fmla="*/ 2147483647 h 2048"/>
                <a:gd name="T94" fmla="*/ 2147483647 w 7049"/>
                <a:gd name="T95" fmla="*/ 2147483647 h 2048"/>
                <a:gd name="T96" fmla="*/ 2147483647 w 7049"/>
                <a:gd name="T97" fmla="*/ 2147483647 h 2048"/>
                <a:gd name="T98" fmla="*/ 2147483647 w 7049"/>
                <a:gd name="T99" fmla="*/ 2147483647 h 2048"/>
                <a:gd name="T100" fmla="*/ 2147483647 w 7049"/>
                <a:gd name="T101" fmla="*/ 2147483647 h 2048"/>
                <a:gd name="T102" fmla="*/ 2147483647 w 7049"/>
                <a:gd name="T103" fmla="*/ 2147483647 h 2048"/>
                <a:gd name="T104" fmla="*/ 2147483647 w 7049"/>
                <a:gd name="T105" fmla="*/ 2147483647 h 2048"/>
                <a:gd name="T106" fmla="*/ 2147483647 w 7049"/>
                <a:gd name="T107" fmla="*/ 2147483647 h 2048"/>
                <a:gd name="T108" fmla="*/ 2147483647 w 7049"/>
                <a:gd name="T109" fmla="*/ 2147483647 h 2048"/>
                <a:gd name="T110" fmla="*/ 2147483647 w 7049"/>
                <a:gd name="T111" fmla="*/ 2147483647 h 2048"/>
                <a:gd name="T112" fmla="*/ 2147483647 w 7049"/>
                <a:gd name="T113" fmla="*/ 2147483647 h 2048"/>
                <a:gd name="T114" fmla="*/ 2147483647 w 7049"/>
                <a:gd name="T115" fmla="*/ 2147483647 h 2048"/>
                <a:gd name="T116" fmla="*/ 2147483647 w 7049"/>
                <a:gd name="T117" fmla="*/ 2147483647 h 2048"/>
                <a:gd name="T118" fmla="*/ 2147483647 w 7049"/>
                <a:gd name="T119" fmla="*/ 2147483647 h 2048"/>
                <a:gd name="T120" fmla="*/ 2147483647 w 7049"/>
                <a:gd name="T121" fmla="*/ 2147483647 h 2048"/>
                <a:gd name="T122" fmla="*/ 2147483647 w 7049"/>
                <a:gd name="T123" fmla="*/ 2147483647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049"/>
                <a:gd name="T187" fmla="*/ 0 h 2048"/>
                <a:gd name="T188" fmla="*/ 7049 w 7049"/>
                <a:gd name="T189" fmla="*/ 2048 h 204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13" name="Freeform 23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3795713" y="2274888"/>
              <a:ext cx="280987" cy="247650"/>
            </a:xfrm>
            <a:custGeom>
              <a:avLst/>
              <a:gdLst>
                <a:gd name="T0" fmla="*/ 2147483647 w 647"/>
                <a:gd name="T1" fmla="*/ 2147483647 h 470"/>
                <a:gd name="T2" fmla="*/ 2147483647 w 647"/>
                <a:gd name="T3" fmla="*/ 2147483647 h 470"/>
                <a:gd name="T4" fmla="*/ 2147483647 w 647"/>
                <a:gd name="T5" fmla="*/ 2147483647 h 470"/>
                <a:gd name="T6" fmla="*/ 2147483647 w 647"/>
                <a:gd name="T7" fmla="*/ 2147483647 h 470"/>
                <a:gd name="T8" fmla="*/ 2147483647 w 647"/>
                <a:gd name="T9" fmla="*/ 2147483647 h 470"/>
                <a:gd name="T10" fmla="*/ 2147483647 w 647"/>
                <a:gd name="T11" fmla="*/ 2147483647 h 470"/>
                <a:gd name="T12" fmla="*/ 2147483647 w 647"/>
                <a:gd name="T13" fmla="*/ 2147483647 h 470"/>
                <a:gd name="T14" fmla="*/ 2147483647 w 647"/>
                <a:gd name="T15" fmla="*/ 2147483647 h 470"/>
                <a:gd name="T16" fmla="*/ 2147483647 w 647"/>
                <a:gd name="T17" fmla="*/ 2147483647 h 470"/>
                <a:gd name="T18" fmla="*/ 2147483647 w 647"/>
                <a:gd name="T19" fmla="*/ 2147483647 h 470"/>
                <a:gd name="T20" fmla="*/ 2147483647 w 647"/>
                <a:gd name="T21" fmla="*/ 2147483647 h 470"/>
                <a:gd name="T22" fmla="*/ 2147483647 w 647"/>
                <a:gd name="T23" fmla="*/ 2147483647 h 470"/>
                <a:gd name="T24" fmla="*/ 2147483647 w 647"/>
                <a:gd name="T25" fmla="*/ 2147483647 h 470"/>
                <a:gd name="T26" fmla="*/ 2147483647 w 647"/>
                <a:gd name="T27" fmla="*/ 2147483647 h 470"/>
                <a:gd name="T28" fmla="*/ 2147483647 w 647"/>
                <a:gd name="T29" fmla="*/ 2147483647 h 470"/>
                <a:gd name="T30" fmla="*/ 2147483647 w 647"/>
                <a:gd name="T31" fmla="*/ 2147483647 h 470"/>
                <a:gd name="T32" fmla="*/ 2147483647 w 647"/>
                <a:gd name="T33" fmla="*/ 2147483647 h 470"/>
                <a:gd name="T34" fmla="*/ 2147483647 w 647"/>
                <a:gd name="T35" fmla="*/ 2147483647 h 470"/>
                <a:gd name="T36" fmla="*/ 2147483647 w 647"/>
                <a:gd name="T37" fmla="*/ 2147483647 h 470"/>
                <a:gd name="T38" fmla="*/ 2147483647 w 647"/>
                <a:gd name="T39" fmla="*/ 2147483647 h 470"/>
                <a:gd name="T40" fmla="*/ 2147483647 w 647"/>
                <a:gd name="T41" fmla="*/ 2147483647 h 470"/>
                <a:gd name="T42" fmla="*/ 2147483647 w 647"/>
                <a:gd name="T43" fmla="*/ 2147483647 h 470"/>
                <a:gd name="T44" fmla="*/ 2147483647 w 647"/>
                <a:gd name="T45" fmla="*/ 2147483647 h 470"/>
                <a:gd name="T46" fmla="*/ 2147483647 w 647"/>
                <a:gd name="T47" fmla="*/ 2147483647 h 470"/>
                <a:gd name="T48" fmla="*/ 2147483647 w 647"/>
                <a:gd name="T49" fmla="*/ 2147483647 h 470"/>
                <a:gd name="T50" fmla="*/ 2147483647 w 647"/>
                <a:gd name="T51" fmla="*/ 2147483647 h 470"/>
                <a:gd name="T52" fmla="*/ 2147483647 w 647"/>
                <a:gd name="T53" fmla="*/ 2147483647 h 470"/>
                <a:gd name="T54" fmla="*/ 2147483647 w 647"/>
                <a:gd name="T55" fmla="*/ 2147483647 h 470"/>
                <a:gd name="T56" fmla="*/ 2147483647 w 647"/>
                <a:gd name="T57" fmla="*/ 2147483647 h 470"/>
                <a:gd name="T58" fmla="*/ 2147483647 w 647"/>
                <a:gd name="T59" fmla="*/ 2147483647 h 470"/>
                <a:gd name="T60" fmla="*/ 2147483647 w 647"/>
                <a:gd name="T61" fmla="*/ 2147483647 h 470"/>
                <a:gd name="T62" fmla="*/ 2147483647 w 647"/>
                <a:gd name="T63" fmla="*/ 2147483647 h 470"/>
                <a:gd name="T64" fmla="*/ 2147483647 w 647"/>
                <a:gd name="T65" fmla="*/ 2147483647 h 470"/>
                <a:gd name="T66" fmla="*/ 2147483647 w 647"/>
                <a:gd name="T67" fmla="*/ 2147483647 h 470"/>
                <a:gd name="T68" fmla="*/ 2147483647 w 647"/>
                <a:gd name="T69" fmla="*/ 2147483647 h 470"/>
                <a:gd name="T70" fmla="*/ 2147483647 w 647"/>
                <a:gd name="T71" fmla="*/ 2147483647 h 470"/>
                <a:gd name="T72" fmla="*/ 2147483647 w 647"/>
                <a:gd name="T73" fmla="*/ 2147483647 h 470"/>
                <a:gd name="T74" fmla="*/ 2147483647 w 647"/>
                <a:gd name="T75" fmla="*/ 2147483647 h 470"/>
                <a:gd name="T76" fmla="*/ 2147483647 w 647"/>
                <a:gd name="T77" fmla="*/ 2147483647 h 470"/>
                <a:gd name="T78" fmla="*/ 2147483647 w 647"/>
                <a:gd name="T79" fmla="*/ 2147483647 h 470"/>
                <a:gd name="T80" fmla="*/ 2147483647 w 647"/>
                <a:gd name="T81" fmla="*/ 2147483647 h 470"/>
                <a:gd name="T82" fmla="*/ 2147483647 w 647"/>
                <a:gd name="T83" fmla="*/ 2147483647 h 470"/>
                <a:gd name="T84" fmla="*/ 2147483647 w 647"/>
                <a:gd name="T85" fmla="*/ 2147483647 h 470"/>
                <a:gd name="T86" fmla="*/ 2147483647 w 647"/>
                <a:gd name="T87" fmla="*/ 2147483647 h 470"/>
                <a:gd name="T88" fmla="*/ 2147483647 w 647"/>
                <a:gd name="T89" fmla="*/ 2147483647 h 470"/>
                <a:gd name="T90" fmla="*/ 2147483647 w 647"/>
                <a:gd name="T91" fmla="*/ 2147483647 h 470"/>
                <a:gd name="T92" fmla="*/ 0 w 647"/>
                <a:gd name="T93" fmla="*/ 2147483647 h 470"/>
                <a:gd name="T94" fmla="*/ 2147483647 w 647"/>
                <a:gd name="T95" fmla="*/ 2147483647 h 470"/>
                <a:gd name="T96" fmla="*/ 2147483647 w 647"/>
                <a:gd name="T97" fmla="*/ 2147483647 h 470"/>
                <a:gd name="T98" fmla="*/ 2147483647 w 647"/>
                <a:gd name="T99" fmla="*/ 2147483647 h 470"/>
                <a:gd name="T100" fmla="*/ 2147483647 w 647"/>
                <a:gd name="T101" fmla="*/ 0 h 470"/>
                <a:gd name="T102" fmla="*/ 2147483647 w 647"/>
                <a:gd name="T103" fmla="*/ 2147483647 h 470"/>
                <a:gd name="T104" fmla="*/ 2147483647 w 647"/>
                <a:gd name="T105" fmla="*/ 2147483647 h 470"/>
                <a:gd name="T106" fmla="*/ 2147483647 w 647"/>
                <a:gd name="T107" fmla="*/ 2147483647 h 470"/>
                <a:gd name="T108" fmla="*/ 2147483647 w 647"/>
                <a:gd name="T109" fmla="*/ 2147483647 h 470"/>
                <a:gd name="T110" fmla="*/ 2147483647 w 647"/>
                <a:gd name="T111" fmla="*/ 2147483647 h 470"/>
                <a:gd name="T112" fmla="*/ 2147483647 w 647"/>
                <a:gd name="T113" fmla="*/ 2147483647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647"/>
                <a:gd name="T172" fmla="*/ 0 h 470"/>
                <a:gd name="T173" fmla="*/ 647 w 647"/>
                <a:gd name="T174" fmla="*/ 470 h 47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14" name="Freeform 24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6427788" y="3013075"/>
              <a:ext cx="207962" cy="455613"/>
            </a:xfrm>
            <a:custGeom>
              <a:avLst/>
              <a:gdLst>
                <a:gd name="T0" fmla="*/ 2147483647 w 479"/>
                <a:gd name="T1" fmla="*/ 2147483647 h 868"/>
                <a:gd name="T2" fmla="*/ 2147483647 w 479"/>
                <a:gd name="T3" fmla="*/ 2147483647 h 868"/>
                <a:gd name="T4" fmla="*/ 2147483647 w 479"/>
                <a:gd name="T5" fmla="*/ 2147483647 h 868"/>
                <a:gd name="T6" fmla="*/ 2147483647 w 479"/>
                <a:gd name="T7" fmla="*/ 2147483647 h 868"/>
                <a:gd name="T8" fmla="*/ 2147483647 w 479"/>
                <a:gd name="T9" fmla="*/ 2147483647 h 868"/>
                <a:gd name="T10" fmla="*/ 2147483647 w 479"/>
                <a:gd name="T11" fmla="*/ 2147483647 h 868"/>
                <a:gd name="T12" fmla="*/ 2147483647 w 479"/>
                <a:gd name="T13" fmla="*/ 2147483647 h 868"/>
                <a:gd name="T14" fmla="*/ 2147483647 w 479"/>
                <a:gd name="T15" fmla="*/ 2147483647 h 868"/>
                <a:gd name="T16" fmla="*/ 2147483647 w 479"/>
                <a:gd name="T17" fmla="*/ 2147483647 h 868"/>
                <a:gd name="T18" fmla="*/ 2147483647 w 479"/>
                <a:gd name="T19" fmla="*/ 2147483647 h 868"/>
                <a:gd name="T20" fmla="*/ 2147483647 w 479"/>
                <a:gd name="T21" fmla="*/ 2147483647 h 868"/>
                <a:gd name="T22" fmla="*/ 2147483647 w 479"/>
                <a:gd name="T23" fmla="*/ 2147483647 h 868"/>
                <a:gd name="T24" fmla="*/ 2147483647 w 479"/>
                <a:gd name="T25" fmla="*/ 2147483647 h 868"/>
                <a:gd name="T26" fmla="*/ 2147483647 w 479"/>
                <a:gd name="T27" fmla="*/ 2147483647 h 868"/>
                <a:gd name="T28" fmla="*/ 2147483647 w 479"/>
                <a:gd name="T29" fmla="*/ 2147483647 h 868"/>
                <a:gd name="T30" fmla="*/ 2147483647 w 479"/>
                <a:gd name="T31" fmla="*/ 2147483647 h 868"/>
                <a:gd name="T32" fmla="*/ 2147483647 w 479"/>
                <a:gd name="T33" fmla="*/ 2147483647 h 868"/>
                <a:gd name="T34" fmla="*/ 2147483647 w 479"/>
                <a:gd name="T35" fmla="*/ 2147483647 h 868"/>
                <a:gd name="T36" fmla="*/ 2147483647 w 479"/>
                <a:gd name="T37" fmla="*/ 2147483647 h 868"/>
                <a:gd name="T38" fmla="*/ 2147483647 w 479"/>
                <a:gd name="T39" fmla="*/ 2147483647 h 868"/>
                <a:gd name="T40" fmla="*/ 2147483647 w 479"/>
                <a:gd name="T41" fmla="*/ 2147483647 h 868"/>
                <a:gd name="T42" fmla="*/ 2147483647 w 479"/>
                <a:gd name="T43" fmla="*/ 2147483647 h 868"/>
                <a:gd name="T44" fmla="*/ 2147483647 w 479"/>
                <a:gd name="T45" fmla="*/ 2147483647 h 868"/>
                <a:gd name="T46" fmla="*/ 2147483647 w 479"/>
                <a:gd name="T47" fmla="*/ 2147483647 h 868"/>
                <a:gd name="T48" fmla="*/ 2147483647 w 479"/>
                <a:gd name="T49" fmla="*/ 2147483647 h 868"/>
                <a:gd name="T50" fmla="*/ 2147483647 w 479"/>
                <a:gd name="T51" fmla="*/ 2147483647 h 868"/>
                <a:gd name="T52" fmla="*/ 2147483647 w 479"/>
                <a:gd name="T53" fmla="*/ 2147483647 h 868"/>
                <a:gd name="T54" fmla="*/ 2147483647 w 479"/>
                <a:gd name="T55" fmla="*/ 2147483647 h 868"/>
                <a:gd name="T56" fmla="*/ 2147483647 w 479"/>
                <a:gd name="T57" fmla="*/ 2147483647 h 868"/>
                <a:gd name="T58" fmla="*/ 2147483647 w 479"/>
                <a:gd name="T59" fmla="*/ 2147483647 h 868"/>
                <a:gd name="T60" fmla="*/ 2147483647 w 479"/>
                <a:gd name="T61" fmla="*/ 2147483647 h 868"/>
                <a:gd name="T62" fmla="*/ 2147483647 w 479"/>
                <a:gd name="T63" fmla="*/ 2147483647 h 868"/>
                <a:gd name="T64" fmla="*/ 2147483647 w 479"/>
                <a:gd name="T65" fmla="*/ 2147483647 h 868"/>
                <a:gd name="T66" fmla="*/ 2147483647 w 479"/>
                <a:gd name="T67" fmla="*/ 2147483647 h 868"/>
                <a:gd name="T68" fmla="*/ 2147483647 w 479"/>
                <a:gd name="T69" fmla="*/ 2147483647 h 868"/>
                <a:gd name="T70" fmla="*/ 2147483647 w 479"/>
                <a:gd name="T71" fmla="*/ 2147483647 h 868"/>
                <a:gd name="T72" fmla="*/ 2147483647 w 479"/>
                <a:gd name="T73" fmla="*/ 2147483647 h 868"/>
                <a:gd name="T74" fmla="*/ 2147483647 w 479"/>
                <a:gd name="T75" fmla="*/ 2147483647 h 868"/>
                <a:gd name="T76" fmla="*/ 2147483647 w 479"/>
                <a:gd name="T77" fmla="*/ 2147483647 h 868"/>
                <a:gd name="T78" fmla="*/ 2147483647 w 479"/>
                <a:gd name="T79" fmla="*/ 2147483647 h 868"/>
                <a:gd name="T80" fmla="*/ 2147483647 w 479"/>
                <a:gd name="T81" fmla="*/ 2147483647 h 868"/>
                <a:gd name="T82" fmla="*/ 2147483647 w 479"/>
                <a:gd name="T83" fmla="*/ 0 h 868"/>
                <a:gd name="T84" fmla="*/ 2147483647 w 479"/>
                <a:gd name="T85" fmla="*/ 2147483647 h 868"/>
                <a:gd name="T86" fmla="*/ 2147483647 w 479"/>
                <a:gd name="T87" fmla="*/ 2147483647 h 868"/>
                <a:gd name="T88" fmla="*/ 2147483647 w 479"/>
                <a:gd name="T89" fmla="*/ 2147483647 h 868"/>
                <a:gd name="T90" fmla="*/ 2147483647 w 479"/>
                <a:gd name="T91" fmla="*/ 2147483647 h 868"/>
                <a:gd name="T92" fmla="*/ 2147483647 w 479"/>
                <a:gd name="T93" fmla="*/ 2147483647 h 868"/>
                <a:gd name="T94" fmla="*/ 2147483647 w 479"/>
                <a:gd name="T95" fmla="*/ 2147483647 h 868"/>
                <a:gd name="T96" fmla="*/ 2147483647 w 479"/>
                <a:gd name="T97" fmla="*/ 2147483647 h 868"/>
                <a:gd name="T98" fmla="*/ 2147483647 w 479"/>
                <a:gd name="T99" fmla="*/ 2147483647 h 868"/>
                <a:gd name="T100" fmla="*/ 2147483647 w 479"/>
                <a:gd name="T101" fmla="*/ 2147483647 h 868"/>
                <a:gd name="T102" fmla="*/ 2147483647 w 479"/>
                <a:gd name="T103" fmla="*/ 2147483647 h 868"/>
                <a:gd name="T104" fmla="*/ 2147483647 w 479"/>
                <a:gd name="T105" fmla="*/ 2147483647 h 868"/>
                <a:gd name="T106" fmla="*/ 2147483647 w 479"/>
                <a:gd name="T107" fmla="*/ 2147483647 h 868"/>
                <a:gd name="T108" fmla="*/ 2147483647 w 479"/>
                <a:gd name="T109" fmla="*/ 2147483647 h 868"/>
                <a:gd name="T110" fmla="*/ 2147483647 w 479"/>
                <a:gd name="T111" fmla="*/ 2147483647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79"/>
                <a:gd name="T169" fmla="*/ 0 h 868"/>
                <a:gd name="T170" fmla="*/ 479 w 479"/>
                <a:gd name="T171" fmla="*/ 868 h 86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15" name="Freeform 25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2536825" y="5400675"/>
              <a:ext cx="23813" cy="57150"/>
            </a:xfrm>
            <a:custGeom>
              <a:avLst/>
              <a:gdLst>
                <a:gd name="T0" fmla="*/ 0 w 53"/>
                <a:gd name="T1" fmla="*/ 2147483647 h 19"/>
                <a:gd name="T2" fmla="*/ 2147483647 w 53"/>
                <a:gd name="T3" fmla="*/ 2147483647 h 19"/>
                <a:gd name="T4" fmla="*/ 2147483647 w 53"/>
                <a:gd name="T5" fmla="*/ 2147483647 h 19"/>
                <a:gd name="T6" fmla="*/ 2147483647 w 53"/>
                <a:gd name="T7" fmla="*/ 2147483647 h 19"/>
                <a:gd name="T8" fmla="*/ 2147483647 w 53"/>
                <a:gd name="T9" fmla="*/ 2147483647 h 19"/>
                <a:gd name="T10" fmla="*/ 2147483647 w 53"/>
                <a:gd name="T11" fmla="*/ 2147483647 h 19"/>
                <a:gd name="T12" fmla="*/ 2147483647 w 53"/>
                <a:gd name="T13" fmla="*/ 2147483647 h 19"/>
                <a:gd name="T14" fmla="*/ 2147483647 w 53"/>
                <a:gd name="T15" fmla="*/ 2147483647 h 19"/>
                <a:gd name="T16" fmla="*/ 2147483647 w 53"/>
                <a:gd name="T17" fmla="*/ 2147483647 h 19"/>
                <a:gd name="T18" fmla="*/ 2147483647 w 53"/>
                <a:gd name="T19" fmla="*/ 2147483647 h 19"/>
                <a:gd name="T20" fmla="*/ 2147483647 w 53"/>
                <a:gd name="T21" fmla="*/ 2147483647 h 19"/>
                <a:gd name="T22" fmla="*/ 2147483647 w 53"/>
                <a:gd name="T23" fmla="*/ 2147483647 h 19"/>
                <a:gd name="T24" fmla="*/ 2147483647 w 53"/>
                <a:gd name="T25" fmla="*/ 0 h 19"/>
                <a:gd name="T26" fmla="*/ 2147483647 w 53"/>
                <a:gd name="T27" fmla="*/ 0 h 19"/>
                <a:gd name="T28" fmla="*/ 2147483647 w 53"/>
                <a:gd name="T29" fmla="*/ 2147483647 h 19"/>
                <a:gd name="T30" fmla="*/ 2147483647 w 53"/>
                <a:gd name="T31" fmla="*/ 2147483647 h 19"/>
                <a:gd name="T32" fmla="*/ 0 w 53"/>
                <a:gd name="T33" fmla="*/ 2147483647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3"/>
                <a:gd name="T52" fmla="*/ 0 h 19"/>
                <a:gd name="T53" fmla="*/ 53 w 53"/>
                <a:gd name="T54" fmla="*/ 19 h 1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16" name="Line 26" descr="Horizontal dunkel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998538" y="2322513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417" name="Freeform 27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1001713" y="2319338"/>
              <a:ext cx="3175" cy="55562"/>
            </a:xfrm>
            <a:custGeom>
              <a:avLst/>
              <a:gdLst>
                <a:gd name="T0" fmla="*/ 0 w 6"/>
                <a:gd name="T1" fmla="*/ 2147483647 h 24"/>
                <a:gd name="T2" fmla="*/ 0 w 6"/>
                <a:gd name="T3" fmla="*/ 2147483647 h 24"/>
                <a:gd name="T4" fmla="*/ 2147483647 w 6"/>
                <a:gd name="T5" fmla="*/ 2147483647 h 24"/>
                <a:gd name="T6" fmla="*/ 2147483647 w 6"/>
                <a:gd name="T7" fmla="*/ 2147483647 h 24"/>
                <a:gd name="T8" fmla="*/ 2147483647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4"/>
                <a:gd name="T17" fmla="*/ 6 w 6"/>
                <a:gd name="T18" fmla="*/ 24 h 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18" name="Freeform 28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977900" y="2373313"/>
              <a:ext cx="23813" cy="57150"/>
            </a:xfrm>
            <a:custGeom>
              <a:avLst/>
              <a:gdLst>
                <a:gd name="T0" fmla="*/ 0 w 47"/>
                <a:gd name="T1" fmla="*/ 2147483647 h 67"/>
                <a:gd name="T2" fmla="*/ 0 w 47"/>
                <a:gd name="T3" fmla="*/ 2147483647 h 67"/>
                <a:gd name="T4" fmla="*/ 2147483647 w 47"/>
                <a:gd name="T5" fmla="*/ 2147483647 h 67"/>
                <a:gd name="T6" fmla="*/ 2147483647 w 47"/>
                <a:gd name="T7" fmla="*/ 2147483647 h 67"/>
                <a:gd name="T8" fmla="*/ 2147483647 w 47"/>
                <a:gd name="T9" fmla="*/ 2147483647 h 67"/>
                <a:gd name="T10" fmla="*/ 2147483647 w 47"/>
                <a:gd name="T11" fmla="*/ 2147483647 h 67"/>
                <a:gd name="T12" fmla="*/ 2147483647 w 47"/>
                <a:gd name="T13" fmla="*/ 2147483647 h 67"/>
                <a:gd name="T14" fmla="*/ 2147483647 w 47"/>
                <a:gd name="T15" fmla="*/ 2147483647 h 67"/>
                <a:gd name="T16" fmla="*/ 2147483647 w 47"/>
                <a:gd name="T17" fmla="*/ 0 h 67"/>
                <a:gd name="T18" fmla="*/ 2147483647 w 47"/>
                <a:gd name="T19" fmla="*/ 2147483647 h 67"/>
                <a:gd name="T20" fmla="*/ 2147483647 w 47"/>
                <a:gd name="T21" fmla="*/ 2147483647 h 67"/>
                <a:gd name="T22" fmla="*/ 2147483647 w 47"/>
                <a:gd name="T23" fmla="*/ 2147483647 h 67"/>
                <a:gd name="T24" fmla="*/ 2147483647 w 47"/>
                <a:gd name="T25" fmla="*/ 2147483647 h 67"/>
                <a:gd name="T26" fmla="*/ 2147483647 w 47"/>
                <a:gd name="T27" fmla="*/ 2147483647 h 67"/>
                <a:gd name="T28" fmla="*/ 2147483647 w 47"/>
                <a:gd name="T29" fmla="*/ 2147483647 h 67"/>
                <a:gd name="T30" fmla="*/ 0 w 47"/>
                <a:gd name="T31" fmla="*/ 2147483647 h 67"/>
                <a:gd name="T32" fmla="*/ 0 w 47"/>
                <a:gd name="T33" fmla="*/ 2147483647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7"/>
                <a:gd name="T52" fmla="*/ 0 h 67"/>
                <a:gd name="T53" fmla="*/ 47 w 47"/>
                <a:gd name="T54" fmla="*/ 67 h 6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19" name="Freeform 29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2303463" y="2368550"/>
              <a:ext cx="49212" cy="57150"/>
            </a:xfrm>
            <a:custGeom>
              <a:avLst/>
              <a:gdLst>
                <a:gd name="T0" fmla="*/ 0 w 112"/>
                <a:gd name="T1" fmla="*/ 2147483647 h 36"/>
                <a:gd name="T2" fmla="*/ 2147483647 w 112"/>
                <a:gd name="T3" fmla="*/ 2147483647 h 36"/>
                <a:gd name="T4" fmla="*/ 2147483647 w 112"/>
                <a:gd name="T5" fmla="*/ 2147483647 h 36"/>
                <a:gd name="T6" fmla="*/ 2147483647 w 112"/>
                <a:gd name="T7" fmla="*/ 2147483647 h 36"/>
                <a:gd name="T8" fmla="*/ 2147483647 w 112"/>
                <a:gd name="T9" fmla="*/ 2147483647 h 36"/>
                <a:gd name="T10" fmla="*/ 2147483647 w 112"/>
                <a:gd name="T11" fmla="*/ 2147483647 h 36"/>
                <a:gd name="T12" fmla="*/ 2147483647 w 112"/>
                <a:gd name="T13" fmla="*/ 2147483647 h 36"/>
                <a:gd name="T14" fmla="*/ 2147483647 w 112"/>
                <a:gd name="T15" fmla="*/ 2147483647 h 36"/>
                <a:gd name="T16" fmla="*/ 2147483647 w 112"/>
                <a:gd name="T17" fmla="*/ 2147483647 h 36"/>
                <a:gd name="T18" fmla="*/ 2147483647 w 112"/>
                <a:gd name="T19" fmla="*/ 2147483647 h 36"/>
                <a:gd name="T20" fmla="*/ 2147483647 w 112"/>
                <a:gd name="T21" fmla="*/ 2147483647 h 36"/>
                <a:gd name="T22" fmla="*/ 2147483647 w 112"/>
                <a:gd name="T23" fmla="*/ 0 h 36"/>
                <a:gd name="T24" fmla="*/ 2147483647 w 112"/>
                <a:gd name="T25" fmla="*/ 0 h 36"/>
                <a:gd name="T26" fmla="*/ 2147483647 w 112"/>
                <a:gd name="T27" fmla="*/ 2147483647 h 36"/>
                <a:gd name="T28" fmla="*/ 2147483647 w 112"/>
                <a:gd name="T29" fmla="*/ 2147483647 h 36"/>
                <a:gd name="T30" fmla="*/ 2147483647 w 112"/>
                <a:gd name="T31" fmla="*/ 2147483647 h 36"/>
                <a:gd name="T32" fmla="*/ 2147483647 w 112"/>
                <a:gd name="T33" fmla="*/ 2147483647 h 36"/>
                <a:gd name="T34" fmla="*/ 2147483647 w 112"/>
                <a:gd name="T35" fmla="*/ 2147483647 h 36"/>
                <a:gd name="T36" fmla="*/ 2147483647 w 112"/>
                <a:gd name="T37" fmla="*/ 2147483647 h 36"/>
                <a:gd name="T38" fmla="*/ 2147483647 w 112"/>
                <a:gd name="T39" fmla="*/ 2147483647 h 36"/>
                <a:gd name="T40" fmla="*/ 2147483647 w 112"/>
                <a:gd name="T41" fmla="*/ 2147483647 h 36"/>
                <a:gd name="T42" fmla="*/ 2147483647 w 112"/>
                <a:gd name="T43" fmla="*/ 2147483647 h 36"/>
                <a:gd name="T44" fmla="*/ 2147483647 w 112"/>
                <a:gd name="T45" fmla="*/ 2147483647 h 36"/>
                <a:gd name="T46" fmla="*/ 0 w 112"/>
                <a:gd name="T47" fmla="*/ 2147483647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12"/>
                <a:gd name="T73" fmla="*/ 0 h 36"/>
                <a:gd name="T74" fmla="*/ 112 w 112"/>
                <a:gd name="T75" fmla="*/ 36 h 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20" name="Freeform 30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5041900" y="1925638"/>
              <a:ext cx="874713" cy="452437"/>
            </a:xfrm>
            <a:custGeom>
              <a:avLst/>
              <a:gdLst>
                <a:gd name="T0" fmla="*/ 2147483647 w 2006"/>
                <a:gd name="T1" fmla="*/ 2147483647 h 863"/>
                <a:gd name="T2" fmla="*/ 2147483647 w 2006"/>
                <a:gd name="T3" fmla="*/ 2147483647 h 863"/>
                <a:gd name="T4" fmla="*/ 2147483647 w 2006"/>
                <a:gd name="T5" fmla="*/ 2147483647 h 863"/>
                <a:gd name="T6" fmla="*/ 2147483647 w 2006"/>
                <a:gd name="T7" fmla="*/ 2147483647 h 863"/>
                <a:gd name="T8" fmla="*/ 2147483647 w 2006"/>
                <a:gd name="T9" fmla="*/ 2147483647 h 863"/>
                <a:gd name="T10" fmla="*/ 2147483647 w 2006"/>
                <a:gd name="T11" fmla="*/ 2147483647 h 863"/>
                <a:gd name="T12" fmla="*/ 2147483647 w 2006"/>
                <a:gd name="T13" fmla="*/ 2147483647 h 863"/>
                <a:gd name="T14" fmla="*/ 2147483647 w 2006"/>
                <a:gd name="T15" fmla="*/ 2147483647 h 863"/>
                <a:gd name="T16" fmla="*/ 2147483647 w 2006"/>
                <a:gd name="T17" fmla="*/ 2147483647 h 863"/>
                <a:gd name="T18" fmla="*/ 2147483647 w 2006"/>
                <a:gd name="T19" fmla="*/ 2147483647 h 863"/>
                <a:gd name="T20" fmla="*/ 2147483647 w 2006"/>
                <a:gd name="T21" fmla="*/ 2147483647 h 863"/>
                <a:gd name="T22" fmla="*/ 2147483647 w 2006"/>
                <a:gd name="T23" fmla="*/ 2147483647 h 863"/>
                <a:gd name="T24" fmla="*/ 2147483647 w 2006"/>
                <a:gd name="T25" fmla="*/ 2147483647 h 863"/>
                <a:gd name="T26" fmla="*/ 2147483647 w 2006"/>
                <a:gd name="T27" fmla="*/ 2147483647 h 863"/>
                <a:gd name="T28" fmla="*/ 2147483647 w 2006"/>
                <a:gd name="T29" fmla="*/ 2147483647 h 863"/>
                <a:gd name="T30" fmla="*/ 2147483647 w 2006"/>
                <a:gd name="T31" fmla="*/ 2147483647 h 863"/>
                <a:gd name="T32" fmla="*/ 2147483647 w 2006"/>
                <a:gd name="T33" fmla="*/ 2147483647 h 863"/>
                <a:gd name="T34" fmla="*/ 2147483647 w 2006"/>
                <a:gd name="T35" fmla="*/ 2147483647 h 863"/>
                <a:gd name="T36" fmla="*/ 2147483647 w 2006"/>
                <a:gd name="T37" fmla="*/ 2147483647 h 863"/>
                <a:gd name="T38" fmla="*/ 2147483647 w 2006"/>
                <a:gd name="T39" fmla="*/ 2147483647 h 863"/>
                <a:gd name="T40" fmla="*/ 2147483647 w 2006"/>
                <a:gd name="T41" fmla="*/ 2147483647 h 863"/>
                <a:gd name="T42" fmla="*/ 2147483647 w 2006"/>
                <a:gd name="T43" fmla="*/ 2147483647 h 863"/>
                <a:gd name="T44" fmla="*/ 2147483647 w 2006"/>
                <a:gd name="T45" fmla="*/ 2147483647 h 863"/>
                <a:gd name="T46" fmla="*/ 2147483647 w 2006"/>
                <a:gd name="T47" fmla="*/ 2147483647 h 863"/>
                <a:gd name="T48" fmla="*/ 2147483647 w 2006"/>
                <a:gd name="T49" fmla="*/ 2147483647 h 863"/>
                <a:gd name="T50" fmla="*/ 2147483647 w 2006"/>
                <a:gd name="T51" fmla="*/ 2147483647 h 863"/>
                <a:gd name="T52" fmla="*/ 2147483647 w 2006"/>
                <a:gd name="T53" fmla="*/ 2147483647 h 863"/>
                <a:gd name="T54" fmla="*/ 2147483647 w 2006"/>
                <a:gd name="T55" fmla="*/ 2147483647 h 863"/>
                <a:gd name="T56" fmla="*/ 2147483647 w 2006"/>
                <a:gd name="T57" fmla="*/ 2147483647 h 863"/>
                <a:gd name="T58" fmla="*/ 2147483647 w 2006"/>
                <a:gd name="T59" fmla="*/ 2147483647 h 863"/>
                <a:gd name="T60" fmla="*/ 2147483647 w 2006"/>
                <a:gd name="T61" fmla="*/ 2147483647 h 863"/>
                <a:gd name="T62" fmla="*/ 2147483647 w 2006"/>
                <a:gd name="T63" fmla="*/ 2147483647 h 863"/>
                <a:gd name="T64" fmla="*/ 2147483647 w 2006"/>
                <a:gd name="T65" fmla="*/ 2147483647 h 863"/>
                <a:gd name="T66" fmla="*/ 2147483647 w 2006"/>
                <a:gd name="T67" fmla="*/ 2147483647 h 863"/>
                <a:gd name="T68" fmla="*/ 2147483647 w 2006"/>
                <a:gd name="T69" fmla="*/ 2147483647 h 863"/>
                <a:gd name="T70" fmla="*/ 2147483647 w 2006"/>
                <a:gd name="T71" fmla="*/ 2147483647 h 863"/>
                <a:gd name="T72" fmla="*/ 2147483647 w 2006"/>
                <a:gd name="T73" fmla="*/ 2147483647 h 863"/>
                <a:gd name="T74" fmla="*/ 2147483647 w 2006"/>
                <a:gd name="T75" fmla="*/ 2147483647 h 863"/>
                <a:gd name="T76" fmla="*/ 2147483647 w 2006"/>
                <a:gd name="T77" fmla="*/ 2147483647 h 863"/>
                <a:gd name="T78" fmla="*/ 2147483647 w 2006"/>
                <a:gd name="T79" fmla="*/ 2147483647 h 863"/>
                <a:gd name="T80" fmla="*/ 2147483647 w 2006"/>
                <a:gd name="T81" fmla="*/ 2147483647 h 863"/>
                <a:gd name="T82" fmla="*/ 2147483647 w 2006"/>
                <a:gd name="T83" fmla="*/ 2147483647 h 863"/>
                <a:gd name="T84" fmla="*/ 2147483647 w 2006"/>
                <a:gd name="T85" fmla="*/ 2147483647 h 863"/>
                <a:gd name="T86" fmla="*/ 2147483647 w 2006"/>
                <a:gd name="T87" fmla="*/ 2147483647 h 863"/>
                <a:gd name="T88" fmla="*/ 2147483647 w 2006"/>
                <a:gd name="T89" fmla="*/ 2147483647 h 863"/>
                <a:gd name="T90" fmla="*/ 2147483647 w 2006"/>
                <a:gd name="T91" fmla="*/ 2147483647 h 863"/>
                <a:gd name="T92" fmla="*/ 2147483647 w 2006"/>
                <a:gd name="T93" fmla="*/ 2147483647 h 863"/>
                <a:gd name="T94" fmla="*/ 2147483647 w 2006"/>
                <a:gd name="T95" fmla="*/ 2147483647 h 863"/>
                <a:gd name="T96" fmla="*/ 2147483647 w 2006"/>
                <a:gd name="T97" fmla="*/ 2147483647 h 863"/>
                <a:gd name="T98" fmla="*/ 2147483647 w 2006"/>
                <a:gd name="T99" fmla="*/ 2147483647 h 863"/>
                <a:gd name="T100" fmla="*/ 2147483647 w 2006"/>
                <a:gd name="T101" fmla="*/ 2147483647 h 863"/>
                <a:gd name="T102" fmla="*/ 2147483647 w 2006"/>
                <a:gd name="T103" fmla="*/ 2147483647 h 863"/>
                <a:gd name="T104" fmla="*/ 2147483647 w 2006"/>
                <a:gd name="T105" fmla="*/ 2147483647 h 863"/>
                <a:gd name="T106" fmla="*/ 2147483647 w 2006"/>
                <a:gd name="T107" fmla="*/ 2147483647 h 863"/>
                <a:gd name="T108" fmla="*/ 2147483647 w 2006"/>
                <a:gd name="T109" fmla="*/ 2147483647 h 863"/>
                <a:gd name="T110" fmla="*/ 2147483647 w 2006"/>
                <a:gd name="T111" fmla="*/ 2147483647 h 863"/>
                <a:gd name="T112" fmla="*/ 2147483647 w 2006"/>
                <a:gd name="T113" fmla="*/ 2147483647 h 863"/>
                <a:gd name="T114" fmla="*/ 2147483647 w 2006"/>
                <a:gd name="T115" fmla="*/ 2147483647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006"/>
                <a:gd name="T175" fmla="*/ 0 h 863"/>
                <a:gd name="T176" fmla="*/ 2006 w 2006"/>
                <a:gd name="T177" fmla="*/ 863 h 863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21" name="Freeform 31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5272088" y="2228850"/>
              <a:ext cx="409575" cy="249238"/>
            </a:xfrm>
            <a:custGeom>
              <a:avLst/>
              <a:gdLst>
                <a:gd name="T0" fmla="*/ 2147483647 w 950"/>
                <a:gd name="T1" fmla="*/ 2147483647 h 468"/>
                <a:gd name="T2" fmla="*/ 2147483647 w 950"/>
                <a:gd name="T3" fmla="*/ 2147483647 h 468"/>
                <a:gd name="T4" fmla="*/ 2147483647 w 950"/>
                <a:gd name="T5" fmla="*/ 2147483647 h 468"/>
                <a:gd name="T6" fmla="*/ 2147483647 w 950"/>
                <a:gd name="T7" fmla="*/ 2147483647 h 468"/>
                <a:gd name="T8" fmla="*/ 2147483647 w 950"/>
                <a:gd name="T9" fmla="*/ 2147483647 h 468"/>
                <a:gd name="T10" fmla="*/ 2147483647 w 950"/>
                <a:gd name="T11" fmla="*/ 2147483647 h 468"/>
                <a:gd name="T12" fmla="*/ 2147483647 w 950"/>
                <a:gd name="T13" fmla="*/ 2147483647 h 468"/>
                <a:gd name="T14" fmla="*/ 2147483647 w 950"/>
                <a:gd name="T15" fmla="*/ 2147483647 h 468"/>
                <a:gd name="T16" fmla="*/ 2147483647 w 950"/>
                <a:gd name="T17" fmla="*/ 2147483647 h 468"/>
                <a:gd name="T18" fmla="*/ 2147483647 w 950"/>
                <a:gd name="T19" fmla="*/ 2147483647 h 468"/>
                <a:gd name="T20" fmla="*/ 0 w 950"/>
                <a:gd name="T21" fmla="*/ 2147483647 h 468"/>
                <a:gd name="T22" fmla="*/ 2147483647 w 950"/>
                <a:gd name="T23" fmla="*/ 2147483647 h 468"/>
                <a:gd name="T24" fmla="*/ 2147483647 w 950"/>
                <a:gd name="T25" fmla="*/ 2147483647 h 468"/>
                <a:gd name="T26" fmla="*/ 2147483647 w 950"/>
                <a:gd name="T27" fmla="*/ 2147483647 h 468"/>
                <a:gd name="T28" fmla="*/ 2147483647 w 950"/>
                <a:gd name="T29" fmla="*/ 2147483647 h 468"/>
                <a:gd name="T30" fmla="*/ 2147483647 w 950"/>
                <a:gd name="T31" fmla="*/ 2147483647 h 468"/>
                <a:gd name="T32" fmla="*/ 2147483647 w 950"/>
                <a:gd name="T33" fmla="*/ 2147483647 h 468"/>
                <a:gd name="T34" fmla="*/ 2147483647 w 950"/>
                <a:gd name="T35" fmla="*/ 2147483647 h 468"/>
                <a:gd name="T36" fmla="*/ 2147483647 w 950"/>
                <a:gd name="T37" fmla="*/ 2147483647 h 468"/>
                <a:gd name="T38" fmla="*/ 2147483647 w 950"/>
                <a:gd name="T39" fmla="*/ 2147483647 h 468"/>
                <a:gd name="T40" fmla="*/ 2147483647 w 950"/>
                <a:gd name="T41" fmla="*/ 2147483647 h 468"/>
                <a:gd name="T42" fmla="*/ 2147483647 w 950"/>
                <a:gd name="T43" fmla="*/ 2147483647 h 468"/>
                <a:gd name="T44" fmla="*/ 2147483647 w 950"/>
                <a:gd name="T45" fmla="*/ 2147483647 h 468"/>
                <a:gd name="T46" fmla="*/ 2147483647 w 950"/>
                <a:gd name="T47" fmla="*/ 2147483647 h 468"/>
                <a:gd name="T48" fmla="*/ 2147483647 w 950"/>
                <a:gd name="T49" fmla="*/ 2147483647 h 468"/>
                <a:gd name="T50" fmla="*/ 2147483647 w 950"/>
                <a:gd name="T51" fmla="*/ 2147483647 h 468"/>
                <a:gd name="T52" fmla="*/ 2147483647 w 950"/>
                <a:gd name="T53" fmla="*/ 2147483647 h 468"/>
                <a:gd name="T54" fmla="*/ 2147483647 w 950"/>
                <a:gd name="T55" fmla="*/ 2147483647 h 468"/>
                <a:gd name="T56" fmla="*/ 2147483647 w 950"/>
                <a:gd name="T57" fmla="*/ 2147483647 h 468"/>
                <a:gd name="T58" fmla="*/ 2147483647 w 950"/>
                <a:gd name="T59" fmla="*/ 2147483647 h 468"/>
                <a:gd name="T60" fmla="*/ 2147483647 w 950"/>
                <a:gd name="T61" fmla="*/ 2147483647 h 468"/>
                <a:gd name="T62" fmla="*/ 2147483647 w 950"/>
                <a:gd name="T63" fmla="*/ 2147483647 h 468"/>
                <a:gd name="T64" fmla="*/ 2147483647 w 950"/>
                <a:gd name="T65" fmla="*/ 2147483647 h 468"/>
                <a:gd name="T66" fmla="*/ 2147483647 w 950"/>
                <a:gd name="T67" fmla="*/ 2147483647 h 468"/>
                <a:gd name="T68" fmla="*/ 2147483647 w 950"/>
                <a:gd name="T69" fmla="*/ 2147483647 h 468"/>
                <a:gd name="T70" fmla="*/ 2147483647 w 950"/>
                <a:gd name="T71" fmla="*/ 2147483647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50"/>
                <a:gd name="T109" fmla="*/ 0 h 468"/>
                <a:gd name="T110" fmla="*/ 950 w 950"/>
                <a:gd name="T111" fmla="*/ 468 h 46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22" name="Freeform 32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4079875" y="3232150"/>
              <a:ext cx="296863" cy="288925"/>
            </a:xfrm>
            <a:custGeom>
              <a:avLst/>
              <a:gdLst>
                <a:gd name="T0" fmla="*/ 2147483647 w 671"/>
                <a:gd name="T1" fmla="*/ 2147483647 h 549"/>
                <a:gd name="T2" fmla="*/ 2147483647 w 671"/>
                <a:gd name="T3" fmla="*/ 2147483647 h 549"/>
                <a:gd name="T4" fmla="*/ 2147483647 w 671"/>
                <a:gd name="T5" fmla="*/ 2147483647 h 549"/>
                <a:gd name="T6" fmla="*/ 2147483647 w 671"/>
                <a:gd name="T7" fmla="*/ 2147483647 h 549"/>
                <a:gd name="T8" fmla="*/ 2147483647 w 671"/>
                <a:gd name="T9" fmla="*/ 2147483647 h 549"/>
                <a:gd name="T10" fmla="*/ 2147483647 w 671"/>
                <a:gd name="T11" fmla="*/ 2147483647 h 549"/>
                <a:gd name="T12" fmla="*/ 2147483647 w 671"/>
                <a:gd name="T13" fmla="*/ 2147483647 h 549"/>
                <a:gd name="T14" fmla="*/ 2147483647 w 671"/>
                <a:gd name="T15" fmla="*/ 2147483647 h 549"/>
                <a:gd name="T16" fmla="*/ 2147483647 w 671"/>
                <a:gd name="T17" fmla="*/ 2147483647 h 549"/>
                <a:gd name="T18" fmla="*/ 2147483647 w 671"/>
                <a:gd name="T19" fmla="*/ 2147483647 h 549"/>
                <a:gd name="T20" fmla="*/ 2147483647 w 671"/>
                <a:gd name="T21" fmla="*/ 2147483647 h 549"/>
                <a:gd name="T22" fmla="*/ 2147483647 w 671"/>
                <a:gd name="T23" fmla="*/ 2147483647 h 549"/>
                <a:gd name="T24" fmla="*/ 2147483647 w 671"/>
                <a:gd name="T25" fmla="*/ 0 h 549"/>
                <a:gd name="T26" fmla="*/ 2147483647 w 671"/>
                <a:gd name="T27" fmla="*/ 2147483647 h 549"/>
                <a:gd name="T28" fmla="*/ 2147483647 w 671"/>
                <a:gd name="T29" fmla="*/ 2147483647 h 549"/>
                <a:gd name="T30" fmla="*/ 2147483647 w 671"/>
                <a:gd name="T31" fmla="*/ 2147483647 h 549"/>
                <a:gd name="T32" fmla="*/ 2147483647 w 671"/>
                <a:gd name="T33" fmla="*/ 2147483647 h 549"/>
                <a:gd name="T34" fmla="*/ 2147483647 w 671"/>
                <a:gd name="T35" fmla="*/ 2147483647 h 549"/>
                <a:gd name="T36" fmla="*/ 2147483647 w 671"/>
                <a:gd name="T37" fmla="*/ 2147483647 h 549"/>
                <a:gd name="T38" fmla="*/ 2147483647 w 671"/>
                <a:gd name="T39" fmla="*/ 2147483647 h 549"/>
                <a:gd name="T40" fmla="*/ 2147483647 w 671"/>
                <a:gd name="T41" fmla="*/ 2147483647 h 549"/>
                <a:gd name="T42" fmla="*/ 2147483647 w 671"/>
                <a:gd name="T43" fmla="*/ 2147483647 h 549"/>
                <a:gd name="T44" fmla="*/ 2147483647 w 671"/>
                <a:gd name="T45" fmla="*/ 2147483647 h 549"/>
                <a:gd name="T46" fmla="*/ 2147483647 w 671"/>
                <a:gd name="T47" fmla="*/ 2147483647 h 549"/>
                <a:gd name="T48" fmla="*/ 2147483647 w 671"/>
                <a:gd name="T49" fmla="*/ 2147483647 h 549"/>
                <a:gd name="T50" fmla="*/ 2147483647 w 671"/>
                <a:gd name="T51" fmla="*/ 2147483647 h 549"/>
                <a:gd name="T52" fmla="*/ 2147483647 w 671"/>
                <a:gd name="T53" fmla="*/ 2147483647 h 549"/>
                <a:gd name="T54" fmla="*/ 2147483647 w 671"/>
                <a:gd name="T55" fmla="*/ 2147483647 h 549"/>
                <a:gd name="T56" fmla="*/ 2147483647 w 671"/>
                <a:gd name="T57" fmla="*/ 2147483647 h 549"/>
                <a:gd name="T58" fmla="*/ 2147483647 w 671"/>
                <a:gd name="T59" fmla="*/ 2147483647 h 549"/>
                <a:gd name="T60" fmla="*/ 2147483647 w 671"/>
                <a:gd name="T61" fmla="*/ 2147483647 h 549"/>
                <a:gd name="T62" fmla="*/ 2147483647 w 671"/>
                <a:gd name="T63" fmla="*/ 2147483647 h 549"/>
                <a:gd name="T64" fmla="*/ 2147483647 w 671"/>
                <a:gd name="T65" fmla="*/ 2147483647 h 549"/>
                <a:gd name="T66" fmla="*/ 2147483647 w 671"/>
                <a:gd name="T67" fmla="*/ 2147483647 h 549"/>
                <a:gd name="T68" fmla="*/ 2147483647 w 671"/>
                <a:gd name="T69" fmla="*/ 2147483647 h 549"/>
                <a:gd name="T70" fmla="*/ 2147483647 w 671"/>
                <a:gd name="T71" fmla="*/ 2147483647 h 549"/>
                <a:gd name="T72" fmla="*/ 2147483647 w 671"/>
                <a:gd name="T73" fmla="*/ 2147483647 h 549"/>
                <a:gd name="T74" fmla="*/ 2147483647 w 671"/>
                <a:gd name="T75" fmla="*/ 2147483647 h 549"/>
                <a:gd name="T76" fmla="*/ 2147483647 w 671"/>
                <a:gd name="T77" fmla="*/ 2147483647 h 549"/>
                <a:gd name="T78" fmla="*/ 2147483647 w 671"/>
                <a:gd name="T79" fmla="*/ 2147483647 h 549"/>
                <a:gd name="T80" fmla="*/ 2147483647 w 671"/>
                <a:gd name="T81" fmla="*/ 2147483647 h 549"/>
                <a:gd name="T82" fmla="*/ 2147483647 w 671"/>
                <a:gd name="T83" fmla="*/ 2147483647 h 549"/>
                <a:gd name="T84" fmla="*/ 2147483647 w 671"/>
                <a:gd name="T85" fmla="*/ 2147483647 h 549"/>
                <a:gd name="T86" fmla="*/ 2147483647 w 671"/>
                <a:gd name="T87" fmla="*/ 2147483647 h 549"/>
                <a:gd name="T88" fmla="*/ 2147483647 w 671"/>
                <a:gd name="T89" fmla="*/ 2147483647 h 549"/>
                <a:gd name="T90" fmla="*/ 2147483647 w 671"/>
                <a:gd name="T91" fmla="*/ 2147483647 h 549"/>
                <a:gd name="T92" fmla="*/ 2147483647 w 671"/>
                <a:gd name="T93" fmla="*/ 2147483647 h 549"/>
                <a:gd name="T94" fmla="*/ 2147483647 w 671"/>
                <a:gd name="T95" fmla="*/ 2147483647 h 549"/>
                <a:gd name="T96" fmla="*/ 2147483647 w 671"/>
                <a:gd name="T97" fmla="*/ 2147483647 h 549"/>
                <a:gd name="T98" fmla="*/ 2147483647 w 671"/>
                <a:gd name="T99" fmla="*/ 2147483647 h 549"/>
                <a:gd name="T100" fmla="*/ 2147483647 w 671"/>
                <a:gd name="T101" fmla="*/ 2147483647 h 549"/>
                <a:gd name="T102" fmla="*/ 2147483647 w 671"/>
                <a:gd name="T103" fmla="*/ 2147483647 h 549"/>
                <a:gd name="T104" fmla="*/ 2147483647 w 671"/>
                <a:gd name="T105" fmla="*/ 2147483647 h 549"/>
                <a:gd name="T106" fmla="*/ 2147483647 w 671"/>
                <a:gd name="T107" fmla="*/ 2147483647 h 549"/>
                <a:gd name="T108" fmla="*/ 2147483647 w 671"/>
                <a:gd name="T109" fmla="*/ 2147483647 h 549"/>
                <a:gd name="T110" fmla="*/ 2147483647 w 671"/>
                <a:gd name="T111" fmla="*/ 2147483647 h 549"/>
                <a:gd name="T112" fmla="*/ 2147483647 w 671"/>
                <a:gd name="T113" fmla="*/ 2147483647 h 549"/>
                <a:gd name="T114" fmla="*/ 2147483647 w 671"/>
                <a:gd name="T115" fmla="*/ 2147483647 h 549"/>
                <a:gd name="T116" fmla="*/ 2147483647 w 671"/>
                <a:gd name="T117" fmla="*/ 2147483647 h 549"/>
                <a:gd name="T118" fmla="*/ 2147483647 w 671"/>
                <a:gd name="T119" fmla="*/ 2147483647 h 549"/>
                <a:gd name="T120" fmla="*/ 2147483647 w 671"/>
                <a:gd name="T121" fmla="*/ 2147483647 h 549"/>
                <a:gd name="T122" fmla="*/ 0 w 671"/>
                <a:gd name="T123" fmla="*/ 2147483647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71"/>
                <a:gd name="T187" fmla="*/ 0 h 549"/>
                <a:gd name="T188" fmla="*/ 671 w 671"/>
                <a:gd name="T189" fmla="*/ 549 h 549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23" name="Freeform 33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4922838" y="3097213"/>
              <a:ext cx="152400" cy="169862"/>
            </a:xfrm>
            <a:custGeom>
              <a:avLst/>
              <a:gdLst>
                <a:gd name="T0" fmla="*/ 2147483647 w 358"/>
                <a:gd name="T1" fmla="*/ 2147483647 h 327"/>
                <a:gd name="T2" fmla="*/ 2147483647 w 358"/>
                <a:gd name="T3" fmla="*/ 2147483647 h 327"/>
                <a:gd name="T4" fmla="*/ 2147483647 w 358"/>
                <a:gd name="T5" fmla="*/ 2147483647 h 327"/>
                <a:gd name="T6" fmla="*/ 2147483647 w 358"/>
                <a:gd name="T7" fmla="*/ 2147483647 h 327"/>
                <a:gd name="T8" fmla="*/ 2147483647 w 358"/>
                <a:gd name="T9" fmla="*/ 2147483647 h 327"/>
                <a:gd name="T10" fmla="*/ 2147483647 w 358"/>
                <a:gd name="T11" fmla="*/ 2147483647 h 327"/>
                <a:gd name="T12" fmla="*/ 2147483647 w 358"/>
                <a:gd name="T13" fmla="*/ 2147483647 h 327"/>
                <a:gd name="T14" fmla="*/ 2147483647 w 358"/>
                <a:gd name="T15" fmla="*/ 2147483647 h 327"/>
                <a:gd name="T16" fmla="*/ 2147483647 w 358"/>
                <a:gd name="T17" fmla="*/ 2147483647 h 327"/>
                <a:gd name="T18" fmla="*/ 2147483647 w 358"/>
                <a:gd name="T19" fmla="*/ 2147483647 h 327"/>
                <a:gd name="T20" fmla="*/ 2147483647 w 358"/>
                <a:gd name="T21" fmla="*/ 2147483647 h 327"/>
                <a:gd name="T22" fmla="*/ 2147483647 w 358"/>
                <a:gd name="T23" fmla="*/ 2147483647 h 327"/>
                <a:gd name="T24" fmla="*/ 2147483647 w 358"/>
                <a:gd name="T25" fmla="*/ 2147483647 h 327"/>
                <a:gd name="T26" fmla="*/ 2147483647 w 358"/>
                <a:gd name="T27" fmla="*/ 2147483647 h 327"/>
                <a:gd name="T28" fmla="*/ 2147483647 w 358"/>
                <a:gd name="T29" fmla="*/ 2147483647 h 327"/>
                <a:gd name="T30" fmla="*/ 2147483647 w 358"/>
                <a:gd name="T31" fmla="*/ 2147483647 h 327"/>
                <a:gd name="T32" fmla="*/ 2147483647 w 358"/>
                <a:gd name="T33" fmla="*/ 2147483647 h 327"/>
                <a:gd name="T34" fmla="*/ 2147483647 w 358"/>
                <a:gd name="T35" fmla="*/ 2147483647 h 327"/>
                <a:gd name="T36" fmla="*/ 2147483647 w 358"/>
                <a:gd name="T37" fmla="*/ 2147483647 h 327"/>
                <a:gd name="T38" fmla="*/ 2147483647 w 358"/>
                <a:gd name="T39" fmla="*/ 2147483647 h 327"/>
                <a:gd name="T40" fmla="*/ 2147483647 w 358"/>
                <a:gd name="T41" fmla="*/ 2147483647 h 327"/>
                <a:gd name="T42" fmla="*/ 2147483647 w 358"/>
                <a:gd name="T43" fmla="*/ 2147483647 h 327"/>
                <a:gd name="T44" fmla="*/ 2147483647 w 358"/>
                <a:gd name="T45" fmla="*/ 2147483647 h 327"/>
                <a:gd name="T46" fmla="*/ 2147483647 w 358"/>
                <a:gd name="T47" fmla="*/ 2147483647 h 327"/>
                <a:gd name="T48" fmla="*/ 2147483647 w 358"/>
                <a:gd name="T49" fmla="*/ 2147483647 h 327"/>
                <a:gd name="T50" fmla="*/ 2147483647 w 358"/>
                <a:gd name="T51" fmla="*/ 2147483647 h 327"/>
                <a:gd name="T52" fmla="*/ 2147483647 w 358"/>
                <a:gd name="T53" fmla="*/ 0 h 327"/>
                <a:gd name="T54" fmla="*/ 2147483647 w 358"/>
                <a:gd name="T55" fmla="*/ 2147483647 h 327"/>
                <a:gd name="T56" fmla="*/ 2147483647 w 358"/>
                <a:gd name="T57" fmla="*/ 2147483647 h 327"/>
                <a:gd name="T58" fmla="*/ 2147483647 w 358"/>
                <a:gd name="T59" fmla="*/ 2147483647 h 327"/>
                <a:gd name="T60" fmla="*/ 2147483647 w 358"/>
                <a:gd name="T61" fmla="*/ 2147483647 h 327"/>
                <a:gd name="T62" fmla="*/ 2147483647 w 358"/>
                <a:gd name="T63" fmla="*/ 2147483647 h 327"/>
                <a:gd name="T64" fmla="*/ 2147483647 w 358"/>
                <a:gd name="T65" fmla="*/ 2147483647 h 327"/>
                <a:gd name="T66" fmla="*/ 2147483647 w 358"/>
                <a:gd name="T67" fmla="*/ 2147483647 h 327"/>
                <a:gd name="T68" fmla="*/ 2147483647 w 358"/>
                <a:gd name="T69" fmla="*/ 2147483647 h 327"/>
                <a:gd name="T70" fmla="*/ 2147483647 w 358"/>
                <a:gd name="T71" fmla="*/ 2147483647 h 327"/>
                <a:gd name="T72" fmla="*/ 2147483647 w 358"/>
                <a:gd name="T73" fmla="*/ 2147483647 h 327"/>
                <a:gd name="T74" fmla="*/ 2147483647 w 358"/>
                <a:gd name="T75" fmla="*/ 2147483647 h 327"/>
                <a:gd name="T76" fmla="*/ 0 w 358"/>
                <a:gd name="T77" fmla="*/ 2147483647 h 327"/>
                <a:gd name="T78" fmla="*/ 0 w 358"/>
                <a:gd name="T79" fmla="*/ 2147483647 h 327"/>
                <a:gd name="T80" fmla="*/ 2147483647 w 358"/>
                <a:gd name="T81" fmla="*/ 2147483647 h 327"/>
                <a:gd name="T82" fmla="*/ 2147483647 w 358"/>
                <a:gd name="T83" fmla="*/ 2147483647 h 327"/>
                <a:gd name="T84" fmla="*/ 2147483647 w 358"/>
                <a:gd name="T85" fmla="*/ 2147483647 h 327"/>
                <a:gd name="T86" fmla="*/ 2147483647 w 358"/>
                <a:gd name="T87" fmla="*/ 2147483647 h 327"/>
                <a:gd name="T88" fmla="*/ 2147483647 w 358"/>
                <a:gd name="T89" fmla="*/ 2147483647 h 327"/>
                <a:gd name="T90" fmla="*/ 2147483647 w 358"/>
                <a:gd name="T91" fmla="*/ 2147483647 h 327"/>
                <a:gd name="T92" fmla="*/ 2147483647 w 358"/>
                <a:gd name="T93" fmla="*/ 2147483647 h 327"/>
                <a:gd name="T94" fmla="*/ 2147483647 w 358"/>
                <a:gd name="T95" fmla="*/ 2147483647 h 327"/>
                <a:gd name="T96" fmla="*/ 2147483647 w 358"/>
                <a:gd name="T97" fmla="*/ 2147483647 h 327"/>
                <a:gd name="T98" fmla="*/ 2147483647 w 358"/>
                <a:gd name="T99" fmla="*/ 2147483647 h 327"/>
                <a:gd name="T100" fmla="*/ 2147483647 w 358"/>
                <a:gd name="T101" fmla="*/ 2147483647 h 327"/>
                <a:gd name="T102" fmla="*/ 2147483647 w 358"/>
                <a:gd name="T103" fmla="*/ 2147483647 h 327"/>
                <a:gd name="T104" fmla="*/ 2147483647 w 358"/>
                <a:gd name="T105" fmla="*/ 2147483647 h 327"/>
                <a:gd name="T106" fmla="*/ 2147483647 w 358"/>
                <a:gd name="T107" fmla="*/ 2147483647 h 327"/>
                <a:gd name="T108" fmla="*/ 2147483647 w 358"/>
                <a:gd name="T109" fmla="*/ 2147483647 h 327"/>
                <a:gd name="T110" fmla="*/ 2147483647 w 358"/>
                <a:gd name="T111" fmla="*/ 2147483647 h 327"/>
                <a:gd name="T112" fmla="*/ 2147483647 w 358"/>
                <a:gd name="T113" fmla="*/ 2147483647 h 327"/>
                <a:gd name="T114" fmla="*/ 2147483647 w 358"/>
                <a:gd name="T115" fmla="*/ 2147483647 h 327"/>
                <a:gd name="T116" fmla="*/ 2147483647 w 358"/>
                <a:gd name="T117" fmla="*/ 2147483647 h 327"/>
                <a:gd name="T118" fmla="*/ 2147483647 w 358"/>
                <a:gd name="T119" fmla="*/ 2147483647 h 327"/>
                <a:gd name="T120" fmla="*/ 2147483647 w 358"/>
                <a:gd name="T121" fmla="*/ 2147483647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58"/>
                <a:gd name="T184" fmla="*/ 0 h 327"/>
                <a:gd name="T185" fmla="*/ 358 w 358"/>
                <a:gd name="T186" fmla="*/ 327 h 32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24" name="Freeform 34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4384675" y="2101850"/>
              <a:ext cx="125413" cy="57150"/>
            </a:xfrm>
            <a:custGeom>
              <a:avLst/>
              <a:gdLst>
                <a:gd name="T0" fmla="*/ 2147483647 w 292"/>
                <a:gd name="T1" fmla="*/ 0 h 99"/>
                <a:gd name="T2" fmla="*/ 2147483647 w 292"/>
                <a:gd name="T3" fmla="*/ 0 h 99"/>
                <a:gd name="T4" fmla="*/ 2147483647 w 292"/>
                <a:gd name="T5" fmla="*/ 2147483647 h 99"/>
                <a:gd name="T6" fmla="*/ 2147483647 w 292"/>
                <a:gd name="T7" fmla="*/ 2147483647 h 99"/>
                <a:gd name="T8" fmla="*/ 2147483647 w 292"/>
                <a:gd name="T9" fmla="*/ 2147483647 h 99"/>
                <a:gd name="T10" fmla="*/ 2147483647 w 292"/>
                <a:gd name="T11" fmla="*/ 2147483647 h 99"/>
                <a:gd name="T12" fmla="*/ 2147483647 w 292"/>
                <a:gd name="T13" fmla="*/ 2147483647 h 99"/>
                <a:gd name="T14" fmla="*/ 2147483647 w 292"/>
                <a:gd name="T15" fmla="*/ 2147483647 h 99"/>
                <a:gd name="T16" fmla="*/ 2147483647 w 292"/>
                <a:gd name="T17" fmla="*/ 2147483647 h 99"/>
                <a:gd name="T18" fmla="*/ 2147483647 w 292"/>
                <a:gd name="T19" fmla="*/ 2147483647 h 99"/>
                <a:gd name="T20" fmla="*/ 2147483647 w 292"/>
                <a:gd name="T21" fmla="*/ 2147483647 h 99"/>
                <a:gd name="T22" fmla="*/ 2147483647 w 292"/>
                <a:gd name="T23" fmla="*/ 2147483647 h 99"/>
                <a:gd name="T24" fmla="*/ 2147483647 w 292"/>
                <a:gd name="T25" fmla="*/ 2147483647 h 99"/>
                <a:gd name="T26" fmla="*/ 2147483647 w 292"/>
                <a:gd name="T27" fmla="*/ 2147483647 h 99"/>
                <a:gd name="T28" fmla="*/ 2147483647 w 292"/>
                <a:gd name="T29" fmla="*/ 2147483647 h 99"/>
                <a:gd name="T30" fmla="*/ 2147483647 w 292"/>
                <a:gd name="T31" fmla="*/ 2147483647 h 99"/>
                <a:gd name="T32" fmla="*/ 2147483647 w 292"/>
                <a:gd name="T33" fmla="*/ 2147483647 h 99"/>
                <a:gd name="T34" fmla="*/ 2147483647 w 292"/>
                <a:gd name="T35" fmla="*/ 2147483647 h 99"/>
                <a:gd name="T36" fmla="*/ 0 w 292"/>
                <a:gd name="T37" fmla="*/ 2147483647 h 99"/>
                <a:gd name="T38" fmla="*/ 2147483647 w 292"/>
                <a:gd name="T39" fmla="*/ 2147483647 h 99"/>
                <a:gd name="T40" fmla="*/ 2147483647 w 292"/>
                <a:gd name="T41" fmla="*/ 2147483647 h 99"/>
                <a:gd name="T42" fmla="*/ 2147483647 w 292"/>
                <a:gd name="T43" fmla="*/ 2147483647 h 99"/>
                <a:gd name="T44" fmla="*/ 2147483647 w 292"/>
                <a:gd name="T45" fmla="*/ 2147483647 h 99"/>
                <a:gd name="T46" fmla="*/ 2147483647 w 292"/>
                <a:gd name="T47" fmla="*/ 2147483647 h 99"/>
                <a:gd name="T48" fmla="*/ 2147483647 w 292"/>
                <a:gd name="T49" fmla="*/ 2147483647 h 99"/>
                <a:gd name="T50" fmla="*/ 2147483647 w 292"/>
                <a:gd name="T51" fmla="*/ 2147483647 h 99"/>
                <a:gd name="T52" fmla="*/ 2147483647 w 292"/>
                <a:gd name="T53" fmla="*/ 2147483647 h 99"/>
                <a:gd name="T54" fmla="*/ 2147483647 w 292"/>
                <a:gd name="T55" fmla="*/ 2147483647 h 99"/>
                <a:gd name="T56" fmla="*/ 2147483647 w 292"/>
                <a:gd name="T57" fmla="*/ 2147483647 h 99"/>
                <a:gd name="T58" fmla="*/ 2147483647 w 292"/>
                <a:gd name="T59" fmla="*/ 2147483647 h 99"/>
                <a:gd name="T60" fmla="*/ 2147483647 w 292"/>
                <a:gd name="T61" fmla="*/ 2147483647 h 99"/>
                <a:gd name="T62" fmla="*/ 2147483647 w 292"/>
                <a:gd name="T63" fmla="*/ 214748364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92"/>
                <a:gd name="T97" fmla="*/ 0 h 99"/>
                <a:gd name="T98" fmla="*/ 292 w 292"/>
                <a:gd name="T99" fmla="*/ 99 h 99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25" name="Freeform 35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5248275" y="2822575"/>
              <a:ext cx="19050" cy="57150"/>
            </a:xfrm>
            <a:custGeom>
              <a:avLst/>
              <a:gdLst>
                <a:gd name="T0" fmla="*/ 2147483647 w 43"/>
                <a:gd name="T1" fmla="*/ 2147483647 h 93"/>
                <a:gd name="T2" fmla="*/ 2147483647 w 43"/>
                <a:gd name="T3" fmla="*/ 2147483647 h 93"/>
                <a:gd name="T4" fmla="*/ 2147483647 w 43"/>
                <a:gd name="T5" fmla="*/ 2147483647 h 93"/>
                <a:gd name="T6" fmla="*/ 2147483647 w 43"/>
                <a:gd name="T7" fmla="*/ 2147483647 h 93"/>
                <a:gd name="T8" fmla="*/ 2147483647 w 43"/>
                <a:gd name="T9" fmla="*/ 2147483647 h 93"/>
                <a:gd name="T10" fmla="*/ 2147483647 w 43"/>
                <a:gd name="T11" fmla="*/ 2147483647 h 93"/>
                <a:gd name="T12" fmla="*/ 2147483647 w 43"/>
                <a:gd name="T13" fmla="*/ 2147483647 h 93"/>
                <a:gd name="T14" fmla="*/ 2147483647 w 43"/>
                <a:gd name="T15" fmla="*/ 2147483647 h 93"/>
                <a:gd name="T16" fmla="*/ 2147483647 w 43"/>
                <a:gd name="T17" fmla="*/ 2147483647 h 93"/>
                <a:gd name="T18" fmla="*/ 2147483647 w 43"/>
                <a:gd name="T19" fmla="*/ 2147483647 h 93"/>
                <a:gd name="T20" fmla="*/ 2147483647 w 43"/>
                <a:gd name="T21" fmla="*/ 2147483647 h 93"/>
                <a:gd name="T22" fmla="*/ 2147483647 w 43"/>
                <a:gd name="T23" fmla="*/ 2147483647 h 93"/>
                <a:gd name="T24" fmla="*/ 2147483647 w 43"/>
                <a:gd name="T25" fmla="*/ 2147483647 h 93"/>
                <a:gd name="T26" fmla="*/ 2147483647 w 43"/>
                <a:gd name="T27" fmla="*/ 2147483647 h 93"/>
                <a:gd name="T28" fmla="*/ 0 w 43"/>
                <a:gd name="T29" fmla="*/ 2147483647 h 93"/>
                <a:gd name="T30" fmla="*/ 2147483647 w 43"/>
                <a:gd name="T31" fmla="*/ 2147483647 h 93"/>
                <a:gd name="T32" fmla="*/ 2147483647 w 43"/>
                <a:gd name="T33" fmla="*/ 2147483647 h 93"/>
                <a:gd name="T34" fmla="*/ 2147483647 w 43"/>
                <a:gd name="T35" fmla="*/ 2147483647 h 93"/>
                <a:gd name="T36" fmla="*/ 2147483647 w 43"/>
                <a:gd name="T37" fmla="*/ 2147483647 h 93"/>
                <a:gd name="T38" fmla="*/ 2147483647 w 43"/>
                <a:gd name="T39" fmla="*/ 2147483647 h 93"/>
                <a:gd name="T40" fmla="*/ 2147483647 w 43"/>
                <a:gd name="T41" fmla="*/ 2147483647 h 93"/>
                <a:gd name="T42" fmla="*/ 2147483647 w 43"/>
                <a:gd name="T43" fmla="*/ 2147483647 h 93"/>
                <a:gd name="T44" fmla="*/ 2147483647 w 43"/>
                <a:gd name="T45" fmla="*/ 2147483647 h 93"/>
                <a:gd name="T46" fmla="*/ 2147483647 w 43"/>
                <a:gd name="T47" fmla="*/ 2147483647 h 93"/>
                <a:gd name="T48" fmla="*/ 2147483647 w 43"/>
                <a:gd name="T49" fmla="*/ 2147483647 h 93"/>
                <a:gd name="T50" fmla="*/ 2147483647 w 43"/>
                <a:gd name="T51" fmla="*/ 2147483647 h 93"/>
                <a:gd name="T52" fmla="*/ 2147483647 w 43"/>
                <a:gd name="T53" fmla="*/ 2147483647 h 93"/>
                <a:gd name="T54" fmla="*/ 2147483647 w 43"/>
                <a:gd name="T55" fmla="*/ 0 h 93"/>
                <a:gd name="T56" fmla="*/ 2147483647 w 43"/>
                <a:gd name="T57" fmla="*/ 0 h 93"/>
                <a:gd name="T58" fmla="*/ 2147483647 w 43"/>
                <a:gd name="T59" fmla="*/ 2147483647 h 93"/>
                <a:gd name="T60" fmla="*/ 2147483647 w 43"/>
                <a:gd name="T61" fmla="*/ 2147483647 h 93"/>
                <a:gd name="T62" fmla="*/ 2147483647 w 43"/>
                <a:gd name="T63" fmla="*/ 2147483647 h 93"/>
                <a:gd name="T64" fmla="*/ 2147483647 w 43"/>
                <a:gd name="T65" fmla="*/ 2147483647 h 93"/>
                <a:gd name="T66" fmla="*/ 2147483647 w 43"/>
                <a:gd name="T67" fmla="*/ 2147483647 h 93"/>
                <a:gd name="T68" fmla="*/ 2147483647 w 43"/>
                <a:gd name="T69" fmla="*/ 2147483647 h 93"/>
                <a:gd name="T70" fmla="*/ 2147483647 w 43"/>
                <a:gd name="T71" fmla="*/ 2147483647 h 93"/>
                <a:gd name="T72" fmla="*/ 2147483647 w 43"/>
                <a:gd name="T73" fmla="*/ 2147483647 h 93"/>
                <a:gd name="T74" fmla="*/ 2147483647 w 43"/>
                <a:gd name="T75" fmla="*/ 2147483647 h 93"/>
                <a:gd name="T76" fmla="*/ 2147483647 w 43"/>
                <a:gd name="T77" fmla="*/ 2147483647 h 93"/>
                <a:gd name="T78" fmla="*/ 2147483647 w 43"/>
                <a:gd name="T79" fmla="*/ 2147483647 h 93"/>
                <a:gd name="T80" fmla="*/ 2147483647 w 43"/>
                <a:gd name="T81" fmla="*/ 2147483647 h 93"/>
                <a:gd name="T82" fmla="*/ 2147483647 w 43"/>
                <a:gd name="T83" fmla="*/ 2147483647 h 93"/>
                <a:gd name="T84" fmla="*/ 2147483647 w 43"/>
                <a:gd name="T85" fmla="*/ 2147483647 h 93"/>
                <a:gd name="T86" fmla="*/ 2147483647 w 43"/>
                <a:gd name="T87" fmla="*/ 2147483647 h 93"/>
                <a:gd name="T88" fmla="*/ 2147483647 w 43"/>
                <a:gd name="T89" fmla="*/ 2147483647 h 93"/>
                <a:gd name="T90" fmla="*/ 2147483647 w 43"/>
                <a:gd name="T91" fmla="*/ 2147483647 h 93"/>
                <a:gd name="T92" fmla="*/ 2147483647 w 43"/>
                <a:gd name="T93" fmla="*/ 2147483647 h 93"/>
                <a:gd name="T94" fmla="*/ 2147483647 w 43"/>
                <a:gd name="T95" fmla="*/ 2147483647 h 93"/>
                <a:gd name="T96" fmla="*/ 2147483647 w 43"/>
                <a:gd name="T97" fmla="*/ 2147483647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3"/>
                <a:gd name="T148" fmla="*/ 0 h 93"/>
                <a:gd name="T149" fmla="*/ 43 w 43"/>
                <a:gd name="T150" fmla="*/ 93 h 9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26" name="Freeform 36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5367338" y="2827338"/>
              <a:ext cx="14287" cy="57150"/>
            </a:xfrm>
            <a:custGeom>
              <a:avLst/>
              <a:gdLst>
                <a:gd name="T0" fmla="*/ 2147483647 w 40"/>
                <a:gd name="T1" fmla="*/ 2147483647 h 56"/>
                <a:gd name="T2" fmla="*/ 2147483647 w 40"/>
                <a:gd name="T3" fmla="*/ 2147483647 h 56"/>
                <a:gd name="T4" fmla="*/ 2147483647 w 40"/>
                <a:gd name="T5" fmla="*/ 2147483647 h 56"/>
                <a:gd name="T6" fmla="*/ 2147483647 w 40"/>
                <a:gd name="T7" fmla="*/ 2147483647 h 56"/>
                <a:gd name="T8" fmla="*/ 2147483647 w 40"/>
                <a:gd name="T9" fmla="*/ 2147483647 h 56"/>
                <a:gd name="T10" fmla="*/ 2147483647 w 40"/>
                <a:gd name="T11" fmla="*/ 2147483647 h 56"/>
                <a:gd name="T12" fmla="*/ 0 w 40"/>
                <a:gd name="T13" fmla="*/ 2147483647 h 56"/>
                <a:gd name="T14" fmla="*/ 2147483647 w 40"/>
                <a:gd name="T15" fmla="*/ 2147483647 h 56"/>
                <a:gd name="T16" fmla="*/ 2147483647 w 40"/>
                <a:gd name="T17" fmla="*/ 0 h 56"/>
                <a:gd name="T18" fmla="*/ 2147483647 w 40"/>
                <a:gd name="T19" fmla="*/ 2147483647 h 56"/>
                <a:gd name="T20" fmla="*/ 2147483647 w 40"/>
                <a:gd name="T21" fmla="*/ 2147483647 h 56"/>
                <a:gd name="T22" fmla="*/ 2147483647 w 40"/>
                <a:gd name="T23" fmla="*/ 2147483647 h 56"/>
                <a:gd name="T24" fmla="*/ 2147483647 w 40"/>
                <a:gd name="T25" fmla="*/ 2147483647 h 56"/>
                <a:gd name="T26" fmla="*/ 2147483647 w 40"/>
                <a:gd name="T27" fmla="*/ 2147483647 h 56"/>
                <a:gd name="T28" fmla="*/ 2147483647 w 40"/>
                <a:gd name="T29" fmla="*/ 2147483647 h 56"/>
                <a:gd name="T30" fmla="*/ 2147483647 w 40"/>
                <a:gd name="T31" fmla="*/ 2147483647 h 56"/>
                <a:gd name="T32" fmla="*/ 2147483647 w 40"/>
                <a:gd name="T33" fmla="*/ 2147483647 h 56"/>
                <a:gd name="T34" fmla="*/ 2147483647 w 40"/>
                <a:gd name="T35" fmla="*/ 2147483647 h 56"/>
                <a:gd name="T36" fmla="*/ 2147483647 w 40"/>
                <a:gd name="T37" fmla="*/ 2147483647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0"/>
                <a:gd name="T58" fmla="*/ 0 h 56"/>
                <a:gd name="T59" fmla="*/ 40 w 40"/>
                <a:gd name="T60" fmla="*/ 56 h 5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27" name="Freeform 37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6854825" y="3487738"/>
              <a:ext cx="44450" cy="57150"/>
            </a:xfrm>
            <a:custGeom>
              <a:avLst/>
              <a:gdLst>
                <a:gd name="T0" fmla="*/ 0 w 106"/>
                <a:gd name="T1" fmla="*/ 2147483647 h 71"/>
                <a:gd name="T2" fmla="*/ 2147483647 w 106"/>
                <a:gd name="T3" fmla="*/ 2147483647 h 71"/>
                <a:gd name="T4" fmla="*/ 2147483647 w 106"/>
                <a:gd name="T5" fmla="*/ 2147483647 h 71"/>
                <a:gd name="T6" fmla="*/ 2147483647 w 106"/>
                <a:gd name="T7" fmla="*/ 2147483647 h 71"/>
                <a:gd name="T8" fmla="*/ 2147483647 w 106"/>
                <a:gd name="T9" fmla="*/ 2147483647 h 71"/>
                <a:gd name="T10" fmla="*/ 2147483647 w 106"/>
                <a:gd name="T11" fmla="*/ 2147483647 h 71"/>
                <a:gd name="T12" fmla="*/ 2147483647 w 106"/>
                <a:gd name="T13" fmla="*/ 2147483647 h 71"/>
                <a:gd name="T14" fmla="*/ 2147483647 w 106"/>
                <a:gd name="T15" fmla="*/ 2147483647 h 71"/>
                <a:gd name="T16" fmla="*/ 2147483647 w 106"/>
                <a:gd name="T17" fmla="*/ 0 h 71"/>
                <a:gd name="T18" fmla="*/ 2147483647 w 106"/>
                <a:gd name="T19" fmla="*/ 2147483647 h 71"/>
                <a:gd name="T20" fmla="*/ 2147483647 w 106"/>
                <a:gd name="T21" fmla="*/ 2147483647 h 71"/>
                <a:gd name="T22" fmla="*/ 2147483647 w 106"/>
                <a:gd name="T23" fmla="*/ 2147483647 h 71"/>
                <a:gd name="T24" fmla="*/ 2147483647 w 106"/>
                <a:gd name="T25" fmla="*/ 2147483647 h 71"/>
                <a:gd name="T26" fmla="*/ 2147483647 w 106"/>
                <a:gd name="T27" fmla="*/ 2147483647 h 71"/>
                <a:gd name="T28" fmla="*/ 2147483647 w 106"/>
                <a:gd name="T29" fmla="*/ 2147483647 h 71"/>
                <a:gd name="T30" fmla="*/ 2147483647 w 106"/>
                <a:gd name="T31" fmla="*/ 2147483647 h 71"/>
                <a:gd name="T32" fmla="*/ 2147483647 w 106"/>
                <a:gd name="T33" fmla="*/ 2147483647 h 71"/>
                <a:gd name="T34" fmla="*/ 2147483647 w 106"/>
                <a:gd name="T35" fmla="*/ 2147483647 h 71"/>
                <a:gd name="T36" fmla="*/ 2147483647 w 106"/>
                <a:gd name="T37" fmla="*/ 2147483647 h 71"/>
                <a:gd name="T38" fmla="*/ 2147483647 w 106"/>
                <a:gd name="T39" fmla="*/ 2147483647 h 71"/>
                <a:gd name="T40" fmla="*/ 2147483647 w 106"/>
                <a:gd name="T41" fmla="*/ 2147483647 h 71"/>
                <a:gd name="T42" fmla="*/ 2147483647 w 106"/>
                <a:gd name="T43" fmla="*/ 2147483647 h 71"/>
                <a:gd name="T44" fmla="*/ 2147483647 w 106"/>
                <a:gd name="T45" fmla="*/ 2147483647 h 71"/>
                <a:gd name="T46" fmla="*/ 2147483647 w 106"/>
                <a:gd name="T47" fmla="*/ 2147483647 h 71"/>
                <a:gd name="T48" fmla="*/ 2147483647 w 106"/>
                <a:gd name="T49" fmla="*/ 2147483647 h 71"/>
                <a:gd name="T50" fmla="*/ 2147483647 w 106"/>
                <a:gd name="T51" fmla="*/ 2147483647 h 71"/>
                <a:gd name="T52" fmla="*/ 2147483647 w 106"/>
                <a:gd name="T53" fmla="*/ 2147483647 h 71"/>
                <a:gd name="T54" fmla="*/ 2147483647 w 106"/>
                <a:gd name="T55" fmla="*/ 2147483647 h 71"/>
                <a:gd name="T56" fmla="*/ 2147483647 w 106"/>
                <a:gd name="T57" fmla="*/ 2147483647 h 71"/>
                <a:gd name="T58" fmla="*/ 2147483647 w 106"/>
                <a:gd name="T59" fmla="*/ 2147483647 h 71"/>
                <a:gd name="T60" fmla="*/ 2147483647 w 106"/>
                <a:gd name="T61" fmla="*/ 2147483647 h 71"/>
                <a:gd name="T62" fmla="*/ 2147483647 w 106"/>
                <a:gd name="T63" fmla="*/ 2147483647 h 71"/>
                <a:gd name="T64" fmla="*/ 2147483647 w 106"/>
                <a:gd name="T65" fmla="*/ 2147483647 h 71"/>
                <a:gd name="T66" fmla="*/ 2147483647 w 106"/>
                <a:gd name="T67" fmla="*/ 2147483647 h 71"/>
                <a:gd name="T68" fmla="*/ 2147483647 w 106"/>
                <a:gd name="T69" fmla="*/ 2147483647 h 71"/>
                <a:gd name="T70" fmla="*/ 2147483647 w 106"/>
                <a:gd name="T71" fmla="*/ 2147483647 h 71"/>
                <a:gd name="T72" fmla="*/ 2147483647 w 106"/>
                <a:gd name="T73" fmla="*/ 2147483647 h 71"/>
                <a:gd name="T74" fmla="*/ 2147483647 w 106"/>
                <a:gd name="T75" fmla="*/ 2147483647 h 71"/>
                <a:gd name="T76" fmla="*/ 2147483647 w 106"/>
                <a:gd name="T77" fmla="*/ 2147483647 h 71"/>
                <a:gd name="T78" fmla="*/ 2147483647 w 106"/>
                <a:gd name="T79" fmla="*/ 2147483647 h 71"/>
                <a:gd name="T80" fmla="*/ 2147483647 w 106"/>
                <a:gd name="T81" fmla="*/ 2147483647 h 71"/>
                <a:gd name="T82" fmla="*/ 2147483647 w 106"/>
                <a:gd name="T83" fmla="*/ 2147483647 h 71"/>
                <a:gd name="T84" fmla="*/ 2147483647 w 106"/>
                <a:gd name="T85" fmla="*/ 2147483647 h 71"/>
                <a:gd name="T86" fmla="*/ 2147483647 w 106"/>
                <a:gd name="T87" fmla="*/ 2147483647 h 71"/>
                <a:gd name="T88" fmla="*/ 2147483647 w 106"/>
                <a:gd name="T89" fmla="*/ 2147483647 h 71"/>
                <a:gd name="T90" fmla="*/ 0 w 106"/>
                <a:gd name="T91" fmla="*/ 2147483647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06"/>
                <a:gd name="T139" fmla="*/ 0 h 71"/>
                <a:gd name="T140" fmla="*/ 106 w 106"/>
                <a:gd name="T141" fmla="*/ 71 h 71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15428" name="Group 38"/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2706688" y="5295900"/>
              <a:ext cx="65087" cy="55563"/>
              <a:chOff x="1654" y="3671"/>
              <a:chExt cx="49" cy="17"/>
            </a:xfrm>
          </p:grpSpPr>
          <p:sp>
            <p:nvSpPr>
              <p:cNvPr id="15985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0 w 59"/>
                  <a:gd name="T1" fmla="*/ 0 h 43"/>
                  <a:gd name="T2" fmla="*/ 0 w 59"/>
                  <a:gd name="T3" fmla="*/ 0 h 43"/>
                  <a:gd name="T4" fmla="*/ 0 w 59"/>
                  <a:gd name="T5" fmla="*/ 0 h 43"/>
                  <a:gd name="T6" fmla="*/ 0 w 59"/>
                  <a:gd name="T7" fmla="*/ 0 h 43"/>
                  <a:gd name="T8" fmla="*/ 0 w 59"/>
                  <a:gd name="T9" fmla="*/ 0 h 43"/>
                  <a:gd name="T10" fmla="*/ 0 w 59"/>
                  <a:gd name="T11" fmla="*/ 0 h 43"/>
                  <a:gd name="T12" fmla="*/ 0 w 59"/>
                  <a:gd name="T13" fmla="*/ 0 h 43"/>
                  <a:gd name="T14" fmla="*/ 0 w 59"/>
                  <a:gd name="T15" fmla="*/ 0 h 43"/>
                  <a:gd name="T16" fmla="*/ 0 w 59"/>
                  <a:gd name="T17" fmla="*/ 0 h 43"/>
                  <a:gd name="T18" fmla="*/ 0 w 59"/>
                  <a:gd name="T19" fmla="*/ 0 h 43"/>
                  <a:gd name="T20" fmla="*/ 0 w 59"/>
                  <a:gd name="T21" fmla="*/ 0 h 43"/>
                  <a:gd name="T22" fmla="*/ 0 w 59"/>
                  <a:gd name="T23" fmla="*/ 0 h 43"/>
                  <a:gd name="T24" fmla="*/ 0 w 59"/>
                  <a:gd name="T25" fmla="*/ 0 h 43"/>
                  <a:gd name="T26" fmla="*/ 0 w 59"/>
                  <a:gd name="T27" fmla="*/ 0 h 43"/>
                  <a:gd name="T28" fmla="*/ 0 w 59"/>
                  <a:gd name="T29" fmla="*/ 0 h 43"/>
                  <a:gd name="T30" fmla="*/ 0 w 59"/>
                  <a:gd name="T31" fmla="*/ 0 h 43"/>
                  <a:gd name="T32" fmla="*/ 0 w 59"/>
                  <a:gd name="T33" fmla="*/ 0 h 43"/>
                  <a:gd name="T34" fmla="*/ 0 w 59"/>
                  <a:gd name="T35" fmla="*/ 0 h 43"/>
                  <a:gd name="T36" fmla="*/ 0 w 59"/>
                  <a:gd name="T37" fmla="*/ 0 h 43"/>
                  <a:gd name="T38" fmla="*/ 0 w 59"/>
                  <a:gd name="T39" fmla="*/ 0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59"/>
                  <a:gd name="T61" fmla="*/ 0 h 43"/>
                  <a:gd name="T62" fmla="*/ 59 w 59"/>
                  <a:gd name="T63" fmla="*/ 43 h 43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86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0 h 51"/>
                  <a:gd name="T2" fmla="*/ 0 w 67"/>
                  <a:gd name="T3" fmla="*/ 0 h 51"/>
                  <a:gd name="T4" fmla="*/ 0 w 67"/>
                  <a:gd name="T5" fmla="*/ 0 h 51"/>
                  <a:gd name="T6" fmla="*/ 0 w 67"/>
                  <a:gd name="T7" fmla="*/ 0 h 51"/>
                  <a:gd name="T8" fmla="*/ 0 w 67"/>
                  <a:gd name="T9" fmla="*/ 0 h 51"/>
                  <a:gd name="T10" fmla="*/ 0 w 67"/>
                  <a:gd name="T11" fmla="*/ 0 h 51"/>
                  <a:gd name="T12" fmla="*/ 0 w 67"/>
                  <a:gd name="T13" fmla="*/ 0 h 51"/>
                  <a:gd name="T14" fmla="*/ 0 w 67"/>
                  <a:gd name="T15" fmla="*/ 0 h 51"/>
                  <a:gd name="T16" fmla="*/ 0 w 67"/>
                  <a:gd name="T17" fmla="*/ 0 h 51"/>
                  <a:gd name="T18" fmla="*/ 0 w 67"/>
                  <a:gd name="T19" fmla="*/ 0 h 51"/>
                  <a:gd name="T20" fmla="*/ 0 w 67"/>
                  <a:gd name="T21" fmla="*/ 0 h 51"/>
                  <a:gd name="T22" fmla="*/ 0 w 67"/>
                  <a:gd name="T23" fmla="*/ 0 h 51"/>
                  <a:gd name="T24" fmla="*/ 0 w 67"/>
                  <a:gd name="T25" fmla="*/ 0 h 51"/>
                  <a:gd name="T26" fmla="*/ 0 w 67"/>
                  <a:gd name="T27" fmla="*/ 0 h 51"/>
                  <a:gd name="T28" fmla="*/ 0 w 67"/>
                  <a:gd name="T29" fmla="*/ 0 h 51"/>
                  <a:gd name="T30" fmla="*/ 0 w 67"/>
                  <a:gd name="T31" fmla="*/ 0 h 51"/>
                  <a:gd name="T32" fmla="*/ 0 w 67"/>
                  <a:gd name="T33" fmla="*/ 0 h 51"/>
                  <a:gd name="T34" fmla="*/ 0 w 67"/>
                  <a:gd name="T35" fmla="*/ 0 h 51"/>
                  <a:gd name="T36" fmla="*/ 0 w 67"/>
                  <a:gd name="T37" fmla="*/ 0 h 51"/>
                  <a:gd name="T38" fmla="*/ 0 w 67"/>
                  <a:gd name="T39" fmla="*/ 0 h 51"/>
                  <a:gd name="T40" fmla="*/ 0 w 67"/>
                  <a:gd name="T41" fmla="*/ 0 h 51"/>
                  <a:gd name="T42" fmla="*/ 0 w 67"/>
                  <a:gd name="T43" fmla="*/ 0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67"/>
                  <a:gd name="T67" fmla="*/ 0 h 51"/>
                  <a:gd name="T68" fmla="*/ 67 w 67"/>
                  <a:gd name="T69" fmla="*/ 51 h 51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5429" name="Freeform 41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2354263" y="3090863"/>
              <a:ext cx="31750" cy="58737"/>
            </a:xfrm>
            <a:custGeom>
              <a:avLst/>
              <a:gdLst>
                <a:gd name="T0" fmla="*/ 0 w 80"/>
                <a:gd name="T1" fmla="*/ 2147483647 h 34"/>
                <a:gd name="T2" fmla="*/ 2147483647 w 80"/>
                <a:gd name="T3" fmla="*/ 2147483647 h 34"/>
                <a:gd name="T4" fmla="*/ 2147483647 w 80"/>
                <a:gd name="T5" fmla="*/ 2147483647 h 34"/>
                <a:gd name="T6" fmla="*/ 2147483647 w 80"/>
                <a:gd name="T7" fmla="*/ 2147483647 h 34"/>
                <a:gd name="T8" fmla="*/ 2147483647 w 80"/>
                <a:gd name="T9" fmla="*/ 2147483647 h 34"/>
                <a:gd name="T10" fmla="*/ 2147483647 w 80"/>
                <a:gd name="T11" fmla="*/ 2147483647 h 34"/>
                <a:gd name="T12" fmla="*/ 2147483647 w 80"/>
                <a:gd name="T13" fmla="*/ 2147483647 h 34"/>
                <a:gd name="T14" fmla="*/ 2147483647 w 80"/>
                <a:gd name="T15" fmla="*/ 2147483647 h 34"/>
                <a:gd name="T16" fmla="*/ 2147483647 w 80"/>
                <a:gd name="T17" fmla="*/ 2147483647 h 34"/>
                <a:gd name="T18" fmla="*/ 2147483647 w 80"/>
                <a:gd name="T19" fmla="*/ 2147483647 h 34"/>
                <a:gd name="T20" fmla="*/ 2147483647 w 80"/>
                <a:gd name="T21" fmla="*/ 2147483647 h 34"/>
                <a:gd name="T22" fmla="*/ 2147483647 w 80"/>
                <a:gd name="T23" fmla="*/ 2147483647 h 34"/>
                <a:gd name="T24" fmla="*/ 2147483647 w 80"/>
                <a:gd name="T25" fmla="*/ 2147483647 h 34"/>
                <a:gd name="T26" fmla="*/ 2147483647 w 80"/>
                <a:gd name="T27" fmla="*/ 2147483647 h 34"/>
                <a:gd name="T28" fmla="*/ 2147483647 w 80"/>
                <a:gd name="T29" fmla="*/ 2147483647 h 34"/>
                <a:gd name="T30" fmla="*/ 2147483647 w 80"/>
                <a:gd name="T31" fmla="*/ 2147483647 h 34"/>
                <a:gd name="T32" fmla="*/ 2147483647 w 80"/>
                <a:gd name="T33" fmla="*/ 2147483647 h 34"/>
                <a:gd name="T34" fmla="*/ 2147483647 w 80"/>
                <a:gd name="T35" fmla="*/ 2147483647 h 34"/>
                <a:gd name="T36" fmla="*/ 2147483647 w 80"/>
                <a:gd name="T37" fmla="*/ 2147483647 h 34"/>
                <a:gd name="T38" fmla="*/ 2147483647 w 80"/>
                <a:gd name="T39" fmla="*/ 0 h 34"/>
                <a:gd name="T40" fmla="*/ 2147483647 w 80"/>
                <a:gd name="T41" fmla="*/ 0 h 34"/>
                <a:gd name="T42" fmla="*/ 2147483647 w 80"/>
                <a:gd name="T43" fmla="*/ 2147483647 h 34"/>
                <a:gd name="T44" fmla="*/ 2147483647 w 80"/>
                <a:gd name="T45" fmla="*/ 2147483647 h 34"/>
                <a:gd name="T46" fmla="*/ 2147483647 w 80"/>
                <a:gd name="T47" fmla="*/ 2147483647 h 34"/>
                <a:gd name="T48" fmla="*/ 2147483647 w 80"/>
                <a:gd name="T49" fmla="*/ 2147483647 h 34"/>
                <a:gd name="T50" fmla="*/ 2147483647 w 80"/>
                <a:gd name="T51" fmla="*/ 2147483647 h 34"/>
                <a:gd name="T52" fmla="*/ 2147483647 w 80"/>
                <a:gd name="T53" fmla="*/ 2147483647 h 34"/>
                <a:gd name="T54" fmla="*/ 2147483647 w 80"/>
                <a:gd name="T55" fmla="*/ 2147483647 h 34"/>
                <a:gd name="T56" fmla="*/ 2147483647 w 80"/>
                <a:gd name="T57" fmla="*/ 2147483647 h 34"/>
                <a:gd name="T58" fmla="*/ 2147483647 w 80"/>
                <a:gd name="T59" fmla="*/ 2147483647 h 34"/>
                <a:gd name="T60" fmla="*/ 0 w 80"/>
                <a:gd name="T61" fmla="*/ 2147483647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80"/>
                <a:gd name="T94" fmla="*/ 0 h 34"/>
                <a:gd name="T95" fmla="*/ 80 w 80"/>
                <a:gd name="T96" fmla="*/ 34 h 3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30" name="Freeform 42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2409825" y="3097213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2147483647 w 7"/>
                <a:gd name="T3" fmla="*/ 2147483647 h 13"/>
                <a:gd name="T4" fmla="*/ 2147483647 w 7"/>
                <a:gd name="T5" fmla="*/ 2147483647 h 13"/>
                <a:gd name="T6" fmla="*/ 0 60000 65536"/>
                <a:gd name="T7" fmla="*/ 0 60000 65536"/>
                <a:gd name="T8" fmla="*/ 0 60000 65536"/>
                <a:gd name="T9" fmla="*/ 0 w 7"/>
                <a:gd name="T10" fmla="*/ 0 h 13"/>
                <a:gd name="T11" fmla="*/ 7 w 7"/>
                <a:gd name="T12" fmla="*/ 13 h 1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31" name="Freeform 43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2422525" y="3098800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2147483647 w 20"/>
                <a:gd name="T3" fmla="*/ 2147483647 h 6"/>
                <a:gd name="T4" fmla="*/ 2147483647 w 20"/>
                <a:gd name="T5" fmla="*/ 2147483647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"/>
                <a:gd name="T13" fmla="*/ 0 h 6"/>
                <a:gd name="T14" fmla="*/ 20 w 20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32" name="Freeform 44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436813" y="3089275"/>
              <a:ext cx="7937" cy="57150"/>
            </a:xfrm>
            <a:custGeom>
              <a:avLst/>
              <a:gdLst>
                <a:gd name="T0" fmla="*/ 0 w 14"/>
                <a:gd name="T1" fmla="*/ 2147483647 h 12"/>
                <a:gd name="T2" fmla="*/ 2147483647 w 14"/>
                <a:gd name="T3" fmla="*/ 0 h 12"/>
                <a:gd name="T4" fmla="*/ 0 w 14"/>
                <a:gd name="T5" fmla="*/ 2147483647 h 12"/>
                <a:gd name="T6" fmla="*/ 0 60000 65536"/>
                <a:gd name="T7" fmla="*/ 0 60000 65536"/>
                <a:gd name="T8" fmla="*/ 0 60000 65536"/>
                <a:gd name="T9" fmla="*/ 0 w 14"/>
                <a:gd name="T10" fmla="*/ 0 h 12"/>
                <a:gd name="T11" fmla="*/ 14 w 14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33" name="Freeform 45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2416175" y="3081338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2147483647 h 7"/>
                <a:gd name="T4" fmla="*/ 2147483647 w 27"/>
                <a:gd name="T5" fmla="*/ 2147483647 h 7"/>
                <a:gd name="T6" fmla="*/ 2147483647 w 27"/>
                <a:gd name="T7" fmla="*/ 2147483647 h 7"/>
                <a:gd name="T8" fmla="*/ 2147483647 w 27"/>
                <a:gd name="T9" fmla="*/ 2147483647 h 7"/>
                <a:gd name="T10" fmla="*/ 2147483647 w 27"/>
                <a:gd name="T11" fmla="*/ 2147483647 h 7"/>
                <a:gd name="T12" fmla="*/ 2147483647 w 27"/>
                <a:gd name="T13" fmla="*/ 2147483647 h 7"/>
                <a:gd name="T14" fmla="*/ 2147483647 w 27"/>
                <a:gd name="T15" fmla="*/ 2147483647 h 7"/>
                <a:gd name="T16" fmla="*/ 2147483647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7"/>
                <a:gd name="T32" fmla="*/ 27 w 2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34" name="Freeform 46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2465388" y="3109913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2147483647 w 27"/>
                <a:gd name="T3" fmla="*/ 2147483647 h 6"/>
                <a:gd name="T4" fmla="*/ 2147483647 w 27"/>
                <a:gd name="T5" fmla="*/ 2147483647 h 6"/>
                <a:gd name="T6" fmla="*/ 0 60000 65536"/>
                <a:gd name="T7" fmla="*/ 0 60000 65536"/>
                <a:gd name="T8" fmla="*/ 0 60000 65536"/>
                <a:gd name="T9" fmla="*/ 0 w 27"/>
                <a:gd name="T10" fmla="*/ 0 h 6"/>
                <a:gd name="T11" fmla="*/ 27 w 27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35" name="Line 47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2473325" y="3106738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436" name="Line 48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2473325" y="3132138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437" name="Freeform 49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2473325" y="3127375"/>
              <a:ext cx="11113" cy="58738"/>
            </a:xfrm>
            <a:custGeom>
              <a:avLst/>
              <a:gdLst>
                <a:gd name="T0" fmla="*/ 0 w 20"/>
                <a:gd name="T1" fmla="*/ 2147483647 h 24"/>
                <a:gd name="T2" fmla="*/ 2147483647 w 20"/>
                <a:gd name="T3" fmla="*/ 2147483647 h 24"/>
                <a:gd name="T4" fmla="*/ 2147483647 w 20"/>
                <a:gd name="T5" fmla="*/ 2147483647 h 24"/>
                <a:gd name="T6" fmla="*/ 2147483647 w 20"/>
                <a:gd name="T7" fmla="*/ 2147483647 h 24"/>
                <a:gd name="T8" fmla="*/ 2147483647 w 20"/>
                <a:gd name="T9" fmla="*/ 2147483647 h 24"/>
                <a:gd name="T10" fmla="*/ 2147483647 w 20"/>
                <a:gd name="T11" fmla="*/ 2147483647 h 24"/>
                <a:gd name="T12" fmla="*/ 2147483647 w 20"/>
                <a:gd name="T13" fmla="*/ 2147483647 h 24"/>
                <a:gd name="T14" fmla="*/ 2147483647 w 20"/>
                <a:gd name="T15" fmla="*/ 2147483647 h 24"/>
                <a:gd name="T16" fmla="*/ 2147483647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24"/>
                <a:gd name="T29" fmla="*/ 20 w 20"/>
                <a:gd name="T30" fmla="*/ 24 h 2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38" name="Freeform 50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2479675" y="3155950"/>
              <a:ext cx="17463" cy="55563"/>
            </a:xfrm>
            <a:custGeom>
              <a:avLst/>
              <a:gdLst>
                <a:gd name="T0" fmla="*/ 2147483647 w 33"/>
                <a:gd name="T1" fmla="*/ 2147483647 h 25"/>
                <a:gd name="T2" fmla="*/ 0 w 33"/>
                <a:gd name="T3" fmla="*/ 2147483647 h 25"/>
                <a:gd name="T4" fmla="*/ 2147483647 w 33"/>
                <a:gd name="T5" fmla="*/ 2147483647 h 25"/>
                <a:gd name="T6" fmla="*/ 2147483647 w 33"/>
                <a:gd name="T7" fmla="*/ 2147483647 h 25"/>
                <a:gd name="T8" fmla="*/ 2147483647 w 33"/>
                <a:gd name="T9" fmla="*/ 2147483647 h 25"/>
                <a:gd name="T10" fmla="*/ 2147483647 w 33"/>
                <a:gd name="T11" fmla="*/ 2147483647 h 25"/>
                <a:gd name="T12" fmla="*/ 2147483647 w 33"/>
                <a:gd name="T13" fmla="*/ 0 h 25"/>
                <a:gd name="T14" fmla="*/ 2147483647 w 33"/>
                <a:gd name="T15" fmla="*/ 0 h 25"/>
                <a:gd name="T16" fmla="*/ 2147483647 w 33"/>
                <a:gd name="T17" fmla="*/ 214748364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3"/>
                <a:gd name="T28" fmla="*/ 0 h 25"/>
                <a:gd name="T29" fmla="*/ 33 w 33"/>
                <a:gd name="T30" fmla="*/ 25 h 2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39" name="Freeform 51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2486025" y="3203575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2147483647 w 40"/>
                <a:gd name="T3" fmla="*/ 2147483647 h 18"/>
                <a:gd name="T4" fmla="*/ 2147483647 w 40"/>
                <a:gd name="T5" fmla="*/ 2147483647 h 18"/>
                <a:gd name="T6" fmla="*/ 2147483647 w 40"/>
                <a:gd name="T7" fmla="*/ 2147483647 h 18"/>
                <a:gd name="T8" fmla="*/ 2147483647 w 40"/>
                <a:gd name="T9" fmla="*/ 2147483647 h 18"/>
                <a:gd name="T10" fmla="*/ 2147483647 w 40"/>
                <a:gd name="T11" fmla="*/ 2147483647 h 18"/>
                <a:gd name="T12" fmla="*/ 2147483647 w 40"/>
                <a:gd name="T13" fmla="*/ 2147483647 h 18"/>
                <a:gd name="T14" fmla="*/ 2147483647 w 40"/>
                <a:gd name="T15" fmla="*/ 0 h 18"/>
                <a:gd name="T16" fmla="*/ 2147483647 w 40"/>
                <a:gd name="T17" fmla="*/ 0 h 18"/>
                <a:gd name="T18" fmla="*/ 2147483647 w 40"/>
                <a:gd name="T19" fmla="*/ 0 h 18"/>
                <a:gd name="T20" fmla="*/ 2147483647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0"/>
                <a:gd name="T37" fmla="*/ 0 h 18"/>
                <a:gd name="T38" fmla="*/ 40 w 40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40" name="Freeform 52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2495550" y="3228975"/>
              <a:ext cx="3175" cy="57150"/>
            </a:xfrm>
            <a:custGeom>
              <a:avLst/>
              <a:gdLst>
                <a:gd name="T0" fmla="*/ 2147483647 w 11"/>
                <a:gd name="T1" fmla="*/ 2147483647 h 32"/>
                <a:gd name="T2" fmla="*/ 2147483647 w 11"/>
                <a:gd name="T3" fmla="*/ 2147483647 h 32"/>
                <a:gd name="T4" fmla="*/ 2147483647 w 11"/>
                <a:gd name="T5" fmla="*/ 2147483647 h 32"/>
                <a:gd name="T6" fmla="*/ 2147483647 w 11"/>
                <a:gd name="T7" fmla="*/ 2147483647 h 32"/>
                <a:gd name="T8" fmla="*/ 2147483647 w 11"/>
                <a:gd name="T9" fmla="*/ 2147483647 h 32"/>
                <a:gd name="T10" fmla="*/ 2147483647 w 11"/>
                <a:gd name="T11" fmla="*/ 2147483647 h 32"/>
                <a:gd name="T12" fmla="*/ 2147483647 w 11"/>
                <a:gd name="T13" fmla="*/ 0 h 32"/>
                <a:gd name="T14" fmla="*/ 2147483647 w 11"/>
                <a:gd name="T15" fmla="*/ 2147483647 h 32"/>
                <a:gd name="T16" fmla="*/ 2147483647 w 11"/>
                <a:gd name="T17" fmla="*/ 2147483647 h 32"/>
                <a:gd name="T18" fmla="*/ 2147483647 w 11"/>
                <a:gd name="T19" fmla="*/ 2147483647 h 32"/>
                <a:gd name="T20" fmla="*/ 0 w 11"/>
                <a:gd name="T21" fmla="*/ 2147483647 h 32"/>
                <a:gd name="T22" fmla="*/ 0 w 11"/>
                <a:gd name="T23" fmla="*/ 2147483647 h 32"/>
                <a:gd name="T24" fmla="*/ 2147483647 w 11"/>
                <a:gd name="T25" fmla="*/ 2147483647 h 32"/>
                <a:gd name="T26" fmla="*/ 2147483647 w 11"/>
                <a:gd name="T27" fmla="*/ 2147483647 h 32"/>
                <a:gd name="T28" fmla="*/ 2147483647 w 11"/>
                <a:gd name="T29" fmla="*/ 2147483647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1"/>
                <a:gd name="T46" fmla="*/ 0 h 32"/>
                <a:gd name="T47" fmla="*/ 11 w 11"/>
                <a:gd name="T48" fmla="*/ 32 h 3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41" name="Freeform 53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2517775" y="3259138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147483647 h 24"/>
                <a:gd name="T4" fmla="*/ 2147483647 w 14"/>
                <a:gd name="T5" fmla="*/ 2147483647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"/>
                <a:gd name="T13" fmla="*/ 0 h 24"/>
                <a:gd name="T14" fmla="*/ 14 w 14"/>
                <a:gd name="T15" fmla="*/ 24 h 2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42" name="Freeform 54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2479675" y="3271838"/>
              <a:ext cx="15875" cy="58737"/>
            </a:xfrm>
            <a:custGeom>
              <a:avLst/>
              <a:gdLst>
                <a:gd name="T0" fmla="*/ 0 w 27"/>
                <a:gd name="T1" fmla="*/ 2147483647 h 18"/>
                <a:gd name="T2" fmla="*/ 2147483647 w 27"/>
                <a:gd name="T3" fmla="*/ 2147483647 h 18"/>
                <a:gd name="T4" fmla="*/ 2147483647 w 27"/>
                <a:gd name="T5" fmla="*/ 2147483647 h 18"/>
                <a:gd name="T6" fmla="*/ 2147483647 w 27"/>
                <a:gd name="T7" fmla="*/ 2147483647 h 18"/>
                <a:gd name="T8" fmla="*/ 2147483647 w 27"/>
                <a:gd name="T9" fmla="*/ 0 h 18"/>
                <a:gd name="T10" fmla="*/ 2147483647 w 27"/>
                <a:gd name="T11" fmla="*/ 0 h 18"/>
                <a:gd name="T12" fmla="*/ 2147483647 w 27"/>
                <a:gd name="T13" fmla="*/ 2147483647 h 18"/>
                <a:gd name="T14" fmla="*/ 2147483647 w 27"/>
                <a:gd name="T15" fmla="*/ 2147483647 h 18"/>
                <a:gd name="T16" fmla="*/ 2147483647 w 27"/>
                <a:gd name="T17" fmla="*/ 2147483647 h 18"/>
                <a:gd name="T18" fmla="*/ 2147483647 w 27"/>
                <a:gd name="T19" fmla="*/ 2147483647 h 18"/>
                <a:gd name="T20" fmla="*/ 0 w 27"/>
                <a:gd name="T21" fmla="*/ 2147483647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7"/>
                <a:gd name="T34" fmla="*/ 0 h 18"/>
                <a:gd name="T35" fmla="*/ 27 w 27"/>
                <a:gd name="T36" fmla="*/ 18 h 1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43" name="Freeform 55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2465388" y="3336925"/>
              <a:ext cx="23812" cy="57150"/>
            </a:xfrm>
            <a:custGeom>
              <a:avLst/>
              <a:gdLst>
                <a:gd name="T0" fmla="*/ 0 w 47"/>
                <a:gd name="T1" fmla="*/ 2147483647 h 49"/>
                <a:gd name="T2" fmla="*/ 2147483647 w 47"/>
                <a:gd name="T3" fmla="*/ 2147483647 h 49"/>
                <a:gd name="T4" fmla="*/ 2147483647 w 47"/>
                <a:gd name="T5" fmla="*/ 2147483647 h 49"/>
                <a:gd name="T6" fmla="*/ 2147483647 w 47"/>
                <a:gd name="T7" fmla="*/ 2147483647 h 49"/>
                <a:gd name="T8" fmla="*/ 2147483647 w 47"/>
                <a:gd name="T9" fmla="*/ 2147483647 h 49"/>
                <a:gd name="T10" fmla="*/ 2147483647 w 47"/>
                <a:gd name="T11" fmla="*/ 2147483647 h 49"/>
                <a:gd name="T12" fmla="*/ 2147483647 w 47"/>
                <a:gd name="T13" fmla="*/ 2147483647 h 49"/>
                <a:gd name="T14" fmla="*/ 2147483647 w 47"/>
                <a:gd name="T15" fmla="*/ 2147483647 h 49"/>
                <a:gd name="T16" fmla="*/ 2147483647 w 47"/>
                <a:gd name="T17" fmla="*/ 2147483647 h 49"/>
                <a:gd name="T18" fmla="*/ 2147483647 w 47"/>
                <a:gd name="T19" fmla="*/ 2147483647 h 49"/>
                <a:gd name="T20" fmla="*/ 2147483647 w 47"/>
                <a:gd name="T21" fmla="*/ 2147483647 h 49"/>
                <a:gd name="T22" fmla="*/ 2147483647 w 47"/>
                <a:gd name="T23" fmla="*/ 2147483647 h 49"/>
                <a:gd name="T24" fmla="*/ 2147483647 w 47"/>
                <a:gd name="T25" fmla="*/ 2147483647 h 49"/>
                <a:gd name="T26" fmla="*/ 2147483647 w 47"/>
                <a:gd name="T27" fmla="*/ 2147483647 h 49"/>
                <a:gd name="T28" fmla="*/ 2147483647 w 47"/>
                <a:gd name="T29" fmla="*/ 2147483647 h 49"/>
                <a:gd name="T30" fmla="*/ 2147483647 w 47"/>
                <a:gd name="T31" fmla="*/ 2147483647 h 49"/>
                <a:gd name="T32" fmla="*/ 2147483647 w 47"/>
                <a:gd name="T33" fmla="*/ 0 h 49"/>
                <a:gd name="T34" fmla="*/ 2147483647 w 47"/>
                <a:gd name="T35" fmla="*/ 0 h 49"/>
                <a:gd name="T36" fmla="*/ 2147483647 w 47"/>
                <a:gd name="T37" fmla="*/ 2147483647 h 49"/>
                <a:gd name="T38" fmla="*/ 2147483647 w 47"/>
                <a:gd name="T39" fmla="*/ 2147483647 h 49"/>
                <a:gd name="T40" fmla="*/ 2147483647 w 47"/>
                <a:gd name="T41" fmla="*/ 2147483647 h 49"/>
                <a:gd name="T42" fmla="*/ 2147483647 w 47"/>
                <a:gd name="T43" fmla="*/ 2147483647 h 49"/>
                <a:gd name="T44" fmla="*/ 2147483647 w 47"/>
                <a:gd name="T45" fmla="*/ 2147483647 h 49"/>
                <a:gd name="T46" fmla="*/ 0 w 47"/>
                <a:gd name="T47" fmla="*/ 2147483647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7"/>
                <a:gd name="T73" fmla="*/ 0 h 49"/>
                <a:gd name="T74" fmla="*/ 47 w 47"/>
                <a:gd name="T75" fmla="*/ 49 h 4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44" name="Freeform 56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2484438" y="3313113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147483647 h 9"/>
                <a:gd name="T4" fmla="*/ 2147483647 w 26"/>
                <a:gd name="T5" fmla="*/ 2147483647 h 9"/>
                <a:gd name="T6" fmla="*/ 2147483647 w 26"/>
                <a:gd name="T7" fmla="*/ 2147483647 h 9"/>
                <a:gd name="T8" fmla="*/ 2147483647 w 26"/>
                <a:gd name="T9" fmla="*/ 2147483647 h 9"/>
                <a:gd name="T10" fmla="*/ 2147483647 w 26"/>
                <a:gd name="T11" fmla="*/ 2147483647 h 9"/>
                <a:gd name="T12" fmla="*/ 2147483647 w 26"/>
                <a:gd name="T13" fmla="*/ 2147483647 h 9"/>
                <a:gd name="T14" fmla="*/ 2147483647 w 26"/>
                <a:gd name="T15" fmla="*/ 2147483647 h 9"/>
                <a:gd name="T16" fmla="*/ 2147483647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9"/>
                <a:gd name="T32" fmla="*/ 26 w 2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45" name="Freeform 57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1966913" y="2984500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2147483647 h 18"/>
                <a:gd name="T4" fmla="*/ 2147483647 w 39"/>
                <a:gd name="T5" fmla="*/ 2147483647 h 18"/>
                <a:gd name="T6" fmla="*/ 2147483647 w 39"/>
                <a:gd name="T7" fmla="*/ 2147483647 h 18"/>
                <a:gd name="T8" fmla="*/ 2147483647 w 39"/>
                <a:gd name="T9" fmla="*/ 2147483647 h 18"/>
                <a:gd name="T10" fmla="*/ 2147483647 w 39"/>
                <a:gd name="T11" fmla="*/ 2147483647 h 18"/>
                <a:gd name="T12" fmla="*/ 2147483647 w 39"/>
                <a:gd name="T13" fmla="*/ 2147483647 h 18"/>
                <a:gd name="T14" fmla="*/ 2147483647 w 39"/>
                <a:gd name="T15" fmla="*/ 2147483647 h 18"/>
                <a:gd name="T16" fmla="*/ 2147483647 w 39"/>
                <a:gd name="T17" fmla="*/ 2147483647 h 18"/>
                <a:gd name="T18" fmla="*/ 2147483647 w 39"/>
                <a:gd name="T19" fmla="*/ 2147483647 h 18"/>
                <a:gd name="T20" fmla="*/ 2147483647 w 39"/>
                <a:gd name="T21" fmla="*/ 2147483647 h 18"/>
                <a:gd name="T22" fmla="*/ 2147483647 w 39"/>
                <a:gd name="T23" fmla="*/ 2147483647 h 18"/>
                <a:gd name="T24" fmla="*/ 2147483647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9"/>
                <a:gd name="T43" fmla="*/ 0 h 18"/>
                <a:gd name="T44" fmla="*/ 39 w 39"/>
                <a:gd name="T45" fmla="*/ 18 h 1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15446" name="Group 58"/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2092325" y="2817813"/>
              <a:ext cx="131763" cy="195262"/>
              <a:chOff x="1199" y="2121"/>
              <a:chExt cx="97" cy="123"/>
            </a:xfrm>
          </p:grpSpPr>
          <p:sp>
            <p:nvSpPr>
              <p:cNvPr id="15975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0 h 25"/>
                  <a:gd name="T2" fmla="*/ 0 w 52"/>
                  <a:gd name="T3" fmla="*/ 0 h 25"/>
                  <a:gd name="T4" fmla="*/ 0 w 52"/>
                  <a:gd name="T5" fmla="*/ 0 h 25"/>
                  <a:gd name="T6" fmla="*/ 0 w 52"/>
                  <a:gd name="T7" fmla="*/ 0 h 25"/>
                  <a:gd name="T8" fmla="*/ 0 w 52"/>
                  <a:gd name="T9" fmla="*/ 0 h 25"/>
                  <a:gd name="T10" fmla="*/ 0 w 52"/>
                  <a:gd name="T11" fmla="*/ 0 h 25"/>
                  <a:gd name="T12" fmla="*/ 0 w 52"/>
                  <a:gd name="T13" fmla="*/ 0 h 25"/>
                  <a:gd name="T14" fmla="*/ 0 w 52"/>
                  <a:gd name="T15" fmla="*/ 0 h 25"/>
                  <a:gd name="T16" fmla="*/ 0 w 52"/>
                  <a:gd name="T17" fmla="*/ 0 h 25"/>
                  <a:gd name="T18" fmla="*/ 0 w 52"/>
                  <a:gd name="T19" fmla="*/ 0 h 25"/>
                  <a:gd name="T20" fmla="*/ 0 w 52"/>
                  <a:gd name="T21" fmla="*/ 0 h 25"/>
                  <a:gd name="T22" fmla="*/ 0 w 52"/>
                  <a:gd name="T23" fmla="*/ 0 h 25"/>
                  <a:gd name="T24" fmla="*/ 0 w 52"/>
                  <a:gd name="T25" fmla="*/ 0 h 25"/>
                  <a:gd name="T26" fmla="*/ 0 w 52"/>
                  <a:gd name="T27" fmla="*/ 0 h 25"/>
                  <a:gd name="T28" fmla="*/ 0 w 52"/>
                  <a:gd name="T29" fmla="*/ 0 h 25"/>
                  <a:gd name="T30" fmla="*/ 0 w 52"/>
                  <a:gd name="T31" fmla="*/ 0 h 25"/>
                  <a:gd name="T32" fmla="*/ 0 w 52"/>
                  <a:gd name="T33" fmla="*/ 0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2"/>
                  <a:gd name="T52" fmla="*/ 0 h 25"/>
                  <a:gd name="T53" fmla="*/ 52 w 52"/>
                  <a:gd name="T54" fmla="*/ 25 h 2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76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0 h 13"/>
                  <a:gd name="T4" fmla="*/ 0 w 33"/>
                  <a:gd name="T5" fmla="*/ 0 h 13"/>
                  <a:gd name="T6" fmla="*/ 0 w 33"/>
                  <a:gd name="T7" fmla="*/ 0 h 13"/>
                  <a:gd name="T8" fmla="*/ 0 w 33"/>
                  <a:gd name="T9" fmla="*/ 0 h 13"/>
                  <a:gd name="T10" fmla="*/ 0 w 33"/>
                  <a:gd name="T11" fmla="*/ 0 h 13"/>
                  <a:gd name="T12" fmla="*/ 0 w 33"/>
                  <a:gd name="T13" fmla="*/ 0 h 13"/>
                  <a:gd name="T14" fmla="*/ 0 w 33"/>
                  <a:gd name="T15" fmla="*/ 0 h 13"/>
                  <a:gd name="T16" fmla="*/ 0 w 33"/>
                  <a:gd name="T17" fmla="*/ 0 h 13"/>
                  <a:gd name="T18" fmla="*/ 0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3"/>
                  <a:gd name="T34" fmla="*/ 0 h 13"/>
                  <a:gd name="T35" fmla="*/ 33 w 33"/>
                  <a:gd name="T36" fmla="*/ 13 h 1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77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0 w 67"/>
                  <a:gd name="T1" fmla="*/ 0 h 86"/>
                  <a:gd name="T2" fmla="*/ 0 w 67"/>
                  <a:gd name="T3" fmla="*/ 0 h 86"/>
                  <a:gd name="T4" fmla="*/ 0 w 67"/>
                  <a:gd name="T5" fmla="*/ 0 h 86"/>
                  <a:gd name="T6" fmla="*/ 0 w 67"/>
                  <a:gd name="T7" fmla="*/ 0 h 86"/>
                  <a:gd name="T8" fmla="*/ 0 w 67"/>
                  <a:gd name="T9" fmla="*/ 0 h 86"/>
                  <a:gd name="T10" fmla="*/ 0 w 67"/>
                  <a:gd name="T11" fmla="*/ 0 h 86"/>
                  <a:gd name="T12" fmla="*/ 0 w 67"/>
                  <a:gd name="T13" fmla="*/ 0 h 86"/>
                  <a:gd name="T14" fmla="*/ 0 w 67"/>
                  <a:gd name="T15" fmla="*/ 0 h 86"/>
                  <a:gd name="T16" fmla="*/ 0 w 67"/>
                  <a:gd name="T17" fmla="*/ 0 h 86"/>
                  <a:gd name="T18" fmla="*/ 0 w 67"/>
                  <a:gd name="T19" fmla="*/ 0 h 86"/>
                  <a:gd name="T20" fmla="*/ 0 w 67"/>
                  <a:gd name="T21" fmla="*/ 0 h 86"/>
                  <a:gd name="T22" fmla="*/ 0 w 67"/>
                  <a:gd name="T23" fmla="*/ 0 h 86"/>
                  <a:gd name="T24" fmla="*/ 0 w 67"/>
                  <a:gd name="T25" fmla="*/ 0 h 86"/>
                  <a:gd name="T26" fmla="*/ 0 w 67"/>
                  <a:gd name="T27" fmla="*/ 0 h 86"/>
                  <a:gd name="T28" fmla="*/ 0 w 67"/>
                  <a:gd name="T29" fmla="*/ 0 h 86"/>
                  <a:gd name="T30" fmla="*/ 0 w 67"/>
                  <a:gd name="T31" fmla="*/ 0 h 86"/>
                  <a:gd name="T32" fmla="*/ 0 w 67"/>
                  <a:gd name="T33" fmla="*/ 0 h 86"/>
                  <a:gd name="T34" fmla="*/ 0 w 67"/>
                  <a:gd name="T35" fmla="*/ 0 h 86"/>
                  <a:gd name="T36" fmla="*/ 0 w 67"/>
                  <a:gd name="T37" fmla="*/ 0 h 86"/>
                  <a:gd name="T38" fmla="*/ 0 w 67"/>
                  <a:gd name="T39" fmla="*/ 0 h 86"/>
                  <a:gd name="T40" fmla="*/ 0 w 67"/>
                  <a:gd name="T41" fmla="*/ 0 h 86"/>
                  <a:gd name="T42" fmla="*/ 0 w 67"/>
                  <a:gd name="T43" fmla="*/ 0 h 86"/>
                  <a:gd name="T44" fmla="*/ 0 w 67"/>
                  <a:gd name="T45" fmla="*/ 0 h 86"/>
                  <a:gd name="T46" fmla="*/ 0 w 67"/>
                  <a:gd name="T47" fmla="*/ 0 h 86"/>
                  <a:gd name="T48" fmla="*/ 0 w 67"/>
                  <a:gd name="T49" fmla="*/ 0 h 86"/>
                  <a:gd name="T50" fmla="*/ 0 w 67"/>
                  <a:gd name="T51" fmla="*/ 0 h 86"/>
                  <a:gd name="T52" fmla="*/ 0 w 67"/>
                  <a:gd name="T53" fmla="*/ 0 h 86"/>
                  <a:gd name="T54" fmla="*/ 0 w 67"/>
                  <a:gd name="T55" fmla="*/ 0 h 86"/>
                  <a:gd name="T56" fmla="*/ 0 w 67"/>
                  <a:gd name="T57" fmla="*/ 0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67"/>
                  <a:gd name="T88" fmla="*/ 0 h 86"/>
                  <a:gd name="T89" fmla="*/ 67 w 67"/>
                  <a:gd name="T90" fmla="*/ 86 h 8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78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0 w 49"/>
                  <a:gd name="T1" fmla="*/ 0 h 86"/>
                  <a:gd name="T2" fmla="*/ 0 w 49"/>
                  <a:gd name="T3" fmla="*/ 0 h 86"/>
                  <a:gd name="T4" fmla="*/ 0 w 49"/>
                  <a:gd name="T5" fmla="*/ 0 h 86"/>
                  <a:gd name="T6" fmla="*/ 0 w 49"/>
                  <a:gd name="T7" fmla="*/ 0 h 86"/>
                  <a:gd name="T8" fmla="*/ 0 w 49"/>
                  <a:gd name="T9" fmla="*/ 0 h 86"/>
                  <a:gd name="T10" fmla="*/ 0 w 49"/>
                  <a:gd name="T11" fmla="*/ 0 h 86"/>
                  <a:gd name="T12" fmla="*/ 0 w 49"/>
                  <a:gd name="T13" fmla="*/ 0 h 86"/>
                  <a:gd name="T14" fmla="*/ 0 w 49"/>
                  <a:gd name="T15" fmla="*/ 0 h 86"/>
                  <a:gd name="T16" fmla="*/ 0 w 49"/>
                  <a:gd name="T17" fmla="*/ 0 h 86"/>
                  <a:gd name="T18" fmla="*/ 0 w 49"/>
                  <a:gd name="T19" fmla="*/ 0 h 86"/>
                  <a:gd name="T20" fmla="*/ 0 w 49"/>
                  <a:gd name="T21" fmla="*/ 0 h 86"/>
                  <a:gd name="T22" fmla="*/ 0 w 49"/>
                  <a:gd name="T23" fmla="*/ 0 h 86"/>
                  <a:gd name="T24" fmla="*/ 0 w 49"/>
                  <a:gd name="T25" fmla="*/ 0 h 86"/>
                  <a:gd name="T26" fmla="*/ 0 w 49"/>
                  <a:gd name="T27" fmla="*/ 0 h 86"/>
                  <a:gd name="T28" fmla="*/ 0 w 49"/>
                  <a:gd name="T29" fmla="*/ 0 h 86"/>
                  <a:gd name="T30" fmla="*/ 0 w 49"/>
                  <a:gd name="T31" fmla="*/ 0 h 86"/>
                  <a:gd name="T32" fmla="*/ 0 w 49"/>
                  <a:gd name="T33" fmla="*/ 0 h 86"/>
                  <a:gd name="T34" fmla="*/ 0 w 49"/>
                  <a:gd name="T35" fmla="*/ 0 h 86"/>
                  <a:gd name="T36" fmla="*/ 0 w 49"/>
                  <a:gd name="T37" fmla="*/ 0 h 86"/>
                  <a:gd name="T38" fmla="*/ 0 w 49"/>
                  <a:gd name="T39" fmla="*/ 0 h 86"/>
                  <a:gd name="T40" fmla="*/ 0 w 49"/>
                  <a:gd name="T41" fmla="*/ 0 h 86"/>
                  <a:gd name="T42" fmla="*/ 0 w 49"/>
                  <a:gd name="T43" fmla="*/ 0 h 86"/>
                  <a:gd name="T44" fmla="*/ 0 w 49"/>
                  <a:gd name="T45" fmla="*/ 0 h 86"/>
                  <a:gd name="T46" fmla="*/ 0 w 49"/>
                  <a:gd name="T47" fmla="*/ 0 h 86"/>
                  <a:gd name="T48" fmla="*/ 0 w 49"/>
                  <a:gd name="T49" fmla="*/ 0 h 86"/>
                  <a:gd name="T50" fmla="*/ 0 w 49"/>
                  <a:gd name="T51" fmla="*/ 0 h 86"/>
                  <a:gd name="T52" fmla="*/ 0 w 49"/>
                  <a:gd name="T53" fmla="*/ 0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49"/>
                  <a:gd name="T82" fmla="*/ 0 h 86"/>
                  <a:gd name="T83" fmla="*/ 49 w 49"/>
                  <a:gd name="T84" fmla="*/ 86 h 8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79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0 h 12"/>
                  <a:gd name="T2" fmla="*/ 0 w 6"/>
                  <a:gd name="T3" fmla="*/ 0 h 12"/>
                  <a:gd name="T4" fmla="*/ 0 w 6"/>
                  <a:gd name="T5" fmla="*/ 0 h 12"/>
                  <a:gd name="T6" fmla="*/ 0 w 6"/>
                  <a:gd name="T7" fmla="*/ 0 h 12"/>
                  <a:gd name="T8" fmla="*/ 0 w 6"/>
                  <a:gd name="T9" fmla="*/ 0 h 12"/>
                  <a:gd name="T10" fmla="*/ 0 w 6"/>
                  <a:gd name="T11" fmla="*/ 0 h 12"/>
                  <a:gd name="T12" fmla="*/ 0 w 6"/>
                  <a:gd name="T13" fmla="*/ 0 h 12"/>
                  <a:gd name="T14" fmla="*/ 0 w 6"/>
                  <a:gd name="T15" fmla="*/ 0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"/>
                  <a:gd name="T25" fmla="*/ 0 h 12"/>
                  <a:gd name="T26" fmla="*/ 6 w 6"/>
                  <a:gd name="T27" fmla="*/ 12 h 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80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0 w 39"/>
                  <a:gd name="T3" fmla="*/ 0 h 48"/>
                  <a:gd name="T4" fmla="*/ 0 w 39"/>
                  <a:gd name="T5" fmla="*/ 0 h 48"/>
                  <a:gd name="T6" fmla="*/ 0 w 39"/>
                  <a:gd name="T7" fmla="*/ 0 h 48"/>
                  <a:gd name="T8" fmla="*/ 0 w 39"/>
                  <a:gd name="T9" fmla="*/ 0 h 48"/>
                  <a:gd name="T10" fmla="*/ 0 w 39"/>
                  <a:gd name="T11" fmla="*/ 0 h 48"/>
                  <a:gd name="T12" fmla="*/ 0 w 39"/>
                  <a:gd name="T13" fmla="*/ 0 h 48"/>
                  <a:gd name="T14" fmla="*/ 0 w 39"/>
                  <a:gd name="T15" fmla="*/ 0 h 48"/>
                  <a:gd name="T16" fmla="*/ 0 w 39"/>
                  <a:gd name="T17" fmla="*/ 0 h 48"/>
                  <a:gd name="T18" fmla="*/ 0 w 39"/>
                  <a:gd name="T19" fmla="*/ 0 h 48"/>
                  <a:gd name="T20" fmla="*/ 0 w 39"/>
                  <a:gd name="T21" fmla="*/ 0 h 48"/>
                  <a:gd name="T22" fmla="*/ 0 w 39"/>
                  <a:gd name="T23" fmla="*/ 0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9"/>
                  <a:gd name="T40" fmla="*/ 0 h 48"/>
                  <a:gd name="T41" fmla="*/ 39 w 39"/>
                  <a:gd name="T42" fmla="*/ 48 h 48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81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0 w 16"/>
                  <a:gd name="T1" fmla="*/ 0 h 43"/>
                  <a:gd name="T2" fmla="*/ 0 w 16"/>
                  <a:gd name="T3" fmla="*/ 0 h 43"/>
                  <a:gd name="T4" fmla="*/ 0 w 16"/>
                  <a:gd name="T5" fmla="*/ 0 h 43"/>
                  <a:gd name="T6" fmla="*/ 0 w 16"/>
                  <a:gd name="T7" fmla="*/ 0 h 43"/>
                  <a:gd name="T8" fmla="*/ 0 w 16"/>
                  <a:gd name="T9" fmla="*/ 0 h 43"/>
                  <a:gd name="T10" fmla="*/ 0 w 16"/>
                  <a:gd name="T11" fmla="*/ 0 h 43"/>
                  <a:gd name="T12" fmla="*/ 0 w 16"/>
                  <a:gd name="T13" fmla="*/ 0 h 43"/>
                  <a:gd name="T14" fmla="*/ 0 w 16"/>
                  <a:gd name="T15" fmla="*/ 0 h 43"/>
                  <a:gd name="T16" fmla="*/ 0 w 16"/>
                  <a:gd name="T17" fmla="*/ 0 h 43"/>
                  <a:gd name="T18" fmla="*/ 0 w 16"/>
                  <a:gd name="T19" fmla="*/ 0 h 43"/>
                  <a:gd name="T20" fmla="*/ 0 w 16"/>
                  <a:gd name="T21" fmla="*/ 0 h 43"/>
                  <a:gd name="T22" fmla="*/ 0 w 16"/>
                  <a:gd name="T23" fmla="*/ 0 h 43"/>
                  <a:gd name="T24" fmla="*/ 0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6"/>
                  <a:gd name="T40" fmla="*/ 0 h 43"/>
                  <a:gd name="T41" fmla="*/ 16 w 16"/>
                  <a:gd name="T42" fmla="*/ 43 h 4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82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0 w 24"/>
                  <a:gd name="T1" fmla="*/ 0 h 37"/>
                  <a:gd name="T2" fmla="*/ 0 w 24"/>
                  <a:gd name="T3" fmla="*/ 0 h 37"/>
                  <a:gd name="T4" fmla="*/ 0 w 24"/>
                  <a:gd name="T5" fmla="*/ 0 h 37"/>
                  <a:gd name="T6" fmla="*/ 0 w 24"/>
                  <a:gd name="T7" fmla="*/ 0 h 37"/>
                  <a:gd name="T8" fmla="*/ 0 w 24"/>
                  <a:gd name="T9" fmla="*/ 0 h 37"/>
                  <a:gd name="T10" fmla="*/ 0 w 24"/>
                  <a:gd name="T11" fmla="*/ 0 h 37"/>
                  <a:gd name="T12" fmla="*/ 0 w 24"/>
                  <a:gd name="T13" fmla="*/ 0 h 37"/>
                  <a:gd name="T14" fmla="*/ 0 w 24"/>
                  <a:gd name="T15" fmla="*/ 0 h 37"/>
                  <a:gd name="T16" fmla="*/ 0 w 24"/>
                  <a:gd name="T17" fmla="*/ 0 h 37"/>
                  <a:gd name="T18" fmla="*/ 0 w 24"/>
                  <a:gd name="T19" fmla="*/ 0 h 37"/>
                  <a:gd name="T20" fmla="*/ 0 w 24"/>
                  <a:gd name="T21" fmla="*/ 0 h 37"/>
                  <a:gd name="T22" fmla="*/ 0 w 24"/>
                  <a:gd name="T23" fmla="*/ 0 h 37"/>
                  <a:gd name="T24" fmla="*/ 0 w 24"/>
                  <a:gd name="T25" fmla="*/ 0 h 37"/>
                  <a:gd name="T26" fmla="*/ 0 w 24"/>
                  <a:gd name="T27" fmla="*/ 0 h 37"/>
                  <a:gd name="T28" fmla="*/ 0 w 24"/>
                  <a:gd name="T29" fmla="*/ 0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4"/>
                  <a:gd name="T46" fmla="*/ 0 h 37"/>
                  <a:gd name="T47" fmla="*/ 24 w 24"/>
                  <a:gd name="T48" fmla="*/ 37 h 37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83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0 w 34"/>
                  <a:gd name="T1" fmla="*/ 0 h 55"/>
                  <a:gd name="T2" fmla="*/ 0 w 34"/>
                  <a:gd name="T3" fmla="*/ 0 h 55"/>
                  <a:gd name="T4" fmla="*/ 0 w 34"/>
                  <a:gd name="T5" fmla="*/ 0 h 55"/>
                  <a:gd name="T6" fmla="*/ 0 w 34"/>
                  <a:gd name="T7" fmla="*/ 0 h 55"/>
                  <a:gd name="T8" fmla="*/ 0 w 34"/>
                  <a:gd name="T9" fmla="*/ 0 h 55"/>
                  <a:gd name="T10" fmla="*/ 0 w 34"/>
                  <a:gd name="T11" fmla="*/ 0 h 55"/>
                  <a:gd name="T12" fmla="*/ 0 w 34"/>
                  <a:gd name="T13" fmla="*/ 0 h 55"/>
                  <a:gd name="T14" fmla="*/ 0 w 34"/>
                  <a:gd name="T15" fmla="*/ 0 h 55"/>
                  <a:gd name="T16" fmla="*/ 0 w 34"/>
                  <a:gd name="T17" fmla="*/ 0 h 55"/>
                  <a:gd name="T18" fmla="*/ 0 w 34"/>
                  <a:gd name="T19" fmla="*/ 0 h 55"/>
                  <a:gd name="T20" fmla="*/ 0 w 34"/>
                  <a:gd name="T21" fmla="*/ 0 h 55"/>
                  <a:gd name="T22" fmla="*/ 0 w 34"/>
                  <a:gd name="T23" fmla="*/ 0 h 55"/>
                  <a:gd name="T24" fmla="*/ 0 w 34"/>
                  <a:gd name="T25" fmla="*/ 0 h 55"/>
                  <a:gd name="T26" fmla="*/ 0 w 34"/>
                  <a:gd name="T27" fmla="*/ 0 h 55"/>
                  <a:gd name="T28" fmla="*/ 0 w 34"/>
                  <a:gd name="T29" fmla="*/ 0 h 55"/>
                  <a:gd name="T30" fmla="*/ 0 w 34"/>
                  <a:gd name="T31" fmla="*/ 0 h 55"/>
                  <a:gd name="T32" fmla="*/ 0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4"/>
                  <a:gd name="T52" fmla="*/ 0 h 55"/>
                  <a:gd name="T53" fmla="*/ 34 w 34"/>
                  <a:gd name="T54" fmla="*/ 55 h 5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84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0 w 33"/>
                  <a:gd name="T3" fmla="*/ 0 h 12"/>
                  <a:gd name="T4" fmla="*/ 0 w 33"/>
                  <a:gd name="T5" fmla="*/ 0 h 12"/>
                  <a:gd name="T6" fmla="*/ 0 w 33"/>
                  <a:gd name="T7" fmla="*/ 0 h 12"/>
                  <a:gd name="T8" fmla="*/ 0 w 33"/>
                  <a:gd name="T9" fmla="*/ 0 h 12"/>
                  <a:gd name="T10" fmla="*/ 0 w 33"/>
                  <a:gd name="T11" fmla="*/ 0 h 12"/>
                  <a:gd name="T12" fmla="*/ 0 w 33"/>
                  <a:gd name="T13" fmla="*/ 0 h 12"/>
                  <a:gd name="T14" fmla="*/ 0 w 33"/>
                  <a:gd name="T15" fmla="*/ 0 h 12"/>
                  <a:gd name="T16" fmla="*/ 0 w 33"/>
                  <a:gd name="T17" fmla="*/ 0 h 12"/>
                  <a:gd name="T18" fmla="*/ 0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3"/>
                  <a:gd name="T34" fmla="*/ 0 h 12"/>
                  <a:gd name="T35" fmla="*/ 33 w 33"/>
                  <a:gd name="T36" fmla="*/ 12 h 12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5447" name="Freeform 69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7905750" y="4244975"/>
              <a:ext cx="12700" cy="57150"/>
            </a:xfrm>
            <a:custGeom>
              <a:avLst/>
              <a:gdLst>
                <a:gd name="T0" fmla="*/ 0 w 33"/>
                <a:gd name="T1" fmla="*/ 2147483647 h 62"/>
                <a:gd name="T2" fmla="*/ 0 w 33"/>
                <a:gd name="T3" fmla="*/ 2147483647 h 62"/>
                <a:gd name="T4" fmla="*/ 0 w 33"/>
                <a:gd name="T5" fmla="*/ 2147483647 h 62"/>
                <a:gd name="T6" fmla="*/ 0 w 33"/>
                <a:gd name="T7" fmla="*/ 2147483647 h 62"/>
                <a:gd name="T8" fmla="*/ 0 w 33"/>
                <a:gd name="T9" fmla="*/ 2147483647 h 62"/>
                <a:gd name="T10" fmla="*/ 0 w 33"/>
                <a:gd name="T11" fmla="*/ 2147483647 h 62"/>
                <a:gd name="T12" fmla="*/ 2147483647 w 33"/>
                <a:gd name="T13" fmla="*/ 2147483647 h 62"/>
                <a:gd name="T14" fmla="*/ 2147483647 w 33"/>
                <a:gd name="T15" fmla="*/ 2147483647 h 62"/>
                <a:gd name="T16" fmla="*/ 2147483647 w 33"/>
                <a:gd name="T17" fmla="*/ 2147483647 h 62"/>
                <a:gd name="T18" fmla="*/ 2147483647 w 33"/>
                <a:gd name="T19" fmla="*/ 2147483647 h 62"/>
                <a:gd name="T20" fmla="*/ 2147483647 w 33"/>
                <a:gd name="T21" fmla="*/ 0 h 62"/>
                <a:gd name="T22" fmla="*/ 2147483647 w 33"/>
                <a:gd name="T23" fmla="*/ 2147483647 h 62"/>
                <a:gd name="T24" fmla="*/ 2147483647 w 33"/>
                <a:gd name="T25" fmla="*/ 2147483647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3"/>
                <a:gd name="T40" fmla="*/ 0 h 62"/>
                <a:gd name="T41" fmla="*/ 33 w 33"/>
                <a:gd name="T42" fmla="*/ 62 h 6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48" name="Freeform 70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7915275" y="4335463"/>
              <a:ext cx="9525" cy="58737"/>
            </a:xfrm>
            <a:custGeom>
              <a:avLst/>
              <a:gdLst>
                <a:gd name="T0" fmla="*/ 0 w 26"/>
                <a:gd name="T1" fmla="*/ 2147483647 h 18"/>
                <a:gd name="T2" fmla="*/ 0 w 26"/>
                <a:gd name="T3" fmla="*/ 0 h 18"/>
                <a:gd name="T4" fmla="*/ 2147483647 w 26"/>
                <a:gd name="T5" fmla="*/ 0 h 18"/>
                <a:gd name="T6" fmla="*/ 2147483647 w 26"/>
                <a:gd name="T7" fmla="*/ 2147483647 h 18"/>
                <a:gd name="T8" fmla="*/ 2147483647 w 26"/>
                <a:gd name="T9" fmla="*/ 2147483647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6"/>
                <a:gd name="T16" fmla="*/ 0 h 18"/>
                <a:gd name="T17" fmla="*/ 26 w 26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49" name="Freeform 71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8029575" y="4244975"/>
              <a:ext cx="77788" cy="130175"/>
            </a:xfrm>
            <a:custGeom>
              <a:avLst/>
              <a:gdLst>
                <a:gd name="T0" fmla="*/ 2147483647 w 180"/>
                <a:gd name="T1" fmla="*/ 2147483647 h 240"/>
                <a:gd name="T2" fmla="*/ 2147483647 w 180"/>
                <a:gd name="T3" fmla="*/ 2147483647 h 240"/>
                <a:gd name="T4" fmla="*/ 2147483647 w 180"/>
                <a:gd name="T5" fmla="*/ 2147483647 h 240"/>
                <a:gd name="T6" fmla="*/ 2147483647 w 180"/>
                <a:gd name="T7" fmla="*/ 2147483647 h 240"/>
                <a:gd name="T8" fmla="*/ 2147483647 w 180"/>
                <a:gd name="T9" fmla="*/ 2147483647 h 240"/>
                <a:gd name="T10" fmla="*/ 2147483647 w 180"/>
                <a:gd name="T11" fmla="*/ 2147483647 h 240"/>
                <a:gd name="T12" fmla="*/ 2147483647 w 180"/>
                <a:gd name="T13" fmla="*/ 2147483647 h 240"/>
                <a:gd name="T14" fmla="*/ 2147483647 w 180"/>
                <a:gd name="T15" fmla="*/ 2147483647 h 240"/>
                <a:gd name="T16" fmla="*/ 2147483647 w 180"/>
                <a:gd name="T17" fmla="*/ 2147483647 h 240"/>
                <a:gd name="T18" fmla="*/ 2147483647 w 180"/>
                <a:gd name="T19" fmla="*/ 2147483647 h 240"/>
                <a:gd name="T20" fmla="*/ 2147483647 w 180"/>
                <a:gd name="T21" fmla="*/ 2147483647 h 240"/>
                <a:gd name="T22" fmla="*/ 2147483647 w 180"/>
                <a:gd name="T23" fmla="*/ 2147483647 h 240"/>
                <a:gd name="T24" fmla="*/ 2147483647 w 180"/>
                <a:gd name="T25" fmla="*/ 2147483647 h 240"/>
                <a:gd name="T26" fmla="*/ 2147483647 w 180"/>
                <a:gd name="T27" fmla="*/ 2147483647 h 240"/>
                <a:gd name="T28" fmla="*/ 2147483647 w 180"/>
                <a:gd name="T29" fmla="*/ 2147483647 h 240"/>
                <a:gd name="T30" fmla="*/ 2147483647 w 180"/>
                <a:gd name="T31" fmla="*/ 2147483647 h 240"/>
                <a:gd name="T32" fmla="*/ 2147483647 w 180"/>
                <a:gd name="T33" fmla="*/ 2147483647 h 240"/>
                <a:gd name="T34" fmla="*/ 2147483647 w 180"/>
                <a:gd name="T35" fmla="*/ 2147483647 h 240"/>
                <a:gd name="T36" fmla="*/ 2147483647 w 180"/>
                <a:gd name="T37" fmla="*/ 2147483647 h 240"/>
                <a:gd name="T38" fmla="*/ 2147483647 w 180"/>
                <a:gd name="T39" fmla="*/ 2147483647 h 240"/>
                <a:gd name="T40" fmla="*/ 2147483647 w 180"/>
                <a:gd name="T41" fmla="*/ 2147483647 h 240"/>
                <a:gd name="T42" fmla="*/ 2147483647 w 180"/>
                <a:gd name="T43" fmla="*/ 2147483647 h 240"/>
                <a:gd name="T44" fmla="*/ 2147483647 w 180"/>
                <a:gd name="T45" fmla="*/ 2147483647 h 240"/>
                <a:gd name="T46" fmla="*/ 2147483647 w 180"/>
                <a:gd name="T47" fmla="*/ 2147483647 h 240"/>
                <a:gd name="T48" fmla="*/ 2147483647 w 180"/>
                <a:gd name="T49" fmla="*/ 2147483647 h 240"/>
                <a:gd name="T50" fmla="*/ 2147483647 w 180"/>
                <a:gd name="T51" fmla="*/ 2147483647 h 240"/>
                <a:gd name="T52" fmla="*/ 2147483647 w 180"/>
                <a:gd name="T53" fmla="*/ 2147483647 h 240"/>
                <a:gd name="T54" fmla="*/ 2147483647 w 180"/>
                <a:gd name="T55" fmla="*/ 2147483647 h 240"/>
                <a:gd name="T56" fmla="*/ 0 w 180"/>
                <a:gd name="T57" fmla="*/ 2147483647 h 240"/>
                <a:gd name="T58" fmla="*/ 0 w 180"/>
                <a:gd name="T59" fmla="*/ 2147483647 h 240"/>
                <a:gd name="T60" fmla="*/ 0 w 180"/>
                <a:gd name="T61" fmla="*/ 2147483647 h 240"/>
                <a:gd name="T62" fmla="*/ 0 w 180"/>
                <a:gd name="T63" fmla="*/ 2147483647 h 240"/>
                <a:gd name="T64" fmla="*/ 0 w 180"/>
                <a:gd name="T65" fmla="*/ 0 h 240"/>
                <a:gd name="T66" fmla="*/ 2147483647 w 180"/>
                <a:gd name="T67" fmla="*/ 2147483647 h 240"/>
                <a:gd name="T68" fmla="*/ 2147483647 w 180"/>
                <a:gd name="T69" fmla="*/ 2147483647 h 240"/>
                <a:gd name="T70" fmla="*/ 2147483647 w 180"/>
                <a:gd name="T71" fmla="*/ 2147483647 h 240"/>
                <a:gd name="T72" fmla="*/ 2147483647 w 180"/>
                <a:gd name="T73" fmla="*/ 2147483647 h 240"/>
                <a:gd name="T74" fmla="*/ 2147483647 w 180"/>
                <a:gd name="T75" fmla="*/ 2147483647 h 240"/>
                <a:gd name="T76" fmla="*/ 2147483647 w 180"/>
                <a:gd name="T77" fmla="*/ 2147483647 h 240"/>
                <a:gd name="T78" fmla="*/ 2147483647 w 180"/>
                <a:gd name="T79" fmla="*/ 2147483647 h 240"/>
                <a:gd name="T80" fmla="*/ 2147483647 w 180"/>
                <a:gd name="T81" fmla="*/ 2147483647 h 240"/>
                <a:gd name="T82" fmla="*/ 2147483647 w 180"/>
                <a:gd name="T83" fmla="*/ 2147483647 h 240"/>
                <a:gd name="T84" fmla="*/ 2147483647 w 180"/>
                <a:gd name="T85" fmla="*/ 2147483647 h 240"/>
                <a:gd name="T86" fmla="*/ 2147483647 w 180"/>
                <a:gd name="T87" fmla="*/ 2147483647 h 240"/>
                <a:gd name="T88" fmla="*/ 2147483647 w 180"/>
                <a:gd name="T89" fmla="*/ 2147483647 h 240"/>
                <a:gd name="T90" fmla="*/ 2147483647 w 180"/>
                <a:gd name="T91" fmla="*/ 2147483647 h 240"/>
                <a:gd name="T92" fmla="*/ 2147483647 w 180"/>
                <a:gd name="T93" fmla="*/ 2147483647 h 240"/>
                <a:gd name="T94" fmla="*/ 2147483647 w 180"/>
                <a:gd name="T95" fmla="*/ 2147483647 h 240"/>
                <a:gd name="T96" fmla="*/ 2147483647 w 180"/>
                <a:gd name="T97" fmla="*/ 2147483647 h 240"/>
                <a:gd name="T98" fmla="*/ 2147483647 w 180"/>
                <a:gd name="T99" fmla="*/ 2147483647 h 240"/>
                <a:gd name="T100" fmla="*/ 2147483647 w 180"/>
                <a:gd name="T101" fmla="*/ 2147483647 h 240"/>
                <a:gd name="T102" fmla="*/ 2147483647 w 180"/>
                <a:gd name="T103" fmla="*/ 2147483647 h 240"/>
                <a:gd name="T104" fmla="*/ 2147483647 w 180"/>
                <a:gd name="T105" fmla="*/ 2147483647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80"/>
                <a:gd name="T160" fmla="*/ 0 h 240"/>
                <a:gd name="T161" fmla="*/ 180 w 180"/>
                <a:gd name="T162" fmla="*/ 240 h 24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50" name="Freeform 72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8029575" y="4217988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2147483647 w 27"/>
                <a:gd name="T3" fmla="*/ 2147483647 h 30"/>
                <a:gd name="T4" fmla="*/ 2147483647 w 27"/>
                <a:gd name="T5" fmla="*/ 2147483647 h 30"/>
                <a:gd name="T6" fmla="*/ 2147483647 w 27"/>
                <a:gd name="T7" fmla="*/ 2147483647 h 30"/>
                <a:gd name="T8" fmla="*/ 2147483647 w 27"/>
                <a:gd name="T9" fmla="*/ 2147483647 h 30"/>
                <a:gd name="T10" fmla="*/ 2147483647 w 27"/>
                <a:gd name="T11" fmla="*/ 2147483647 h 30"/>
                <a:gd name="T12" fmla="*/ 0 w 27"/>
                <a:gd name="T13" fmla="*/ 2147483647 h 30"/>
                <a:gd name="T14" fmla="*/ 2147483647 w 27"/>
                <a:gd name="T15" fmla="*/ 2147483647 h 30"/>
                <a:gd name="T16" fmla="*/ 2147483647 w 27"/>
                <a:gd name="T17" fmla="*/ 2147483647 h 30"/>
                <a:gd name="T18" fmla="*/ 2147483647 w 27"/>
                <a:gd name="T19" fmla="*/ 2147483647 h 30"/>
                <a:gd name="T20" fmla="*/ 2147483647 w 27"/>
                <a:gd name="T21" fmla="*/ 2147483647 h 30"/>
                <a:gd name="T22" fmla="*/ 2147483647 w 27"/>
                <a:gd name="T23" fmla="*/ 2147483647 h 30"/>
                <a:gd name="T24" fmla="*/ 2147483647 w 27"/>
                <a:gd name="T25" fmla="*/ 2147483647 h 30"/>
                <a:gd name="T26" fmla="*/ 2147483647 w 27"/>
                <a:gd name="T27" fmla="*/ 2147483647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7"/>
                <a:gd name="T46" fmla="*/ 0 h 30"/>
                <a:gd name="T47" fmla="*/ 27 w 27"/>
                <a:gd name="T48" fmla="*/ 30 h 3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15451" name="Group 73"/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7720013" y="4738688"/>
              <a:ext cx="458787" cy="404812"/>
              <a:chOff x="5372" y="3323"/>
              <a:chExt cx="341" cy="253"/>
            </a:xfrm>
          </p:grpSpPr>
          <p:sp>
            <p:nvSpPr>
              <p:cNvPr id="15972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0 h 33"/>
                  <a:gd name="T2" fmla="*/ 0 w 53"/>
                  <a:gd name="T3" fmla="*/ 0 h 33"/>
                  <a:gd name="T4" fmla="*/ 0 w 53"/>
                  <a:gd name="T5" fmla="*/ 0 h 33"/>
                  <a:gd name="T6" fmla="*/ 0 w 53"/>
                  <a:gd name="T7" fmla="*/ 0 h 33"/>
                  <a:gd name="T8" fmla="*/ 0 w 53"/>
                  <a:gd name="T9" fmla="*/ 0 h 33"/>
                  <a:gd name="T10" fmla="*/ 0 w 53"/>
                  <a:gd name="T11" fmla="*/ 0 h 33"/>
                  <a:gd name="T12" fmla="*/ 0 w 53"/>
                  <a:gd name="T13" fmla="*/ 0 h 33"/>
                  <a:gd name="T14" fmla="*/ 0 w 53"/>
                  <a:gd name="T15" fmla="*/ 0 h 33"/>
                  <a:gd name="T16" fmla="*/ 0 w 53"/>
                  <a:gd name="T17" fmla="*/ 0 h 33"/>
                  <a:gd name="T18" fmla="*/ 0 w 53"/>
                  <a:gd name="T19" fmla="*/ 0 h 33"/>
                  <a:gd name="T20" fmla="*/ 0 w 53"/>
                  <a:gd name="T21" fmla="*/ 0 h 33"/>
                  <a:gd name="T22" fmla="*/ 0 w 53"/>
                  <a:gd name="T23" fmla="*/ 0 h 33"/>
                  <a:gd name="T24" fmla="*/ 0 w 53"/>
                  <a:gd name="T25" fmla="*/ 0 h 33"/>
                  <a:gd name="T26" fmla="*/ 0 w 53"/>
                  <a:gd name="T27" fmla="*/ 0 h 33"/>
                  <a:gd name="T28" fmla="*/ 0 w 53"/>
                  <a:gd name="T29" fmla="*/ 0 h 33"/>
                  <a:gd name="T30" fmla="*/ 0 w 53"/>
                  <a:gd name="T31" fmla="*/ 0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53"/>
                  <a:gd name="T49" fmla="*/ 0 h 33"/>
                  <a:gd name="T50" fmla="*/ 53 w 53"/>
                  <a:gd name="T51" fmla="*/ 33 h 33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73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0 w 631"/>
                  <a:gd name="T1" fmla="*/ 0 h 358"/>
                  <a:gd name="T2" fmla="*/ 0 w 631"/>
                  <a:gd name="T3" fmla="*/ 0 h 358"/>
                  <a:gd name="T4" fmla="*/ 0 w 631"/>
                  <a:gd name="T5" fmla="*/ 0 h 358"/>
                  <a:gd name="T6" fmla="*/ 0 w 631"/>
                  <a:gd name="T7" fmla="*/ 0 h 358"/>
                  <a:gd name="T8" fmla="*/ 0 w 631"/>
                  <a:gd name="T9" fmla="*/ 0 h 358"/>
                  <a:gd name="T10" fmla="*/ 0 w 631"/>
                  <a:gd name="T11" fmla="*/ 0 h 358"/>
                  <a:gd name="T12" fmla="*/ 0 w 631"/>
                  <a:gd name="T13" fmla="*/ 0 h 358"/>
                  <a:gd name="T14" fmla="*/ 0 w 631"/>
                  <a:gd name="T15" fmla="*/ 0 h 358"/>
                  <a:gd name="T16" fmla="*/ 0 w 631"/>
                  <a:gd name="T17" fmla="*/ 0 h 358"/>
                  <a:gd name="T18" fmla="*/ 0 w 631"/>
                  <a:gd name="T19" fmla="*/ 0 h 358"/>
                  <a:gd name="T20" fmla="*/ 0 w 631"/>
                  <a:gd name="T21" fmla="*/ 0 h 358"/>
                  <a:gd name="T22" fmla="*/ 0 w 631"/>
                  <a:gd name="T23" fmla="*/ 0 h 358"/>
                  <a:gd name="T24" fmla="*/ 0 w 631"/>
                  <a:gd name="T25" fmla="*/ 0 h 358"/>
                  <a:gd name="T26" fmla="*/ 0 w 631"/>
                  <a:gd name="T27" fmla="*/ 0 h 358"/>
                  <a:gd name="T28" fmla="*/ 0 w 631"/>
                  <a:gd name="T29" fmla="*/ 0 h 358"/>
                  <a:gd name="T30" fmla="*/ 0 w 631"/>
                  <a:gd name="T31" fmla="*/ 0 h 358"/>
                  <a:gd name="T32" fmla="*/ 0 w 631"/>
                  <a:gd name="T33" fmla="*/ 0 h 358"/>
                  <a:gd name="T34" fmla="*/ 0 w 631"/>
                  <a:gd name="T35" fmla="*/ 0 h 358"/>
                  <a:gd name="T36" fmla="*/ 0 w 631"/>
                  <a:gd name="T37" fmla="*/ 0 h 358"/>
                  <a:gd name="T38" fmla="*/ 0 w 631"/>
                  <a:gd name="T39" fmla="*/ 0 h 358"/>
                  <a:gd name="T40" fmla="*/ 0 w 631"/>
                  <a:gd name="T41" fmla="*/ 0 h 358"/>
                  <a:gd name="T42" fmla="*/ 0 w 631"/>
                  <a:gd name="T43" fmla="*/ 0 h 358"/>
                  <a:gd name="T44" fmla="*/ 0 w 631"/>
                  <a:gd name="T45" fmla="*/ 0 h 358"/>
                  <a:gd name="T46" fmla="*/ 0 w 631"/>
                  <a:gd name="T47" fmla="*/ 0 h 358"/>
                  <a:gd name="T48" fmla="*/ 0 w 631"/>
                  <a:gd name="T49" fmla="*/ 0 h 358"/>
                  <a:gd name="T50" fmla="*/ 0 w 631"/>
                  <a:gd name="T51" fmla="*/ 0 h 358"/>
                  <a:gd name="T52" fmla="*/ 0 w 631"/>
                  <a:gd name="T53" fmla="*/ 0 h 358"/>
                  <a:gd name="T54" fmla="*/ 0 w 631"/>
                  <a:gd name="T55" fmla="*/ 0 h 358"/>
                  <a:gd name="T56" fmla="*/ 0 w 631"/>
                  <a:gd name="T57" fmla="*/ 0 h 358"/>
                  <a:gd name="T58" fmla="*/ 0 w 631"/>
                  <a:gd name="T59" fmla="*/ 0 h 358"/>
                  <a:gd name="T60" fmla="*/ 0 w 631"/>
                  <a:gd name="T61" fmla="*/ 0 h 358"/>
                  <a:gd name="T62" fmla="*/ 0 w 631"/>
                  <a:gd name="T63" fmla="*/ 0 h 358"/>
                  <a:gd name="T64" fmla="*/ 0 w 631"/>
                  <a:gd name="T65" fmla="*/ 0 h 358"/>
                  <a:gd name="T66" fmla="*/ 0 w 631"/>
                  <a:gd name="T67" fmla="*/ 0 h 358"/>
                  <a:gd name="T68" fmla="*/ 0 w 631"/>
                  <a:gd name="T69" fmla="*/ 0 h 358"/>
                  <a:gd name="T70" fmla="*/ 0 w 631"/>
                  <a:gd name="T71" fmla="*/ 0 h 358"/>
                  <a:gd name="T72" fmla="*/ 0 w 631"/>
                  <a:gd name="T73" fmla="*/ 0 h 358"/>
                  <a:gd name="T74" fmla="*/ 0 w 631"/>
                  <a:gd name="T75" fmla="*/ 0 h 358"/>
                  <a:gd name="T76" fmla="*/ 0 w 631"/>
                  <a:gd name="T77" fmla="*/ 0 h 358"/>
                  <a:gd name="T78" fmla="*/ 0 w 631"/>
                  <a:gd name="T79" fmla="*/ 0 h 358"/>
                  <a:gd name="T80" fmla="*/ 0 w 631"/>
                  <a:gd name="T81" fmla="*/ 0 h 358"/>
                  <a:gd name="T82" fmla="*/ 0 w 631"/>
                  <a:gd name="T83" fmla="*/ 0 h 358"/>
                  <a:gd name="T84" fmla="*/ 0 w 631"/>
                  <a:gd name="T85" fmla="*/ 0 h 358"/>
                  <a:gd name="T86" fmla="*/ 0 w 631"/>
                  <a:gd name="T87" fmla="*/ 0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631"/>
                  <a:gd name="T133" fmla="*/ 0 h 358"/>
                  <a:gd name="T134" fmla="*/ 631 w 631"/>
                  <a:gd name="T135" fmla="*/ 358 h 358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74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0 w 359"/>
                  <a:gd name="T1" fmla="*/ 0 h 431"/>
                  <a:gd name="T2" fmla="*/ 0 w 359"/>
                  <a:gd name="T3" fmla="*/ 0 h 431"/>
                  <a:gd name="T4" fmla="*/ 0 w 359"/>
                  <a:gd name="T5" fmla="*/ 0 h 431"/>
                  <a:gd name="T6" fmla="*/ 0 w 359"/>
                  <a:gd name="T7" fmla="*/ 0 h 431"/>
                  <a:gd name="T8" fmla="*/ 0 w 359"/>
                  <a:gd name="T9" fmla="*/ 0 h 431"/>
                  <a:gd name="T10" fmla="*/ 0 w 359"/>
                  <a:gd name="T11" fmla="*/ 0 h 431"/>
                  <a:gd name="T12" fmla="*/ 0 w 359"/>
                  <a:gd name="T13" fmla="*/ 0 h 431"/>
                  <a:gd name="T14" fmla="*/ 0 w 359"/>
                  <a:gd name="T15" fmla="*/ 0 h 431"/>
                  <a:gd name="T16" fmla="*/ 0 w 359"/>
                  <a:gd name="T17" fmla="*/ 0 h 431"/>
                  <a:gd name="T18" fmla="*/ 0 w 359"/>
                  <a:gd name="T19" fmla="*/ 0 h 431"/>
                  <a:gd name="T20" fmla="*/ 0 w 359"/>
                  <a:gd name="T21" fmla="*/ 0 h 431"/>
                  <a:gd name="T22" fmla="*/ 0 w 359"/>
                  <a:gd name="T23" fmla="*/ 0 h 431"/>
                  <a:gd name="T24" fmla="*/ 0 w 359"/>
                  <a:gd name="T25" fmla="*/ 0 h 431"/>
                  <a:gd name="T26" fmla="*/ 0 w 359"/>
                  <a:gd name="T27" fmla="*/ 0 h 431"/>
                  <a:gd name="T28" fmla="*/ 0 w 359"/>
                  <a:gd name="T29" fmla="*/ 0 h 431"/>
                  <a:gd name="T30" fmla="*/ 0 w 359"/>
                  <a:gd name="T31" fmla="*/ 0 h 431"/>
                  <a:gd name="T32" fmla="*/ 0 w 359"/>
                  <a:gd name="T33" fmla="*/ 0 h 431"/>
                  <a:gd name="T34" fmla="*/ 0 w 359"/>
                  <a:gd name="T35" fmla="*/ 0 h 431"/>
                  <a:gd name="T36" fmla="*/ 0 w 359"/>
                  <a:gd name="T37" fmla="*/ 0 h 431"/>
                  <a:gd name="T38" fmla="*/ 0 w 359"/>
                  <a:gd name="T39" fmla="*/ 0 h 431"/>
                  <a:gd name="T40" fmla="*/ 0 w 359"/>
                  <a:gd name="T41" fmla="*/ 0 h 431"/>
                  <a:gd name="T42" fmla="*/ 0 w 359"/>
                  <a:gd name="T43" fmla="*/ 0 h 431"/>
                  <a:gd name="T44" fmla="*/ 0 w 359"/>
                  <a:gd name="T45" fmla="*/ 0 h 431"/>
                  <a:gd name="T46" fmla="*/ 0 w 359"/>
                  <a:gd name="T47" fmla="*/ 0 h 431"/>
                  <a:gd name="T48" fmla="*/ 0 w 359"/>
                  <a:gd name="T49" fmla="*/ 0 h 431"/>
                  <a:gd name="T50" fmla="*/ 0 w 359"/>
                  <a:gd name="T51" fmla="*/ 0 h 431"/>
                  <a:gd name="T52" fmla="*/ 0 w 359"/>
                  <a:gd name="T53" fmla="*/ 0 h 431"/>
                  <a:gd name="T54" fmla="*/ 0 w 359"/>
                  <a:gd name="T55" fmla="*/ 0 h 431"/>
                  <a:gd name="T56" fmla="*/ 0 w 359"/>
                  <a:gd name="T57" fmla="*/ 0 h 431"/>
                  <a:gd name="T58" fmla="*/ 0 w 359"/>
                  <a:gd name="T59" fmla="*/ 0 h 431"/>
                  <a:gd name="T60" fmla="*/ 0 w 359"/>
                  <a:gd name="T61" fmla="*/ 0 h 431"/>
                  <a:gd name="T62" fmla="*/ 0 w 359"/>
                  <a:gd name="T63" fmla="*/ 0 h 431"/>
                  <a:gd name="T64" fmla="*/ 0 w 359"/>
                  <a:gd name="T65" fmla="*/ 0 h 431"/>
                  <a:gd name="T66" fmla="*/ 0 w 359"/>
                  <a:gd name="T67" fmla="*/ 0 h 431"/>
                  <a:gd name="T68" fmla="*/ 0 w 359"/>
                  <a:gd name="T69" fmla="*/ 0 h 431"/>
                  <a:gd name="T70" fmla="*/ 0 w 359"/>
                  <a:gd name="T71" fmla="*/ 0 h 431"/>
                  <a:gd name="T72" fmla="*/ 0 w 359"/>
                  <a:gd name="T73" fmla="*/ 0 h 431"/>
                  <a:gd name="T74" fmla="*/ 0 w 359"/>
                  <a:gd name="T75" fmla="*/ 0 h 431"/>
                  <a:gd name="T76" fmla="*/ 0 w 359"/>
                  <a:gd name="T77" fmla="*/ 0 h 431"/>
                  <a:gd name="T78" fmla="*/ 0 w 359"/>
                  <a:gd name="T79" fmla="*/ 0 h 431"/>
                  <a:gd name="T80" fmla="*/ 0 w 359"/>
                  <a:gd name="T81" fmla="*/ 0 h 431"/>
                  <a:gd name="T82" fmla="*/ 0 w 359"/>
                  <a:gd name="T83" fmla="*/ 0 h 431"/>
                  <a:gd name="T84" fmla="*/ 0 w 359"/>
                  <a:gd name="T85" fmla="*/ 0 h 431"/>
                  <a:gd name="T86" fmla="*/ 0 w 359"/>
                  <a:gd name="T87" fmla="*/ 0 h 431"/>
                  <a:gd name="T88" fmla="*/ 0 w 359"/>
                  <a:gd name="T89" fmla="*/ 0 h 431"/>
                  <a:gd name="T90" fmla="*/ 0 w 359"/>
                  <a:gd name="T91" fmla="*/ 0 h 431"/>
                  <a:gd name="T92" fmla="*/ 0 w 359"/>
                  <a:gd name="T93" fmla="*/ 0 h 431"/>
                  <a:gd name="T94" fmla="*/ 0 w 359"/>
                  <a:gd name="T95" fmla="*/ 0 h 431"/>
                  <a:gd name="T96" fmla="*/ 0 w 359"/>
                  <a:gd name="T97" fmla="*/ 0 h 431"/>
                  <a:gd name="T98" fmla="*/ 0 w 359"/>
                  <a:gd name="T99" fmla="*/ 0 h 431"/>
                  <a:gd name="T100" fmla="*/ 0 w 359"/>
                  <a:gd name="T101" fmla="*/ 0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359"/>
                  <a:gd name="T154" fmla="*/ 0 h 431"/>
                  <a:gd name="T155" fmla="*/ 359 w 359"/>
                  <a:gd name="T156" fmla="*/ 431 h 431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5452" name="Freeform 77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7362825" y="3395663"/>
              <a:ext cx="9525" cy="57150"/>
            </a:xfrm>
            <a:custGeom>
              <a:avLst/>
              <a:gdLst>
                <a:gd name="T0" fmla="*/ 0 w 21"/>
                <a:gd name="T1" fmla="*/ 2147483647 h 62"/>
                <a:gd name="T2" fmla="*/ 2147483647 w 21"/>
                <a:gd name="T3" fmla="*/ 2147483647 h 62"/>
                <a:gd name="T4" fmla="*/ 2147483647 w 21"/>
                <a:gd name="T5" fmla="*/ 2147483647 h 62"/>
                <a:gd name="T6" fmla="*/ 2147483647 w 21"/>
                <a:gd name="T7" fmla="*/ 2147483647 h 62"/>
                <a:gd name="T8" fmla="*/ 2147483647 w 21"/>
                <a:gd name="T9" fmla="*/ 2147483647 h 62"/>
                <a:gd name="T10" fmla="*/ 2147483647 w 21"/>
                <a:gd name="T11" fmla="*/ 2147483647 h 62"/>
                <a:gd name="T12" fmla="*/ 2147483647 w 21"/>
                <a:gd name="T13" fmla="*/ 0 h 62"/>
                <a:gd name="T14" fmla="*/ 2147483647 w 21"/>
                <a:gd name="T15" fmla="*/ 2147483647 h 62"/>
                <a:gd name="T16" fmla="*/ 2147483647 w 21"/>
                <a:gd name="T17" fmla="*/ 2147483647 h 62"/>
                <a:gd name="T18" fmla="*/ 2147483647 w 21"/>
                <a:gd name="T19" fmla="*/ 2147483647 h 62"/>
                <a:gd name="T20" fmla="*/ 2147483647 w 21"/>
                <a:gd name="T21" fmla="*/ 2147483647 h 62"/>
                <a:gd name="T22" fmla="*/ 2147483647 w 21"/>
                <a:gd name="T23" fmla="*/ 2147483647 h 62"/>
                <a:gd name="T24" fmla="*/ 0 w 21"/>
                <a:gd name="T25" fmla="*/ 2147483647 h 62"/>
                <a:gd name="T26" fmla="*/ 0 w 21"/>
                <a:gd name="T27" fmla="*/ 2147483647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1"/>
                <a:gd name="T43" fmla="*/ 0 h 62"/>
                <a:gd name="T44" fmla="*/ 21 w 21"/>
                <a:gd name="T45" fmla="*/ 62 h 6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53" name="Freeform 78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8089900" y="4297363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2147483647 w 33"/>
                <a:gd name="T3" fmla="*/ 2147483647 h 24"/>
                <a:gd name="T4" fmla="*/ 2147483647 w 33"/>
                <a:gd name="T5" fmla="*/ 2147483647 h 24"/>
                <a:gd name="T6" fmla="*/ 2147483647 w 33"/>
                <a:gd name="T7" fmla="*/ 2147483647 h 24"/>
                <a:gd name="T8" fmla="*/ 2147483647 w 33"/>
                <a:gd name="T9" fmla="*/ 2147483647 h 24"/>
                <a:gd name="T10" fmla="*/ 2147483647 w 33"/>
                <a:gd name="T11" fmla="*/ 2147483647 h 24"/>
                <a:gd name="T12" fmla="*/ 2147483647 w 33"/>
                <a:gd name="T13" fmla="*/ 2147483647 h 24"/>
                <a:gd name="T14" fmla="*/ 2147483647 w 33"/>
                <a:gd name="T15" fmla="*/ 0 h 24"/>
                <a:gd name="T16" fmla="*/ 2147483647 w 33"/>
                <a:gd name="T17" fmla="*/ 0 h 24"/>
                <a:gd name="T18" fmla="*/ 2147483647 w 33"/>
                <a:gd name="T19" fmla="*/ 0 h 24"/>
                <a:gd name="T20" fmla="*/ 2147483647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3"/>
                <a:gd name="T37" fmla="*/ 0 h 24"/>
                <a:gd name="T38" fmla="*/ 33 w 33"/>
                <a:gd name="T39" fmla="*/ 24 h 2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54" name="Freeform 7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8112125" y="4306888"/>
              <a:ext cx="17463" cy="58737"/>
            </a:xfrm>
            <a:custGeom>
              <a:avLst/>
              <a:gdLst>
                <a:gd name="T0" fmla="*/ 2147483647 w 33"/>
                <a:gd name="T1" fmla="*/ 2147483647 h 25"/>
                <a:gd name="T2" fmla="*/ 2147483647 w 33"/>
                <a:gd name="T3" fmla="*/ 2147483647 h 25"/>
                <a:gd name="T4" fmla="*/ 2147483647 w 33"/>
                <a:gd name="T5" fmla="*/ 2147483647 h 25"/>
                <a:gd name="T6" fmla="*/ 2147483647 w 33"/>
                <a:gd name="T7" fmla="*/ 0 h 25"/>
                <a:gd name="T8" fmla="*/ 2147483647 w 33"/>
                <a:gd name="T9" fmla="*/ 0 h 25"/>
                <a:gd name="T10" fmla="*/ 2147483647 w 33"/>
                <a:gd name="T11" fmla="*/ 0 h 25"/>
                <a:gd name="T12" fmla="*/ 2147483647 w 33"/>
                <a:gd name="T13" fmla="*/ 0 h 25"/>
                <a:gd name="T14" fmla="*/ 0 w 33"/>
                <a:gd name="T15" fmla="*/ 0 h 25"/>
                <a:gd name="T16" fmla="*/ 2147483647 w 33"/>
                <a:gd name="T17" fmla="*/ 214748364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3"/>
                <a:gd name="T28" fmla="*/ 0 h 25"/>
                <a:gd name="T29" fmla="*/ 33 w 33"/>
                <a:gd name="T30" fmla="*/ 25 h 2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55" name="Freeform 80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7426325" y="3384550"/>
              <a:ext cx="1588" cy="55563"/>
            </a:xfrm>
            <a:custGeom>
              <a:avLst/>
              <a:gdLst>
                <a:gd name="T0" fmla="*/ 0 w 7"/>
                <a:gd name="T1" fmla="*/ 0 h 55563"/>
                <a:gd name="T2" fmla="*/ 2147483647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  <a:gd name="T9" fmla="*/ 0 w 7"/>
                <a:gd name="T10" fmla="*/ 0 h 55563"/>
                <a:gd name="T11" fmla="*/ 7 w 7"/>
                <a:gd name="T12" fmla="*/ 55563 h 5556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56" name="Freeform 81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7485063" y="3328988"/>
              <a:ext cx="6350" cy="57150"/>
            </a:xfrm>
            <a:custGeom>
              <a:avLst/>
              <a:gdLst>
                <a:gd name="T0" fmla="*/ 2147483647 w 16"/>
                <a:gd name="T1" fmla="*/ 0 h 25"/>
                <a:gd name="T2" fmla="*/ 2147483647 w 16"/>
                <a:gd name="T3" fmla="*/ 2147483647 h 25"/>
                <a:gd name="T4" fmla="*/ 2147483647 w 16"/>
                <a:gd name="T5" fmla="*/ 2147483647 h 25"/>
                <a:gd name="T6" fmla="*/ 2147483647 w 16"/>
                <a:gd name="T7" fmla="*/ 2147483647 h 25"/>
                <a:gd name="T8" fmla="*/ 2147483647 w 16"/>
                <a:gd name="T9" fmla="*/ 2147483647 h 25"/>
                <a:gd name="T10" fmla="*/ 2147483647 w 16"/>
                <a:gd name="T11" fmla="*/ 2147483647 h 25"/>
                <a:gd name="T12" fmla="*/ 2147483647 w 16"/>
                <a:gd name="T13" fmla="*/ 2147483647 h 25"/>
                <a:gd name="T14" fmla="*/ 2147483647 w 16"/>
                <a:gd name="T15" fmla="*/ 2147483647 h 25"/>
                <a:gd name="T16" fmla="*/ 0 w 16"/>
                <a:gd name="T17" fmla="*/ 2147483647 h 25"/>
                <a:gd name="T18" fmla="*/ 2147483647 w 16"/>
                <a:gd name="T19" fmla="*/ 2147483647 h 25"/>
                <a:gd name="T20" fmla="*/ 2147483647 w 16"/>
                <a:gd name="T21" fmla="*/ 2147483647 h 25"/>
                <a:gd name="T22" fmla="*/ 2147483647 w 16"/>
                <a:gd name="T23" fmla="*/ 2147483647 h 25"/>
                <a:gd name="T24" fmla="*/ 2147483647 w 16"/>
                <a:gd name="T25" fmla="*/ 2147483647 h 25"/>
                <a:gd name="T26" fmla="*/ 2147483647 w 16"/>
                <a:gd name="T27" fmla="*/ 2147483647 h 25"/>
                <a:gd name="T28" fmla="*/ 2147483647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6"/>
                <a:gd name="T46" fmla="*/ 0 h 25"/>
                <a:gd name="T47" fmla="*/ 16 w 16"/>
                <a:gd name="T48" fmla="*/ 25 h 2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57" name="Freeform 82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7597775" y="3217863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2147483647 w 14"/>
                <a:gd name="T3" fmla="*/ 2147483647 h 18"/>
                <a:gd name="T4" fmla="*/ 2147483647 w 14"/>
                <a:gd name="T5" fmla="*/ 2147483647 h 18"/>
                <a:gd name="T6" fmla="*/ 2147483647 w 14"/>
                <a:gd name="T7" fmla="*/ 2147483647 h 18"/>
                <a:gd name="T8" fmla="*/ 2147483647 w 14"/>
                <a:gd name="T9" fmla="*/ 2147483647 h 18"/>
                <a:gd name="T10" fmla="*/ 2147483647 w 14"/>
                <a:gd name="T11" fmla="*/ 2147483647 h 18"/>
                <a:gd name="T12" fmla="*/ 2147483647 w 14"/>
                <a:gd name="T13" fmla="*/ 2147483647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18"/>
                <a:gd name="T26" fmla="*/ 14 w 14"/>
                <a:gd name="T27" fmla="*/ 18 h 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58" name="Freeform 83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7750175" y="3916363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2147483647 w 67"/>
                <a:gd name="T3" fmla="*/ 2147483647 h 74"/>
                <a:gd name="T4" fmla="*/ 2147483647 w 67"/>
                <a:gd name="T5" fmla="*/ 2147483647 h 74"/>
                <a:gd name="T6" fmla="*/ 2147483647 w 67"/>
                <a:gd name="T7" fmla="*/ 2147483647 h 74"/>
                <a:gd name="T8" fmla="*/ 2147483647 w 67"/>
                <a:gd name="T9" fmla="*/ 2147483647 h 74"/>
                <a:gd name="T10" fmla="*/ 2147483647 w 67"/>
                <a:gd name="T11" fmla="*/ 2147483647 h 74"/>
                <a:gd name="T12" fmla="*/ 2147483647 w 67"/>
                <a:gd name="T13" fmla="*/ 2147483647 h 74"/>
                <a:gd name="T14" fmla="*/ 2147483647 w 67"/>
                <a:gd name="T15" fmla="*/ 2147483647 h 74"/>
                <a:gd name="T16" fmla="*/ 2147483647 w 67"/>
                <a:gd name="T17" fmla="*/ 2147483647 h 74"/>
                <a:gd name="T18" fmla="*/ 2147483647 w 67"/>
                <a:gd name="T19" fmla="*/ 2147483647 h 74"/>
                <a:gd name="T20" fmla="*/ 2147483647 w 67"/>
                <a:gd name="T21" fmla="*/ 2147483647 h 74"/>
                <a:gd name="T22" fmla="*/ 2147483647 w 67"/>
                <a:gd name="T23" fmla="*/ 2147483647 h 74"/>
                <a:gd name="T24" fmla="*/ 2147483647 w 67"/>
                <a:gd name="T25" fmla="*/ 2147483647 h 74"/>
                <a:gd name="T26" fmla="*/ 2147483647 w 67"/>
                <a:gd name="T27" fmla="*/ 2147483647 h 74"/>
                <a:gd name="T28" fmla="*/ 2147483647 w 67"/>
                <a:gd name="T29" fmla="*/ 2147483647 h 74"/>
                <a:gd name="T30" fmla="*/ 2147483647 w 67"/>
                <a:gd name="T31" fmla="*/ 2147483647 h 74"/>
                <a:gd name="T32" fmla="*/ 2147483647 w 67"/>
                <a:gd name="T33" fmla="*/ 2147483647 h 74"/>
                <a:gd name="T34" fmla="*/ 2147483647 w 67"/>
                <a:gd name="T35" fmla="*/ 2147483647 h 74"/>
                <a:gd name="T36" fmla="*/ 2147483647 w 67"/>
                <a:gd name="T37" fmla="*/ 0 h 74"/>
                <a:gd name="T38" fmla="*/ 2147483647 w 67"/>
                <a:gd name="T39" fmla="*/ 0 h 74"/>
                <a:gd name="T40" fmla="*/ 2147483647 w 67"/>
                <a:gd name="T41" fmla="*/ 0 h 74"/>
                <a:gd name="T42" fmla="*/ 2147483647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7"/>
                <a:gd name="T70" fmla="*/ 0 h 74"/>
                <a:gd name="T71" fmla="*/ 67 w 67"/>
                <a:gd name="T72" fmla="*/ 74 h 7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59" name="Freeform 84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7813675" y="3930650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2147483647 w 34"/>
                <a:gd name="T3" fmla="*/ 2147483647 h 38"/>
                <a:gd name="T4" fmla="*/ 2147483647 w 34"/>
                <a:gd name="T5" fmla="*/ 2147483647 h 38"/>
                <a:gd name="T6" fmla="*/ 2147483647 w 34"/>
                <a:gd name="T7" fmla="*/ 2147483647 h 38"/>
                <a:gd name="T8" fmla="*/ 2147483647 w 34"/>
                <a:gd name="T9" fmla="*/ 2147483647 h 38"/>
                <a:gd name="T10" fmla="*/ 2147483647 w 34"/>
                <a:gd name="T11" fmla="*/ 2147483647 h 38"/>
                <a:gd name="T12" fmla="*/ 2147483647 w 34"/>
                <a:gd name="T13" fmla="*/ 2147483647 h 38"/>
                <a:gd name="T14" fmla="*/ 2147483647 w 34"/>
                <a:gd name="T15" fmla="*/ 2147483647 h 38"/>
                <a:gd name="T16" fmla="*/ 2147483647 w 34"/>
                <a:gd name="T17" fmla="*/ 2147483647 h 38"/>
                <a:gd name="T18" fmla="*/ 2147483647 w 34"/>
                <a:gd name="T19" fmla="*/ 2147483647 h 38"/>
                <a:gd name="T20" fmla="*/ 2147483647 w 34"/>
                <a:gd name="T21" fmla="*/ 2147483647 h 38"/>
                <a:gd name="T22" fmla="*/ 2147483647 w 34"/>
                <a:gd name="T23" fmla="*/ 2147483647 h 38"/>
                <a:gd name="T24" fmla="*/ 2147483647 w 34"/>
                <a:gd name="T25" fmla="*/ 2147483647 h 38"/>
                <a:gd name="T26" fmla="*/ 2147483647 w 34"/>
                <a:gd name="T27" fmla="*/ 2147483647 h 38"/>
                <a:gd name="T28" fmla="*/ 2147483647 w 34"/>
                <a:gd name="T29" fmla="*/ 2147483647 h 38"/>
                <a:gd name="T30" fmla="*/ 2147483647 w 34"/>
                <a:gd name="T31" fmla="*/ 2147483647 h 38"/>
                <a:gd name="T32" fmla="*/ 2147483647 w 34"/>
                <a:gd name="T33" fmla="*/ 2147483647 h 38"/>
                <a:gd name="T34" fmla="*/ 2147483647 w 34"/>
                <a:gd name="T35" fmla="*/ 2147483647 h 38"/>
                <a:gd name="T36" fmla="*/ 2147483647 w 34"/>
                <a:gd name="T37" fmla="*/ 2147483647 h 38"/>
                <a:gd name="T38" fmla="*/ 2147483647 w 34"/>
                <a:gd name="T39" fmla="*/ 2147483647 h 38"/>
                <a:gd name="T40" fmla="*/ 2147483647 w 34"/>
                <a:gd name="T41" fmla="*/ 0 h 38"/>
                <a:gd name="T42" fmla="*/ 2147483647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4"/>
                <a:gd name="T70" fmla="*/ 0 h 38"/>
                <a:gd name="T71" fmla="*/ 34 w 34"/>
                <a:gd name="T72" fmla="*/ 38 h 3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60" name="Freeform 85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7670800" y="3706813"/>
              <a:ext cx="25400" cy="55562"/>
            </a:xfrm>
            <a:custGeom>
              <a:avLst/>
              <a:gdLst>
                <a:gd name="T0" fmla="*/ 2147483647 w 53"/>
                <a:gd name="T1" fmla="*/ 2147483647 h 23"/>
                <a:gd name="T2" fmla="*/ 2147483647 w 53"/>
                <a:gd name="T3" fmla="*/ 2147483647 h 23"/>
                <a:gd name="T4" fmla="*/ 2147483647 w 53"/>
                <a:gd name="T5" fmla="*/ 2147483647 h 23"/>
                <a:gd name="T6" fmla="*/ 2147483647 w 53"/>
                <a:gd name="T7" fmla="*/ 2147483647 h 23"/>
                <a:gd name="T8" fmla="*/ 2147483647 w 53"/>
                <a:gd name="T9" fmla="*/ 0 h 23"/>
                <a:gd name="T10" fmla="*/ 2147483647 w 53"/>
                <a:gd name="T11" fmla="*/ 0 h 23"/>
                <a:gd name="T12" fmla="*/ 2147483647 w 53"/>
                <a:gd name="T13" fmla="*/ 2147483647 h 23"/>
                <a:gd name="T14" fmla="*/ 2147483647 w 53"/>
                <a:gd name="T15" fmla="*/ 2147483647 h 23"/>
                <a:gd name="T16" fmla="*/ 2147483647 w 53"/>
                <a:gd name="T17" fmla="*/ 2147483647 h 23"/>
                <a:gd name="T18" fmla="*/ 0 w 53"/>
                <a:gd name="T19" fmla="*/ 2147483647 h 23"/>
                <a:gd name="T20" fmla="*/ 2147483647 w 53"/>
                <a:gd name="T21" fmla="*/ 2147483647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3"/>
                <a:gd name="T34" fmla="*/ 0 h 23"/>
                <a:gd name="T35" fmla="*/ 53 w 53"/>
                <a:gd name="T36" fmla="*/ 23 h 2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61" name="Freeform 86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7613650" y="3681413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2147483647 w 26"/>
                <a:gd name="T3" fmla="*/ 2147483647 h 12"/>
                <a:gd name="T4" fmla="*/ 2147483647 w 26"/>
                <a:gd name="T5" fmla="*/ 2147483647 h 12"/>
                <a:gd name="T6" fmla="*/ 2147483647 w 26"/>
                <a:gd name="T7" fmla="*/ 2147483647 h 12"/>
                <a:gd name="T8" fmla="*/ 2147483647 w 26"/>
                <a:gd name="T9" fmla="*/ 2147483647 h 12"/>
                <a:gd name="T10" fmla="*/ 2147483647 w 26"/>
                <a:gd name="T11" fmla="*/ 2147483647 h 12"/>
                <a:gd name="T12" fmla="*/ 2147483647 w 26"/>
                <a:gd name="T13" fmla="*/ 2147483647 h 12"/>
                <a:gd name="T14" fmla="*/ 2147483647 w 26"/>
                <a:gd name="T15" fmla="*/ 2147483647 h 12"/>
                <a:gd name="T16" fmla="*/ 2147483647 w 26"/>
                <a:gd name="T17" fmla="*/ 2147483647 h 12"/>
                <a:gd name="T18" fmla="*/ 2147483647 w 26"/>
                <a:gd name="T19" fmla="*/ 2147483647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6"/>
                <a:gd name="T34" fmla="*/ 0 h 12"/>
                <a:gd name="T35" fmla="*/ 26 w 26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62" name="Freeform 87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7813675" y="4013200"/>
              <a:ext cx="31750" cy="57150"/>
            </a:xfrm>
            <a:custGeom>
              <a:avLst/>
              <a:gdLst>
                <a:gd name="T0" fmla="*/ 0 w 73"/>
                <a:gd name="T1" fmla="*/ 0 h 57150"/>
                <a:gd name="T2" fmla="*/ 2147483647 w 73"/>
                <a:gd name="T3" fmla="*/ 0 h 57150"/>
                <a:gd name="T4" fmla="*/ 2147483647 w 73"/>
                <a:gd name="T5" fmla="*/ 0 h 57150"/>
                <a:gd name="T6" fmla="*/ 2147483647 w 73"/>
                <a:gd name="T7" fmla="*/ 0 h 57150"/>
                <a:gd name="T8" fmla="*/ 2147483647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3"/>
                <a:gd name="T16" fmla="*/ 0 h 57150"/>
                <a:gd name="T17" fmla="*/ 73 w 73"/>
                <a:gd name="T18" fmla="*/ 57150 h 5715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63" name="Freeform 88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7769225" y="4002088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2147483647 w 53"/>
                <a:gd name="T3" fmla="*/ 0 h 3"/>
                <a:gd name="T4" fmla="*/ 2147483647 w 53"/>
                <a:gd name="T5" fmla="*/ 2147483647 h 3"/>
                <a:gd name="T6" fmla="*/ 2147483647 w 53"/>
                <a:gd name="T7" fmla="*/ 2147483647 h 3"/>
                <a:gd name="T8" fmla="*/ 2147483647 w 53"/>
                <a:gd name="T9" fmla="*/ 2147483647 h 3"/>
                <a:gd name="T10" fmla="*/ 2147483647 w 53"/>
                <a:gd name="T11" fmla="*/ 2147483647 h 3"/>
                <a:gd name="T12" fmla="*/ 2147483647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3"/>
                <a:gd name="T22" fmla="*/ 0 h 3"/>
                <a:gd name="T23" fmla="*/ 53 w 53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64" name="Line 89"/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7802563" y="3987800"/>
              <a:ext cx="20637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465" name="Freeform 90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7823200" y="3994150"/>
              <a:ext cx="1588" cy="57150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147483647 h 13"/>
                <a:gd name="T4" fmla="*/ 0 w 1588"/>
                <a:gd name="T5" fmla="*/ 2147483647 h 13"/>
                <a:gd name="T6" fmla="*/ 0 60000 65536"/>
                <a:gd name="T7" fmla="*/ 0 60000 65536"/>
                <a:gd name="T8" fmla="*/ 0 60000 65536"/>
                <a:gd name="T9" fmla="*/ 0 w 1588"/>
                <a:gd name="T10" fmla="*/ 0 h 13"/>
                <a:gd name="T11" fmla="*/ 1588 w 1588"/>
                <a:gd name="T12" fmla="*/ 13 h 1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66" name="Freeform 91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7777163" y="3987800"/>
              <a:ext cx="14287" cy="58738"/>
            </a:xfrm>
            <a:custGeom>
              <a:avLst/>
              <a:gdLst>
                <a:gd name="T0" fmla="*/ 0 w 26"/>
                <a:gd name="T1" fmla="*/ 0 h 58738"/>
                <a:gd name="T2" fmla="*/ 2147483647 w 26"/>
                <a:gd name="T3" fmla="*/ 0 h 58738"/>
                <a:gd name="T4" fmla="*/ 2147483647 w 26"/>
                <a:gd name="T5" fmla="*/ 0 h 58738"/>
                <a:gd name="T6" fmla="*/ 0 60000 65536"/>
                <a:gd name="T7" fmla="*/ 0 60000 65536"/>
                <a:gd name="T8" fmla="*/ 0 60000 65536"/>
                <a:gd name="T9" fmla="*/ 0 w 26"/>
                <a:gd name="T10" fmla="*/ 0 h 58738"/>
                <a:gd name="T11" fmla="*/ 26 w 26"/>
                <a:gd name="T12" fmla="*/ 58738 h 5873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67" name="Freeform 92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7770813" y="3968750"/>
              <a:ext cx="6350" cy="60325"/>
            </a:xfrm>
            <a:custGeom>
              <a:avLst/>
              <a:gdLst>
                <a:gd name="T0" fmla="*/ 2147483647 w 20"/>
                <a:gd name="T1" fmla="*/ 0 h 25"/>
                <a:gd name="T2" fmla="*/ 0 w 20"/>
                <a:gd name="T3" fmla="*/ 2147483647 h 25"/>
                <a:gd name="T4" fmla="*/ 2147483647 w 20"/>
                <a:gd name="T5" fmla="*/ 2147483647 h 25"/>
                <a:gd name="T6" fmla="*/ 2147483647 w 20"/>
                <a:gd name="T7" fmla="*/ 2147483647 h 25"/>
                <a:gd name="T8" fmla="*/ 2147483647 w 20"/>
                <a:gd name="T9" fmla="*/ 2147483647 h 25"/>
                <a:gd name="T10" fmla="*/ 2147483647 w 20"/>
                <a:gd name="T11" fmla="*/ 2147483647 h 25"/>
                <a:gd name="T12" fmla="*/ 2147483647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"/>
                <a:gd name="T22" fmla="*/ 0 h 25"/>
                <a:gd name="T23" fmla="*/ 20 w 20"/>
                <a:gd name="T24" fmla="*/ 25 h 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68" name="Freeform 93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7851775" y="3695700"/>
              <a:ext cx="1588" cy="57150"/>
            </a:xfrm>
            <a:custGeom>
              <a:avLst/>
              <a:gdLst>
                <a:gd name="T0" fmla="*/ 0 w 6"/>
                <a:gd name="T1" fmla="*/ 2147483647 h 24"/>
                <a:gd name="T2" fmla="*/ 0 w 6"/>
                <a:gd name="T3" fmla="*/ 0 h 24"/>
                <a:gd name="T4" fmla="*/ 2147483647 w 6"/>
                <a:gd name="T5" fmla="*/ 2147483647 h 24"/>
                <a:gd name="T6" fmla="*/ 0 w 6"/>
                <a:gd name="T7" fmla="*/ 2147483647 h 2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24"/>
                <a:gd name="T14" fmla="*/ 6 w 6"/>
                <a:gd name="T15" fmla="*/ 24 h 2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15469" name="Group 94"/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7726363" y="3367088"/>
              <a:ext cx="163512" cy="114300"/>
              <a:chOff x="5379" y="2466"/>
              <a:chExt cx="122" cy="71"/>
            </a:xfrm>
          </p:grpSpPr>
          <p:sp>
            <p:nvSpPr>
              <p:cNvPr id="15963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0 w 19"/>
                  <a:gd name="T1" fmla="*/ 0 h 25"/>
                  <a:gd name="T2" fmla="*/ 0 w 19"/>
                  <a:gd name="T3" fmla="*/ 0 h 25"/>
                  <a:gd name="T4" fmla="*/ 0 w 19"/>
                  <a:gd name="T5" fmla="*/ 0 h 25"/>
                  <a:gd name="T6" fmla="*/ 0 w 19"/>
                  <a:gd name="T7" fmla="*/ 0 h 25"/>
                  <a:gd name="T8" fmla="*/ 0 w 19"/>
                  <a:gd name="T9" fmla="*/ 0 h 25"/>
                  <a:gd name="T10" fmla="*/ 0 w 19"/>
                  <a:gd name="T11" fmla="*/ 0 h 25"/>
                  <a:gd name="T12" fmla="*/ 0 w 19"/>
                  <a:gd name="T13" fmla="*/ 0 h 25"/>
                  <a:gd name="T14" fmla="*/ 0 w 19"/>
                  <a:gd name="T15" fmla="*/ 0 h 25"/>
                  <a:gd name="T16" fmla="*/ 0 w 19"/>
                  <a:gd name="T17" fmla="*/ 0 h 25"/>
                  <a:gd name="T18" fmla="*/ 0 w 19"/>
                  <a:gd name="T19" fmla="*/ 0 h 25"/>
                  <a:gd name="T20" fmla="*/ 0 w 19"/>
                  <a:gd name="T21" fmla="*/ 0 h 25"/>
                  <a:gd name="T22" fmla="*/ 0 w 19"/>
                  <a:gd name="T23" fmla="*/ 0 h 25"/>
                  <a:gd name="T24" fmla="*/ 0 w 19"/>
                  <a:gd name="T25" fmla="*/ 0 h 25"/>
                  <a:gd name="T26" fmla="*/ 0 w 19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9"/>
                  <a:gd name="T43" fmla="*/ 0 h 25"/>
                  <a:gd name="T44" fmla="*/ 19 w 19"/>
                  <a:gd name="T45" fmla="*/ 25 h 2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64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0 w 26"/>
                  <a:gd name="T1" fmla="*/ 0 h 18"/>
                  <a:gd name="T2" fmla="*/ 0 w 26"/>
                  <a:gd name="T3" fmla="*/ 0 h 18"/>
                  <a:gd name="T4" fmla="*/ 0 w 26"/>
                  <a:gd name="T5" fmla="*/ 0 h 18"/>
                  <a:gd name="T6" fmla="*/ 0 w 26"/>
                  <a:gd name="T7" fmla="*/ 0 h 18"/>
                  <a:gd name="T8" fmla="*/ 0 w 26"/>
                  <a:gd name="T9" fmla="*/ 0 h 18"/>
                  <a:gd name="T10" fmla="*/ 0 w 26"/>
                  <a:gd name="T11" fmla="*/ 0 h 18"/>
                  <a:gd name="T12" fmla="*/ 0 w 26"/>
                  <a:gd name="T13" fmla="*/ 0 h 18"/>
                  <a:gd name="T14" fmla="*/ 0 w 26"/>
                  <a:gd name="T15" fmla="*/ 0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6"/>
                  <a:gd name="T25" fmla="*/ 0 h 18"/>
                  <a:gd name="T26" fmla="*/ 26 w 26"/>
                  <a:gd name="T27" fmla="*/ 18 h 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65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60000 65536"/>
                  <a:gd name="T7" fmla="*/ 0 60000 65536"/>
                  <a:gd name="T8" fmla="*/ 0 60000 65536"/>
                  <a:gd name="T9" fmla="*/ 0 w 13"/>
                  <a:gd name="T10" fmla="*/ 0 h 18"/>
                  <a:gd name="T11" fmla="*/ 13 w 13"/>
                  <a:gd name="T12" fmla="*/ 18 h 1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66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0 h 24"/>
                  <a:gd name="T2" fmla="*/ 0 w 26"/>
                  <a:gd name="T3" fmla="*/ 0 h 24"/>
                  <a:gd name="T4" fmla="*/ 0 w 26"/>
                  <a:gd name="T5" fmla="*/ 0 h 24"/>
                  <a:gd name="T6" fmla="*/ 0 w 26"/>
                  <a:gd name="T7" fmla="*/ 0 h 24"/>
                  <a:gd name="T8" fmla="*/ 0 w 26"/>
                  <a:gd name="T9" fmla="*/ 0 h 24"/>
                  <a:gd name="T10" fmla="*/ 0 w 26"/>
                  <a:gd name="T11" fmla="*/ 0 h 24"/>
                  <a:gd name="T12" fmla="*/ 0 w 26"/>
                  <a:gd name="T13" fmla="*/ 0 h 24"/>
                  <a:gd name="T14" fmla="*/ 0 w 26"/>
                  <a:gd name="T15" fmla="*/ 0 h 24"/>
                  <a:gd name="T16" fmla="*/ 0 w 26"/>
                  <a:gd name="T17" fmla="*/ 0 h 24"/>
                  <a:gd name="T18" fmla="*/ 0 w 26"/>
                  <a:gd name="T19" fmla="*/ 0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6"/>
                  <a:gd name="T31" fmla="*/ 0 h 24"/>
                  <a:gd name="T32" fmla="*/ 26 w 26"/>
                  <a:gd name="T33" fmla="*/ 24 h 2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67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0 h 6"/>
                  <a:gd name="T2" fmla="*/ 0 w 34"/>
                  <a:gd name="T3" fmla="*/ 0 h 6"/>
                  <a:gd name="T4" fmla="*/ 0 w 34"/>
                  <a:gd name="T5" fmla="*/ 0 h 6"/>
                  <a:gd name="T6" fmla="*/ 0 w 34"/>
                  <a:gd name="T7" fmla="*/ 0 h 6"/>
                  <a:gd name="T8" fmla="*/ 0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4"/>
                  <a:gd name="T16" fmla="*/ 0 h 6"/>
                  <a:gd name="T17" fmla="*/ 34 w 34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68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69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0 h 19"/>
                  <a:gd name="T2" fmla="*/ 0 w 1"/>
                  <a:gd name="T3" fmla="*/ 0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19"/>
                  <a:gd name="T11" fmla="*/ 1 w 1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70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71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0 w 14"/>
                  <a:gd name="T1" fmla="*/ 0 h 6"/>
                  <a:gd name="T2" fmla="*/ 0 w 14"/>
                  <a:gd name="T3" fmla="*/ 0 h 6"/>
                  <a:gd name="T4" fmla="*/ 0 w 14"/>
                  <a:gd name="T5" fmla="*/ 0 h 6"/>
                  <a:gd name="T6" fmla="*/ 0 60000 65536"/>
                  <a:gd name="T7" fmla="*/ 0 60000 65536"/>
                  <a:gd name="T8" fmla="*/ 0 60000 65536"/>
                  <a:gd name="T9" fmla="*/ 0 w 14"/>
                  <a:gd name="T10" fmla="*/ 0 h 6"/>
                  <a:gd name="T11" fmla="*/ 14 w 14"/>
                  <a:gd name="T12" fmla="*/ 6 h 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5470" name="Freeform 104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6310313" y="3228975"/>
              <a:ext cx="6350" cy="57150"/>
            </a:xfrm>
            <a:custGeom>
              <a:avLst/>
              <a:gdLst>
                <a:gd name="T0" fmla="*/ 2147483647 w 26"/>
                <a:gd name="T1" fmla="*/ 2147483647 h 111"/>
                <a:gd name="T2" fmla="*/ 2147483647 w 26"/>
                <a:gd name="T3" fmla="*/ 2147483647 h 111"/>
                <a:gd name="T4" fmla="*/ 2147483647 w 26"/>
                <a:gd name="T5" fmla="*/ 2147483647 h 111"/>
                <a:gd name="T6" fmla="*/ 2147483647 w 26"/>
                <a:gd name="T7" fmla="*/ 2147483647 h 111"/>
                <a:gd name="T8" fmla="*/ 2147483647 w 26"/>
                <a:gd name="T9" fmla="*/ 2147483647 h 111"/>
                <a:gd name="T10" fmla="*/ 0 w 26"/>
                <a:gd name="T11" fmla="*/ 2147483647 h 111"/>
                <a:gd name="T12" fmla="*/ 0 w 26"/>
                <a:gd name="T13" fmla="*/ 2147483647 h 111"/>
                <a:gd name="T14" fmla="*/ 0 w 26"/>
                <a:gd name="T15" fmla="*/ 2147483647 h 111"/>
                <a:gd name="T16" fmla="*/ 2147483647 w 26"/>
                <a:gd name="T17" fmla="*/ 2147483647 h 111"/>
                <a:gd name="T18" fmla="*/ 2147483647 w 26"/>
                <a:gd name="T19" fmla="*/ 2147483647 h 111"/>
                <a:gd name="T20" fmla="*/ 2147483647 w 26"/>
                <a:gd name="T21" fmla="*/ 2147483647 h 111"/>
                <a:gd name="T22" fmla="*/ 2147483647 w 26"/>
                <a:gd name="T23" fmla="*/ 2147483647 h 111"/>
                <a:gd name="T24" fmla="*/ 2147483647 w 26"/>
                <a:gd name="T25" fmla="*/ 2147483647 h 111"/>
                <a:gd name="T26" fmla="*/ 2147483647 w 26"/>
                <a:gd name="T27" fmla="*/ 2147483647 h 111"/>
                <a:gd name="T28" fmla="*/ 2147483647 w 26"/>
                <a:gd name="T29" fmla="*/ 0 h 111"/>
                <a:gd name="T30" fmla="*/ 2147483647 w 26"/>
                <a:gd name="T31" fmla="*/ 2147483647 h 111"/>
                <a:gd name="T32" fmla="*/ 2147483647 w 26"/>
                <a:gd name="T33" fmla="*/ 2147483647 h 111"/>
                <a:gd name="T34" fmla="*/ 2147483647 w 26"/>
                <a:gd name="T35" fmla="*/ 2147483647 h 111"/>
                <a:gd name="T36" fmla="*/ 2147483647 w 26"/>
                <a:gd name="T37" fmla="*/ 2147483647 h 111"/>
                <a:gd name="T38" fmla="*/ 2147483647 w 26"/>
                <a:gd name="T39" fmla="*/ 2147483647 h 111"/>
                <a:gd name="T40" fmla="*/ 2147483647 w 26"/>
                <a:gd name="T41" fmla="*/ 2147483647 h 111"/>
                <a:gd name="T42" fmla="*/ 2147483647 w 26"/>
                <a:gd name="T43" fmla="*/ 2147483647 h 111"/>
                <a:gd name="T44" fmla="*/ 2147483647 w 26"/>
                <a:gd name="T45" fmla="*/ 2147483647 h 111"/>
                <a:gd name="T46" fmla="*/ 2147483647 w 26"/>
                <a:gd name="T47" fmla="*/ 2147483647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6"/>
                <a:gd name="T73" fmla="*/ 0 h 111"/>
                <a:gd name="T74" fmla="*/ 26 w 26"/>
                <a:gd name="T75" fmla="*/ 111 h 11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71" name="Freeform 105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3209925" y="5368925"/>
              <a:ext cx="53975" cy="58738"/>
            </a:xfrm>
            <a:custGeom>
              <a:avLst/>
              <a:gdLst>
                <a:gd name="T0" fmla="*/ 0 w 126"/>
                <a:gd name="T1" fmla="*/ 2147483647 h 62"/>
                <a:gd name="T2" fmla="*/ 2147483647 w 126"/>
                <a:gd name="T3" fmla="*/ 2147483647 h 62"/>
                <a:gd name="T4" fmla="*/ 2147483647 w 126"/>
                <a:gd name="T5" fmla="*/ 2147483647 h 62"/>
                <a:gd name="T6" fmla="*/ 2147483647 w 126"/>
                <a:gd name="T7" fmla="*/ 2147483647 h 62"/>
                <a:gd name="T8" fmla="*/ 2147483647 w 126"/>
                <a:gd name="T9" fmla="*/ 2147483647 h 62"/>
                <a:gd name="T10" fmla="*/ 2147483647 w 126"/>
                <a:gd name="T11" fmla="*/ 2147483647 h 62"/>
                <a:gd name="T12" fmla="*/ 2147483647 w 126"/>
                <a:gd name="T13" fmla="*/ 2147483647 h 62"/>
                <a:gd name="T14" fmla="*/ 2147483647 w 126"/>
                <a:gd name="T15" fmla="*/ 2147483647 h 62"/>
                <a:gd name="T16" fmla="*/ 2147483647 w 126"/>
                <a:gd name="T17" fmla="*/ 2147483647 h 62"/>
                <a:gd name="T18" fmla="*/ 2147483647 w 126"/>
                <a:gd name="T19" fmla="*/ 2147483647 h 62"/>
                <a:gd name="T20" fmla="*/ 2147483647 w 126"/>
                <a:gd name="T21" fmla="*/ 2147483647 h 62"/>
                <a:gd name="T22" fmla="*/ 2147483647 w 126"/>
                <a:gd name="T23" fmla="*/ 2147483647 h 62"/>
                <a:gd name="T24" fmla="*/ 2147483647 w 126"/>
                <a:gd name="T25" fmla="*/ 2147483647 h 62"/>
                <a:gd name="T26" fmla="*/ 2147483647 w 126"/>
                <a:gd name="T27" fmla="*/ 2147483647 h 62"/>
                <a:gd name="T28" fmla="*/ 2147483647 w 126"/>
                <a:gd name="T29" fmla="*/ 2147483647 h 62"/>
                <a:gd name="T30" fmla="*/ 2147483647 w 126"/>
                <a:gd name="T31" fmla="*/ 2147483647 h 62"/>
                <a:gd name="T32" fmla="*/ 2147483647 w 126"/>
                <a:gd name="T33" fmla="*/ 2147483647 h 62"/>
                <a:gd name="T34" fmla="*/ 2147483647 w 126"/>
                <a:gd name="T35" fmla="*/ 2147483647 h 62"/>
                <a:gd name="T36" fmla="*/ 2147483647 w 126"/>
                <a:gd name="T37" fmla="*/ 2147483647 h 62"/>
                <a:gd name="T38" fmla="*/ 2147483647 w 126"/>
                <a:gd name="T39" fmla="*/ 2147483647 h 62"/>
                <a:gd name="T40" fmla="*/ 2147483647 w 126"/>
                <a:gd name="T41" fmla="*/ 2147483647 h 62"/>
                <a:gd name="T42" fmla="*/ 2147483647 w 126"/>
                <a:gd name="T43" fmla="*/ 2147483647 h 62"/>
                <a:gd name="T44" fmla="*/ 2147483647 w 126"/>
                <a:gd name="T45" fmla="*/ 2147483647 h 62"/>
                <a:gd name="T46" fmla="*/ 2147483647 w 126"/>
                <a:gd name="T47" fmla="*/ 2147483647 h 62"/>
                <a:gd name="T48" fmla="*/ 2147483647 w 126"/>
                <a:gd name="T49" fmla="*/ 0 h 62"/>
                <a:gd name="T50" fmla="*/ 0 w 126"/>
                <a:gd name="T51" fmla="*/ 0 h 62"/>
                <a:gd name="T52" fmla="*/ 0 w 126"/>
                <a:gd name="T53" fmla="*/ 2147483647 h 62"/>
                <a:gd name="T54" fmla="*/ 0 w 126"/>
                <a:gd name="T55" fmla="*/ 2147483647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26"/>
                <a:gd name="T85" fmla="*/ 0 h 62"/>
                <a:gd name="T86" fmla="*/ 126 w 126"/>
                <a:gd name="T87" fmla="*/ 62 h 6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72" name="Freeform 106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5511800" y="5207000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2147483647 w 66"/>
                <a:gd name="T3" fmla="*/ 2147483647 h 44"/>
                <a:gd name="T4" fmla="*/ 2147483647 w 66"/>
                <a:gd name="T5" fmla="*/ 2147483647 h 44"/>
                <a:gd name="T6" fmla="*/ 2147483647 w 66"/>
                <a:gd name="T7" fmla="*/ 2147483647 h 44"/>
                <a:gd name="T8" fmla="*/ 2147483647 w 66"/>
                <a:gd name="T9" fmla="*/ 2147483647 h 44"/>
                <a:gd name="T10" fmla="*/ 2147483647 w 66"/>
                <a:gd name="T11" fmla="*/ 2147483647 h 44"/>
                <a:gd name="T12" fmla="*/ 2147483647 w 66"/>
                <a:gd name="T13" fmla="*/ 2147483647 h 44"/>
                <a:gd name="T14" fmla="*/ 2147483647 w 66"/>
                <a:gd name="T15" fmla="*/ 2147483647 h 44"/>
                <a:gd name="T16" fmla="*/ 2147483647 w 66"/>
                <a:gd name="T17" fmla="*/ 2147483647 h 44"/>
                <a:gd name="T18" fmla="*/ 2147483647 w 66"/>
                <a:gd name="T19" fmla="*/ 2147483647 h 44"/>
                <a:gd name="T20" fmla="*/ 2147483647 w 66"/>
                <a:gd name="T21" fmla="*/ 2147483647 h 44"/>
                <a:gd name="T22" fmla="*/ 2147483647 w 66"/>
                <a:gd name="T23" fmla="*/ 2147483647 h 44"/>
                <a:gd name="T24" fmla="*/ 2147483647 w 66"/>
                <a:gd name="T25" fmla="*/ 2147483647 h 44"/>
                <a:gd name="T26" fmla="*/ 2147483647 w 66"/>
                <a:gd name="T27" fmla="*/ 2147483647 h 44"/>
                <a:gd name="T28" fmla="*/ 2147483647 w 66"/>
                <a:gd name="T29" fmla="*/ 2147483647 h 44"/>
                <a:gd name="T30" fmla="*/ 2147483647 w 66"/>
                <a:gd name="T31" fmla="*/ 2147483647 h 44"/>
                <a:gd name="T32" fmla="*/ 2147483647 w 66"/>
                <a:gd name="T33" fmla="*/ 2147483647 h 44"/>
                <a:gd name="T34" fmla="*/ 2147483647 w 66"/>
                <a:gd name="T35" fmla="*/ 2147483647 h 44"/>
                <a:gd name="T36" fmla="*/ 0 w 66"/>
                <a:gd name="T37" fmla="*/ 2147483647 h 44"/>
                <a:gd name="T38" fmla="*/ 0 w 66"/>
                <a:gd name="T39" fmla="*/ 2147483647 h 44"/>
                <a:gd name="T40" fmla="*/ 0 w 66"/>
                <a:gd name="T41" fmla="*/ 2147483647 h 44"/>
                <a:gd name="T42" fmla="*/ 0 w 66"/>
                <a:gd name="T43" fmla="*/ 2147483647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6"/>
                <a:gd name="T70" fmla="*/ 0 h 44"/>
                <a:gd name="T71" fmla="*/ 66 w 66"/>
                <a:gd name="T72" fmla="*/ 44 h 4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73" name="Freeform 107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7666038" y="1978025"/>
              <a:ext cx="20637" cy="57150"/>
            </a:xfrm>
            <a:custGeom>
              <a:avLst/>
              <a:gdLst>
                <a:gd name="T0" fmla="*/ 2147483647 w 46"/>
                <a:gd name="T1" fmla="*/ 0 h 16"/>
                <a:gd name="T2" fmla="*/ 2147483647 w 46"/>
                <a:gd name="T3" fmla="*/ 2147483647 h 16"/>
                <a:gd name="T4" fmla="*/ 2147483647 w 46"/>
                <a:gd name="T5" fmla="*/ 2147483647 h 16"/>
                <a:gd name="T6" fmla="*/ 2147483647 w 46"/>
                <a:gd name="T7" fmla="*/ 2147483647 h 16"/>
                <a:gd name="T8" fmla="*/ 2147483647 w 46"/>
                <a:gd name="T9" fmla="*/ 2147483647 h 16"/>
                <a:gd name="T10" fmla="*/ 2147483647 w 46"/>
                <a:gd name="T11" fmla="*/ 2147483647 h 16"/>
                <a:gd name="T12" fmla="*/ 2147483647 w 46"/>
                <a:gd name="T13" fmla="*/ 2147483647 h 16"/>
                <a:gd name="T14" fmla="*/ 2147483647 w 46"/>
                <a:gd name="T15" fmla="*/ 2147483647 h 16"/>
                <a:gd name="T16" fmla="*/ 2147483647 w 46"/>
                <a:gd name="T17" fmla="*/ 2147483647 h 16"/>
                <a:gd name="T18" fmla="*/ 2147483647 w 46"/>
                <a:gd name="T19" fmla="*/ 2147483647 h 16"/>
                <a:gd name="T20" fmla="*/ 0 w 46"/>
                <a:gd name="T21" fmla="*/ 0 h 16"/>
                <a:gd name="T22" fmla="*/ 214748364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6"/>
                <a:gd name="T37" fmla="*/ 0 h 16"/>
                <a:gd name="T38" fmla="*/ 46 w 46"/>
                <a:gd name="T39" fmla="*/ 16 h 1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74" name="Freeform 108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7842250" y="2011363"/>
              <a:ext cx="15875" cy="57150"/>
            </a:xfrm>
            <a:custGeom>
              <a:avLst/>
              <a:gdLst>
                <a:gd name="T0" fmla="*/ 2147483647 w 39"/>
                <a:gd name="T1" fmla="*/ 2147483647 h 26"/>
                <a:gd name="T2" fmla="*/ 2147483647 w 39"/>
                <a:gd name="T3" fmla="*/ 2147483647 h 26"/>
                <a:gd name="T4" fmla="*/ 2147483647 w 39"/>
                <a:gd name="T5" fmla="*/ 2147483647 h 26"/>
                <a:gd name="T6" fmla="*/ 2147483647 w 39"/>
                <a:gd name="T7" fmla="*/ 2147483647 h 26"/>
                <a:gd name="T8" fmla="*/ 2147483647 w 39"/>
                <a:gd name="T9" fmla="*/ 2147483647 h 26"/>
                <a:gd name="T10" fmla="*/ 2147483647 w 39"/>
                <a:gd name="T11" fmla="*/ 2147483647 h 26"/>
                <a:gd name="T12" fmla="*/ 2147483647 w 39"/>
                <a:gd name="T13" fmla="*/ 2147483647 h 26"/>
                <a:gd name="T14" fmla="*/ 2147483647 w 39"/>
                <a:gd name="T15" fmla="*/ 2147483647 h 26"/>
                <a:gd name="T16" fmla="*/ 2147483647 w 39"/>
                <a:gd name="T17" fmla="*/ 2147483647 h 26"/>
                <a:gd name="T18" fmla="*/ 2147483647 w 39"/>
                <a:gd name="T19" fmla="*/ 2147483647 h 26"/>
                <a:gd name="T20" fmla="*/ 0 w 39"/>
                <a:gd name="T21" fmla="*/ 0 h 26"/>
                <a:gd name="T22" fmla="*/ 2147483647 w 39"/>
                <a:gd name="T23" fmla="*/ 2147483647 h 26"/>
                <a:gd name="T24" fmla="*/ 2147483647 w 39"/>
                <a:gd name="T25" fmla="*/ 2147483647 h 26"/>
                <a:gd name="T26" fmla="*/ 2147483647 w 39"/>
                <a:gd name="T27" fmla="*/ 2147483647 h 26"/>
                <a:gd name="T28" fmla="*/ 2147483647 w 39"/>
                <a:gd name="T29" fmla="*/ 2147483647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9"/>
                <a:gd name="T46" fmla="*/ 0 h 26"/>
                <a:gd name="T47" fmla="*/ 39 w 39"/>
                <a:gd name="T48" fmla="*/ 26 h 2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75" name="Freeform 109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7291388" y="2241550"/>
              <a:ext cx="4762" cy="58738"/>
            </a:xfrm>
            <a:custGeom>
              <a:avLst/>
              <a:gdLst>
                <a:gd name="T0" fmla="*/ 2147483647 w 11"/>
                <a:gd name="T1" fmla="*/ 0 h 25"/>
                <a:gd name="T2" fmla="*/ 2147483647 w 11"/>
                <a:gd name="T3" fmla="*/ 2147483647 h 25"/>
                <a:gd name="T4" fmla="*/ 2147483647 w 11"/>
                <a:gd name="T5" fmla="*/ 2147483647 h 25"/>
                <a:gd name="T6" fmla="*/ 2147483647 w 11"/>
                <a:gd name="T7" fmla="*/ 2147483647 h 25"/>
                <a:gd name="T8" fmla="*/ 2147483647 w 11"/>
                <a:gd name="T9" fmla="*/ 2147483647 h 25"/>
                <a:gd name="T10" fmla="*/ 2147483647 w 11"/>
                <a:gd name="T11" fmla="*/ 2147483647 h 25"/>
                <a:gd name="T12" fmla="*/ 2147483647 w 11"/>
                <a:gd name="T13" fmla="*/ 2147483647 h 25"/>
                <a:gd name="T14" fmla="*/ 0 w 11"/>
                <a:gd name="T15" fmla="*/ 2147483647 h 25"/>
                <a:gd name="T16" fmla="*/ 0 w 11"/>
                <a:gd name="T17" fmla="*/ 2147483647 h 25"/>
                <a:gd name="T18" fmla="*/ 2147483647 w 11"/>
                <a:gd name="T19" fmla="*/ 2147483647 h 25"/>
                <a:gd name="T20" fmla="*/ 2147483647 w 11"/>
                <a:gd name="T21" fmla="*/ 2147483647 h 25"/>
                <a:gd name="T22" fmla="*/ 2147483647 w 11"/>
                <a:gd name="T23" fmla="*/ 2147483647 h 25"/>
                <a:gd name="T24" fmla="*/ 2147483647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1"/>
                <a:gd name="T40" fmla="*/ 0 h 25"/>
                <a:gd name="T41" fmla="*/ 11 w 11"/>
                <a:gd name="T42" fmla="*/ 25 h 2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76" name="Freeform 110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7105650" y="2803525"/>
              <a:ext cx="14288" cy="58738"/>
            </a:xfrm>
            <a:custGeom>
              <a:avLst/>
              <a:gdLst>
                <a:gd name="T0" fmla="*/ 2147483647 w 20"/>
                <a:gd name="T1" fmla="*/ 0 h 31"/>
                <a:gd name="T2" fmla="*/ 2147483647 w 20"/>
                <a:gd name="T3" fmla="*/ 2147483647 h 31"/>
                <a:gd name="T4" fmla="*/ 2147483647 w 20"/>
                <a:gd name="T5" fmla="*/ 2147483647 h 31"/>
                <a:gd name="T6" fmla="*/ 2147483647 w 20"/>
                <a:gd name="T7" fmla="*/ 2147483647 h 31"/>
                <a:gd name="T8" fmla="*/ 0 w 20"/>
                <a:gd name="T9" fmla="*/ 2147483647 h 31"/>
                <a:gd name="T10" fmla="*/ 0 w 20"/>
                <a:gd name="T11" fmla="*/ 2147483647 h 31"/>
                <a:gd name="T12" fmla="*/ 2147483647 w 20"/>
                <a:gd name="T13" fmla="*/ 2147483647 h 31"/>
                <a:gd name="T14" fmla="*/ 2147483647 w 20"/>
                <a:gd name="T15" fmla="*/ 2147483647 h 31"/>
                <a:gd name="T16" fmla="*/ 2147483647 w 20"/>
                <a:gd name="T17" fmla="*/ 2147483647 h 31"/>
                <a:gd name="T18" fmla="*/ 2147483647 w 20"/>
                <a:gd name="T19" fmla="*/ 2147483647 h 31"/>
                <a:gd name="T20" fmla="*/ 2147483647 w 20"/>
                <a:gd name="T21" fmla="*/ 2147483647 h 31"/>
                <a:gd name="T22" fmla="*/ 2147483647 w 20"/>
                <a:gd name="T23" fmla="*/ 0 h 31"/>
                <a:gd name="T24" fmla="*/ 2147483647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0"/>
                <a:gd name="T40" fmla="*/ 0 h 31"/>
                <a:gd name="T41" fmla="*/ 20 w 20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77" name="Freeform 111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7123113" y="2738438"/>
              <a:ext cx="15875" cy="57150"/>
            </a:xfrm>
            <a:custGeom>
              <a:avLst/>
              <a:gdLst>
                <a:gd name="T0" fmla="*/ 2147483647 w 26"/>
                <a:gd name="T1" fmla="*/ 2147483647 h 37"/>
                <a:gd name="T2" fmla="*/ 0 w 26"/>
                <a:gd name="T3" fmla="*/ 2147483647 h 37"/>
                <a:gd name="T4" fmla="*/ 2147483647 w 26"/>
                <a:gd name="T5" fmla="*/ 2147483647 h 37"/>
                <a:gd name="T6" fmla="*/ 2147483647 w 26"/>
                <a:gd name="T7" fmla="*/ 2147483647 h 37"/>
                <a:gd name="T8" fmla="*/ 2147483647 w 26"/>
                <a:gd name="T9" fmla="*/ 2147483647 h 37"/>
                <a:gd name="T10" fmla="*/ 2147483647 w 26"/>
                <a:gd name="T11" fmla="*/ 0 h 37"/>
                <a:gd name="T12" fmla="*/ 2147483647 w 26"/>
                <a:gd name="T13" fmla="*/ 2147483647 h 37"/>
                <a:gd name="T14" fmla="*/ 2147483647 w 26"/>
                <a:gd name="T15" fmla="*/ 2147483647 h 37"/>
                <a:gd name="T16" fmla="*/ 2147483647 w 26"/>
                <a:gd name="T17" fmla="*/ 2147483647 h 37"/>
                <a:gd name="T18" fmla="*/ 2147483647 w 26"/>
                <a:gd name="T19" fmla="*/ 2147483647 h 37"/>
                <a:gd name="T20" fmla="*/ 2147483647 w 26"/>
                <a:gd name="T21" fmla="*/ 2147483647 h 37"/>
                <a:gd name="T22" fmla="*/ 2147483647 w 26"/>
                <a:gd name="T23" fmla="*/ 2147483647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6"/>
                <a:gd name="T37" fmla="*/ 0 h 37"/>
                <a:gd name="T38" fmla="*/ 26 w 26"/>
                <a:gd name="T39" fmla="*/ 37 h 3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78" name="Freeform 112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7011988" y="2587625"/>
              <a:ext cx="1587" cy="60325"/>
            </a:xfrm>
            <a:custGeom>
              <a:avLst/>
              <a:gdLst>
                <a:gd name="T0" fmla="*/ 0 w 7"/>
                <a:gd name="T1" fmla="*/ 2147483647 h 18"/>
                <a:gd name="T2" fmla="*/ 0 w 7"/>
                <a:gd name="T3" fmla="*/ 0 h 18"/>
                <a:gd name="T4" fmla="*/ 2147483647 w 7"/>
                <a:gd name="T5" fmla="*/ 2147483647 h 18"/>
                <a:gd name="T6" fmla="*/ 0 w 7"/>
                <a:gd name="T7" fmla="*/ 2147483647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18"/>
                <a:gd name="T14" fmla="*/ 7 w 7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79" name="Freeform 113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3863975" y="1714500"/>
              <a:ext cx="9525" cy="57150"/>
            </a:xfrm>
            <a:custGeom>
              <a:avLst/>
              <a:gdLst>
                <a:gd name="T0" fmla="*/ 0 w 33"/>
                <a:gd name="T1" fmla="*/ 2147483647 h 31"/>
                <a:gd name="T2" fmla="*/ 2147483647 w 33"/>
                <a:gd name="T3" fmla="*/ 0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2147483647 h 31"/>
                <a:gd name="T18" fmla="*/ 2147483647 w 33"/>
                <a:gd name="T19" fmla="*/ 2147483647 h 31"/>
                <a:gd name="T20" fmla="*/ 2147483647 w 33"/>
                <a:gd name="T21" fmla="*/ 2147483647 h 31"/>
                <a:gd name="T22" fmla="*/ 0 w 33"/>
                <a:gd name="T23" fmla="*/ 2147483647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3"/>
                <a:gd name="T37" fmla="*/ 0 h 31"/>
                <a:gd name="T38" fmla="*/ 33 w 33"/>
                <a:gd name="T39" fmla="*/ 31 h 3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80" name="Freeform 114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3849688" y="1482725"/>
              <a:ext cx="3175" cy="57150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2147483647 h 6"/>
                <a:gd name="T4" fmla="*/ 2147483647 w 14"/>
                <a:gd name="T5" fmla="*/ 0 h 6"/>
                <a:gd name="T6" fmla="*/ 0 60000 65536"/>
                <a:gd name="T7" fmla="*/ 0 60000 65536"/>
                <a:gd name="T8" fmla="*/ 0 60000 65536"/>
                <a:gd name="T9" fmla="*/ 0 w 14"/>
                <a:gd name="T10" fmla="*/ 0 h 6"/>
                <a:gd name="T11" fmla="*/ 14 w 14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81" name="Freeform 115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5330825" y="3260725"/>
              <a:ext cx="25400" cy="55563"/>
            </a:xfrm>
            <a:custGeom>
              <a:avLst/>
              <a:gdLst>
                <a:gd name="T0" fmla="*/ 2147483647 w 59"/>
                <a:gd name="T1" fmla="*/ 2147483647 h 31"/>
                <a:gd name="T2" fmla="*/ 2147483647 w 59"/>
                <a:gd name="T3" fmla="*/ 2147483647 h 31"/>
                <a:gd name="T4" fmla="*/ 2147483647 w 59"/>
                <a:gd name="T5" fmla="*/ 2147483647 h 31"/>
                <a:gd name="T6" fmla="*/ 2147483647 w 59"/>
                <a:gd name="T7" fmla="*/ 2147483647 h 31"/>
                <a:gd name="T8" fmla="*/ 2147483647 w 59"/>
                <a:gd name="T9" fmla="*/ 2147483647 h 31"/>
                <a:gd name="T10" fmla="*/ 2147483647 w 59"/>
                <a:gd name="T11" fmla="*/ 2147483647 h 31"/>
                <a:gd name="T12" fmla="*/ 2147483647 w 59"/>
                <a:gd name="T13" fmla="*/ 2147483647 h 31"/>
                <a:gd name="T14" fmla="*/ 2147483647 w 59"/>
                <a:gd name="T15" fmla="*/ 2147483647 h 31"/>
                <a:gd name="T16" fmla="*/ 2147483647 w 59"/>
                <a:gd name="T17" fmla="*/ 2147483647 h 31"/>
                <a:gd name="T18" fmla="*/ 2147483647 w 59"/>
                <a:gd name="T19" fmla="*/ 2147483647 h 31"/>
                <a:gd name="T20" fmla="*/ 2147483647 w 59"/>
                <a:gd name="T21" fmla="*/ 2147483647 h 31"/>
                <a:gd name="T22" fmla="*/ 2147483647 w 59"/>
                <a:gd name="T23" fmla="*/ 2147483647 h 31"/>
                <a:gd name="T24" fmla="*/ 2147483647 w 59"/>
                <a:gd name="T25" fmla="*/ 2147483647 h 31"/>
                <a:gd name="T26" fmla="*/ 2147483647 w 59"/>
                <a:gd name="T27" fmla="*/ 2147483647 h 31"/>
                <a:gd name="T28" fmla="*/ 0 w 59"/>
                <a:gd name="T29" fmla="*/ 2147483647 h 31"/>
                <a:gd name="T30" fmla="*/ 2147483647 w 59"/>
                <a:gd name="T31" fmla="*/ 2147483647 h 31"/>
                <a:gd name="T32" fmla="*/ 2147483647 w 59"/>
                <a:gd name="T33" fmla="*/ 2147483647 h 31"/>
                <a:gd name="T34" fmla="*/ 2147483647 w 59"/>
                <a:gd name="T35" fmla="*/ 2147483647 h 31"/>
                <a:gd name="T36" fmla="*/ 2147483647 w 59"/>
                <a:gd name="T37" fmla="*/ 2147483647 h 31"/>
                <a:gd name="T38" fmla="*/ 2147483647 w 59"/>
                <a:gd name="T39" fmla="*/ 2147483647 h 31"/>
                <a:gd name="T40" fmla="*/ 2147483647 w 59"/>
                <a:gd name="T41" fmla="*/ 0 h 31"/>
                <a:gd name="T42" fmla="*/ 2147483647 w 59"/>
                <a:gd name="T43" fmla="*/ 0 h 31"/>
                <a:gd name="T44" fmla="*/ 2147483647 w 59"/>
                <a:gd name="T45" fmla="*/ 2147483647 h 31"/>
                <a:gd name="T46" fmla="*/ 2147483647 w 59"/>
                <a:gd name="T47" fmla="*/ 2147483647 h 31"/>
                <a:gd name="T48" fmla="*/ 2147483647 w 59"/>
                <a:gd name="T49" fmla="*/ 2147483647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9"/>
                <a:gd name="T76" fmla="*/ 0 h 31"/>
                <a:gd name="T77" fmla="*/ 59 w 59"/>
                <a:gd name="T78" fmla="*/ 31 h 3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82" name="Freeform 116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5033963" y="3122613"/>
              <a:ext cx="19050" cy="58737"/>
            </a:xfrm>
            <a:custGeom>
              <a:avLst/>
              <a:gdLst>
                <a:gd name="T0" fmla="*/ 2147483647 w 47"/>
                <a:gd name="T1" fmla="*/ 0 h 68"/>
                <a:gd name="T2" fmla="*/ 2147483647 w 47"/>
                <a:gd name="T3" fmla="*/ 2147483647 h 68"/>
                <a:gd name="T4" fmla="*/ 2147483647 w 47"/>
                <a:gd name="T5" fmla="*/ 2147483647 h 68"/>
                <a:gd name="T6" fmla="*/ 2147483647 w 47"/>
                <a:gd name="T7" fmla="*/ 2147483647 h 68"/>
                <a:gd name="T8" fmla="*/ 0 w 47"/>
                <a:gd name="T9" fmla="*/ 2147483647 h 68"/>
                <a:gd name="T10" fmla="*/ 0 w 47"/>
                <a:gd name="T11" fmla="*/ 2147483647 h 68"/>
                <a:gd name="T12" fmla="*/ 2147483647 w 47"/>
                <a:gd name="T13" fmla="*/ 2147483647 h 68"/>
                <a:gd name="T14" fmla="*/ 2147483647 w 47"/>
                <a:gd name="T15" fmla="*/ 2147483647 h 68"/>
                <a:gd name="T16" fmla="*/ 2147483647 w 47"/>
                <a:gd name="T17" fmla="*/ 2147483647 h 68"/>
                <a:gd name="T18" fmla="*/ 2147483647 w 47"/>
                <a:gd name="T19" fmla="*/ 2147483647 h 68"/>
                <a:gd name="T20" fmla="*/ 2147483647 w 47"/>
                <a:gd name="T21" fmla="*/ 2147483647 h 68"/>
                <a:gd name="T22" fmla="*/ 2147483647 w 47"/>
                <a:gd name="T23" fmla="*/ 2147483647 h 68"/>
                <a:gd name="T24" fmla="*/ 2147483647 w 47"/>
                <a:gd name="T25" fmla="*/ 2147483647 h 68"/>
                <a:gd name="T26" fmla="*/ 2147483647 w 47"/>
                <a:gd name="T27" fmla="*/ 2147483647 h 68"/>
                <a:gd name="T28" fmla="*/ 2147483647 w 47"/>
                <a:gd name="T29" fmla="*/ 2147483647 h 68"/>
                <a:gd name="T30" fmla="*/ 2147483647 w 47"/>
                <a:gd name="T31" fmla="*/ 2147483647 h 68"/>
                <a:gd name="T32" fmla="*/ 2147483647 w 47"/>
                <a:gd name="T33" fmla="*/ 2147483647 h 68"/>
                <a:gd name="T34" fmla="*/ 2147483647 w 47"/>
                <a:gd name="T35" fmla="*/ 2147483647 h 68"/>
                <a:gd name="T36" fmla="*/ 2147483647 w 47"/>
                <a:gd name="T37" fmla="*/ 2147483647 h 68"/>
                <a:gd name="T38" fmla="*/ 2147483647 w 47"/>
                <a:gd name="T39" fmla="*/ 2147483647 h 68"/>
                <a:gd name="T40" fmla="*/ 2147483647 w 47"/>
                <a:gd name="T41" fmla="*/ 2147483647 h 68"/>
                <a:gd name="T42" fmla="*/ 2147483647 w 47"/>
                <a:gd name="T43" fmla="*/ 2147483647 h 68"/>
                <a:gd name="T44" fmla="*/ 2147483647 w 47"/>
                <a:gd name="T45" fmla="*/ 2147483647 h 68"/>
                <a:gd name="T46" fmla="*/ 2147483647 w 47"/>
                <a:gd name="T47" fmla="*/ 2147483647 h 68"/>
                <a:gd name="T48" fmla="*/ 2147483647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7"/>
                <a:gd name="T76" fmla="*/ 0 h 68"/>
                <a:gd name="T77" fmla="*/ 47 w 47"/>
                <a:gd name="T78" fmla="*/ 68 h 6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15483" name="Group 117"/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5805488" y="3309938"/>
              <a:ext cx="46037" cy="374650"/>
              <a:chOff x="3950" y="2430"/>
              <a:chExt cx="36" cy="234"/>
            </a:xfrm>
          </p:grpSpPr>
          <p:sp>
            <p:nvSpPr>
              <p:cNvPr id="15932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0 h 20"/>
                  <a:gd name="T4" fmla="*/ 0 w 19"/>
                  <a:gd name="T5" fmla="*/ 0 h 20"/>
                  <a:gd name="T6" fmla="*/ 0 w 19"/>
                  <a:gd name="T7" fmla="*/ 0 h 20"/>
                  <a:gd name="T8" fmla="*/ 0 w 19"/>
                  <a:gd name="T9" fmla="*/ 0 h 20"/>
                  <a:gd name="T10" fmla="*/ 0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9"/>
                  <a:gd name="T22" fmla="*/ 0 h 20"/>
                  <a:gd name="T23" fmla="*/ 19 w 19"/>
                  <a:gd name="T24" fmla="*/ 20 h 2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33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9"/>
                  <a:gd name="T13" fmla="*/ 0 h 12"/>
                  <a:gd name="T14" fmla="*/ 19 w 19"/>
                  <a:gd name="T15" fmla="*/ 12 h 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34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0 w 19"/>
                  <a:gd name="T3" fmla="*/ 0 h 1"/>
                  <a:gd name="T4" fmla="*/ 0 w 19"/>
                  <a:gd name="T5" fmla="*/ 0 h 1"/>
                  <a:gd name="T6" fmla="*/ 0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9"/>
                  <a:gd name="T16" fmla="*/ 0 h 1"/>
                  <a:gd name="T17" fmla="*/ 19 w 19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35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 baseline="-25000"/>
              </a:p>
            </p:txBody>
          </p:sp>
          <p:sp>
            <p:nvSpPr>
              <p:cNvPr id="15936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37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0 w 6"/>
                  <a:gd name="T1" fmla="*/ 0 h 3"/>
                  <a:gd name="T2" fmla="*/ 0 w 6"/>
                  <a:gd name="T3" fmla="*/ 0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0 h 3"/>
                  <a:gd name="T10" fmla="*/ 0 w 6"/>
                  <a:gd name="T11" fmla="*/ 0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3"/>
                  <a:gd name="T23" fmla="*/ 6 w 6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38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0 w 14"/>
                  <a:gd name="T1" fmla="*/ 0 h 24"/>
                  <a:gd name="T2" fmla="*/ 0 w 14"/>
                  <a:gd name="T3" fmla="*/ 0 h 24"/>
                  <a:gd name="T4" fmla="*/ 0 w 14"/>
                  <a:gd name="T5" fmla="*/ 0 h 24"/>
                  <a:gd name="T6" fmla="*/ 0 w 14"/>
                  <a:gd name="T7" fmla="*/ 0 h 24"/>
                  <a:gd name="T8" fmla="*/ 0 w 14"/>
                  <a:gd name="T9" fmla="*/ 0 h 24"/>
                  <a:gd name="T10" fmla="*/ 0 w 14"/>
                  <a:gd name="T11" fmla="*/ 0 h 24"/>
                  <a:gd name="T12" fmla="*/ 0 w 14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"/>
                  <a:gd name="T22" fmla="*/ 0 h 24"/>
                  <a:gd name="T23" fmla="*/ 14 w 14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39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40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0 w 13"/>
                  <a:gd name="T1" fmla="*/ 0 h 12"/>
                  <a:gd name="T2" fmla="*/ 0 w 13"/>
                  <a:gd name="T3" fmla="*/ 0 h 12"/>
                  <a:gd name="T4" fmla="*/ 0 w 13"/>
                  <a:gd name="T5" fmla="*/ 0 h 12"/>
                  <a:gd name="T6" fmla="*/ 0 60000 65536"/>
                  <a:gd name="T7" fmla="*/ 0 60000 65536"/>
                  <a:gd name="T8" fmla="*/ 0 60000 65536"/>
                  <a:gd name="T9" fmla="*/ 0 w 13"/>
                  <a:gd name="T10" fmla="*/ 0 h 12"/>
                  <a:gd name="T11" fmla="*/ 13 w 13"/>
                  <a:gd name="T12" fmla="*/ 12 h 1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41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0 h 19"/>
                  <a:gd name="T4" fmla="*/ 0 w 7"/>
                  <a:gd name="T5" fmla="*/ 0 h 19"/>
                  <a:gd name="T6" fmla="*/ 0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"/>
                  <a:gd name="T13" fmla="*/ 0 h 19"/>
                  <a:gd name="T14" fmla="*/ 7 w 7"/>
                  <a:gd name="T15" fmla="*/ 19 h 1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42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43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0 h 18"/>
                  <a:gd name="T2" fmla="*/ 0 w 8"/>
                  <a:gd name="T3" fmla="*/ 0 h 18"/>
                  <a:gd name="T4" fmla="*/ 0 w 8"/>
                  <a:gd name="T5" fmla="*/ 0 h 18"/>
                  <a:gd name="T6" fmla="*/ 0 w 8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"/>
                  <a:gd name="T13" fmla="*/ 0 h 18"/>
                  <a:gd name="T14" fmla="*/ 8 w 8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44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0 h 19"/>
                  <a:gd name="T4" fmla="*/ 0 w 6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6"/>
                  <a:gd name="T10" fmla="*/ 0 h 19"/>
                  <a:gd name="T11" fmla="*/ 6 w 6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45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0 h 19"/>
                  <a:gd name="T4" fmla="*/ 0 w 28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28"/>
                  <a:gd name="T10" fmla="*/ 0 h 19"/>
                  <a:gd name="T11" fmla="*/ 28 w 28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46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0 w 15"/>
                  <a:gd name="T1" fmla="*/ 0 h 19"/>
                  <a:gd name="T2" fmla="*/ 0 w 15"/>
                  <a:gd name="T3" fmla="*/ 0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15"/>
                  <a:gd name="T10" fmla="*/ 0 h 19"/>
                  <a:gd name="T11" fmla="*/ 15 w 15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47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0 h 20"/>
                  <a:gd name="T4" fmla="*/ 0 w 19"/>
                  <a:gd name="T5" fmla="*/ 0 h 20"/>
                  <a:gd name="T6" fmla="*/ 0 w 19"/>
                  <a:gd name="T7" fmla="*/ 0 h 20"/>
                  <a:gd name="T8" fmla="*/ 0 w 19"/>
                  <a:gd name="T9" fmla="*/ 0 h 20"/>
                  <a:gd name="T10" fmla="*/ 0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9"/>
                  <a:gd name="T22" fmla="*/ 0 h 20"/>
                  <a:gd name="T23" fmla="*/ 19 w 19"/>
                  <a:gd name="T24" fmla="*/ 20 h 2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48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9"/>
                  <a:gd name="T13" fmla="*/ 0 h 12"/>
                  <a:gd name="T14" fmla="*/ 19 w 19"/>
                  <a:gd name="T15" fmla="*/ 12 h 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49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0 w 19"/>
                  <a:gd name="T3" fmla="*/ 0 h 1"/>
                  <a:gd name="T4" fmla="*/ 0 w 19"/>
                  <a:gd name="T5" fmla="*/ 0 h 1"/>
                  <a:gd name="T6" fmla="*/ 0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9"/>
                  <a:gd name="T16" fmla="*/ 0 h 1"/>
                  <a:gd name="T17" fmla="*/ 19 w 19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50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 baseline="-25000"/>
              </a:p>
            </p:txBody>
          </p:sp>
          <p:sp>
            <p:nvSpPr>
              <p:cNvPr id="15951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52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0 w 6"/>
                  <a:gd name="T1" fmla="*/ 0 h 3"/>
                  <a:gd name="T2" fmla="*/ 0 w 6"/>
                  <a:gd name="T3" fmla="*/ 0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0 h 3"/>
                  <a:gd name="T10" fmla="*/ 0 w 6"/>
                  <a:gd name="T11" fmla="*/ 0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3"/>
                  <a:gd name="T23" fmla="*/ 6 w 6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53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0 w 14"/>
                  <a:gd name="T1" fmla="*/ 0 h 24"/>
                  <a:gd name="T2" fmla="*/ 0 w 14"/>
                  <a:gd name="T3" fmla="*/ 0 h 24"/>
                  <a:gd name="T4" fmla="*/ 0 w 14"/>
                  <a:gd name="T5" fmla="*/ 0 h 24"/>
                  <a:gd name="T6" fmla="*/ 0 w 14"/>
                  <a:gd name="T7" fmla="*/ 0 h 24"/>
                  <a:gd name="T8" fmla="*/ 0 w 14"/>
                  <a:gd name="T9" fmla="*/ 0 h 24"/>
                  <a:gd name="T10" fmla="*/ 0 w 14"/>
                  <a:gd name="T11" fmla="*/ 0 h 24"/>
                  <a:gd name="T12" fmla="*/ 0 w 14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"/>
                  <a:gd name="T22" fmla="*/ 0 h 24"/>
                  <a:gd name="T23" fmla="*/ 14 w 14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54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55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0 w 13"/>
                  <a:gd name="T1" fmla="*/ 0 h 12"/>
                  <a:gd name="T2" fmla="*/ 0 w 13"/>
                  <a:gd name="T3" fmla="*/ 0 h 12"/>
                  <a:gd name="T4" fmla="*/ 0 w 13"/>
                  <a:gd name="T5" fmla="*/ 0 h 12"/>
                  <a:gd name="T6" fmla="*/ 0 60000 65536"/>
                  <a:gd name="T7" fmla="*/ 0 60000 65536"/>
                  <a:gd name="T8" fmla="*/ 0 60000 65536"/>
                  <a:gd name="T9" fmla="*/ 0 w 13"/>
                  <a:gd name="T10" fmla="*/ 0 h 12"/>
                  <a:gd name="T11" fmla="*/ 13 w 13"/>
                  <a:gd name="T12" fmla="*/ 12 h 1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56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0 h 19"/>
                  <a:gd name="T4" fmla="*/ 0 w 7"/>
                  <a:gd name="T5" fmla="*/ 0 h 19"/>
                  <a:gd name="T6" fmla="*/ 0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"/>
                  <a:gd name="T13" fmla="*/ 0 h 19"/>
                  <a:gd name="T14" fmla="*/ 7 w 7"/>
                  <a:gd name="T15" fmla="*/ 19 h 1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57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58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0 h 18"/>
                  <a:gd name="T2" fmla="*/ 0 w 8"/>
                  <a:gd name="T3" fmla="*/ 0 h 18"/>
                  <a:gd name="T4" fmla="*/ 0 w 8"/>
                  <a:gd name="T5" fmla="*/ 0 h 18"/>
                  <a:gd name="T6" fmla="*/ 0 w 8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"/>
                  <a:gd name="T13" fmla="*/ 0 h 18"/>
                  <a:gd name="T14" fmla="*/ 8 w 8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59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0 h 19"/>
                  <a:gd name="T4" fmla="*/ 0 w 6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6"/>
                  <a:gd name="T10" fmla="*/ 0 h 19"/>
                  <a:gd name="T11" fmla="*/ 6 w 6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60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0 h 19"/>
                  <a:gd name="T4" fmla="*/ 0 w 28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28"/>
                  <a:gd name="T10" fmla="*/ 0 h 19"/>
                  <a:gd name="T11" fmla="*/ 28 w 28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61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0 w 15"/>
                  <a:gd name="T1" fmla="*/ 0 h 19"/>
                  <a:gd name="T2" fmla="*/ 0 w 15"/>
                  <a:gd name="T3" fmla="*/ 0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15"/>
                  <a:gd name="T10" fmla="*/ 0 h 19"/>
                  <a:gd name="T11" fmla="*/ 15 w 15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62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w 20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0"/>
                  <a:gd name="T13" fmla="*/ 0 h 18"/>
                  <a:gd name="T14" fmla="*/ 20 w 20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5484" name="Group 149"/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7870825" y="3810000"/>
              <a:ext cx="185738" cy="214313"/>
              <a:chOff x="5486" y="2743"/>
              <a:chExt cx="137" cy="132"/>
            </a:xfrm>
          </p:grpSpPr>
          <p:sp>
            <p:nvSpPr>
              <p:cNvPr id="15923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0 h 87"/>
                  <a:gd name="T2" fmla="*/ 0 w 40"/>
                  <a:gd name="T3" fmla="*/ 0 h 87"/>
                  <a:gd name="T4" fmla="*/ 0 w 40"/>
                  <a:gd name="T5" fmla="*/ 0 h 87"/>
                  <a:gd name="T6" fmla="*/ 0 w 40"/>
                  <a:gd name="T7" fmla="*/ 0 h 87"/>
                  <a:gd name="T8" fmla="*/ 0 w 40"/>
                  <a:gd name="T9" fmla="*/ 0 h 87"/>
                  <a:gd name="T10" fmla="*/ 0 w 40"/>
                  <a:gd name="T11" fmla="*/ 0 h 87"/>
                  <a:gd name="T12" fmla="*/ 0 w 40"/>
                  <a:gd name="T13" fmla="*/ 0 h 87"/>
                  <a:gd name="T14" fmla="*/ 0 w 40"/>
                  <a:gd name="T15" fmla="*/ 0 h 87"/>
                  <a:gd name="T16" fmla="*/ 0 w 40"/>
                  <a:gd name="T17" fmla="*/ 0 h 87"/>
                  <a:gd name="T18" fmla="*/ 0 w 40"/>
                  <a:gd name="T19" fmla="*/ 0 h 87"/>
                  <a:gd name="T20" fmla="*/ 0 w 40"/>
                  <a:gd name="T21" fmla="*/ 0 h 87"/>
                  <a:gd name="T22" fmla="*/ 0 w 40"/>
                  <a:gd name="T23" fmla="*/ 0 h 87"/>
                  <a:gd name="T24" fmla="*/ 0 w 40"/>
                  <a:gd name="T25" fmla="*/ 0 h 87"/>
                  <a:gd name="T26" fmla="*/ 0 w 40"/>
                  <a:gd name="T27" fmla="*/ 0 h 87"/>
                  <a:gd name="T28" fmla="*/ 0 w 40"/>
                  <a:gd name="T29" fmla="*/ 0 h 87"/>
                  <a:gd name="T30" fmla="*/ 0 w 40"/>
                  <a:gd name="T31" fmla="*/ 0 h 87"/>
                  <a:gd name="T32" fmla="*/ 0 w 40"/>
                  <a:gd name="T33" fmla="*/ 0 h 87"/>
                  <a:gd name="T34" fmla="*/ 0 w 40"/>
                  <a:gd name="T35" fmla="*/ 0 h 87"/>
                  <a:gd name="T36" fmla="*/ 0 w 40"/>
                  <a:gd name="T37" fmla="*/ 0 h 87"/>
                  <a:gd name="T38" fmla="*/ 0 w 40"/>
                  <a:gd name="T39" fmla="*/ 0 h 87"/>
                  <a:gd name="T40" fmla="*/ 0 w 40"/>
                  <a:gd name="T41" fmla="*/ 0 h 87"/>
                  <a:gd name="T42" fmla="*/ 0 w 40"/>
                  <a:gd name="T43" fmla="*/ 0 h 87"/>
                  <a:gd name="T44" fmla="*/ 0 w 40"/>
                  <a:gd name="T45" fmla="*/ 0 h 87"/>
                  <a:gd name="T46" fmla="*/ 0 w 40"/>
                  <a:gd name="T47" fmla="*/ 0 h 87"/>
                  <a:gd name="T48" fmla="*/ 0 w 40"/>
                  <a:gd name="T49" fmla="*/ 0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40"/>
                  <a:gd name="T76" fmla="*/ 0 h 87"/>
                  <a:gd name="T77" fmla="*/ 40 w 40"/>
                  <a:gd name="T78" fmla="*/ 87 h 8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24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0 h 37"/>
                  <a:gd name="T2" fmla="*/ 0 w 61"/>
                  <a:gd name="T3" fmla="*/ 0 h 37"/>
                  <a:gd name="T4" fmla="*/ 0 w 61"/>
                  <a:gd name="T5" fmla="*/ 0 h 37"/>
                  <a:gd name="T6" fmla="*/ 0 w 61"/>
                  <a:gd name="T7" fmla="*/ 0 h 37"/>
                  <a:gd name="T8" fmla="*/ 0 w 61"/>
                  <a:gd name="T9" fmla="*/ 0 h 37"/>
                  <a:gd name="T10" fmla="*/ 0 w 61"/>
                  <a:gd name="T11" fmla="*/ 0 h 37"/>
                  <a:gd name="T12" fmla="*/ 0 w 61"/>
                  <a:gd name="T13" fmla="*/ 0 h 37"/>
                  <a:gd name="T14" fmla="*/ 0 w 61"/>
                  <a:gd name="T15" fmla="*/ 0 h 37"/>
                  <a:gd name="T16" fmla="*/ 0 w 61"/>
                  <a:gd name="T17" fmla="*/ 0 h 37"/>
                  <a:gd name="T18" fmla="*/ 0 w 61"/>
                  <a:gd name="T19" fmla="*/ 0 h 37"/>
                  <a:gd name="T20" fmla="*/ 0 w 61"/>
                  <a:gd name="T21" fmla="*/ 0 h 37"/>
                  <a:gd name="T22" fmla="*/ 0 w 61"/>
                  <a:gd name="T23" fmla="*/ 0 h 37"/>
                  <a:gd name="T24" fmla="*/ 0 w 61"/>
                  <a:gd name="T25" fmla="*/ 0 h 37"/>
                  <a:gd name="T26" fmla="*/ 0 w 61"/>
                  <a:gd name="T27" fmla="*/ 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61"/>
                  <a:gd name="T43" fmla="*/ 0 h 37"/>
                  <a:gd name="T44" fmla="*/ 61 w 61"/>
                  <a:gd name="T45" fmla="*/ 37 h 3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25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0 w 40"/>
                  <a:gd name="T1" fmla="*/ 0 h 30"/>
                  <a:gd name="T2" fmla="*/ 0 w 40"/>
                  <a:gd name="T3" fmla="*/ 0 h 30"/>
                  <a:gd name="T4" fmla="*/ 0 w 40"/>
                  <a:gd name="T5" fmla="*/ 0 h 30"/>
                  <a:gd name="T6" fmla="*/ 0 w 40"/>
                  <a:gd name="T7" fmla="*/ 0 h 30"/>
                  <a:gd name="T8" fmla="*/ 0 w 40"/>
                  <a:gd name="T9" fmla="*/ 0 h 30"/>
                  <a:gd name="T10" fmla="*/ 0 w 40"/>
                  <a:gd name="T11" fmla="*/ 0 h 30"/>
                  <a:gd name="T12" fmla="*/ 0 w 40"/>
                  <a:gd name="T13" fmla="*/ 0 h 30"/>
                  <a:gd name="T14" fmla="*/ 0 w 40"/>
                  <a:gd name="T15" fmla="*/ 0 h 30"/>
                  <a:gd name="T16" fmla="*/ 0 w 40"/>
                  <a:gd name="T17" fmla="*/ 0 h 30"/>
                  <a:gd name="T18" fmla="*/ 0 w 40"/>
                  <a:gd name="T19" fmla="*/ 0 h 30"/>
                  <a:gd name="T20" fmla="*/ 0 w 40"/>
                  <a:gd name="T21" fmla="*/ 0 h 30"/>
                  <a:gd name="T22" fmla="*/ 0 w 40"/>
                  <a:gd name="T23" fmla="*/ 0 h 30"/>
                  <a:gd name="T24" fmla="*/ 0 w 40"/>
                  <a:gd name="T25" fmla="*/ 0 h 30"/>
                  <a:gd name="T26" fmla="*/ 0 w 40"/>
                  <a:gd name="T27" fmla="*/ 0 h 30"/>
                  <a:gd name="T28" fmla="*/ 0 w 40"/>
                  <a:gd name="T29" fmla="*/ 0 h 30"/>
                  <a:gd name="T30" fmla="*/ 0 w 40"/>
                  <a:gd name="T31" fmla="*/ 0 h 30"/>
                  <a:gd name="T32" fmla="*/ 0 w 40"/>
                  <a:gd name="T33" fmla="*/ 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0"/>
                  <a:gd name="T52" fmla="*/ 0 h 30"/>
                  <a:gd name="T53" fmla="*/ 40 w 40"/>
                  <a:gd name="T54" fmla="*/ 30 h 30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26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0 w 74"/>
                  <a:gd name="T1" fmla="*/ 0 h 80"/>
                  <a:gd name="T2" fmla="*/ 0 w 74"/>
                  <a:gd name="T3" fmla="*/ 0 h 80"/>
                  <a:gd name="T4" fmla="*/ 0 w 74"/>
                  <a:gd name="T5" fmla="*/ 0 h 80"/>
                  <a:gd name="T6" fmla="*/ 0 w 74"/>
                  <a:gd name="T7" fmla="*/ 0 h 80"/>
                  <a:gd name="T8" fmla="*/ 0 w 74"/>
                  <a:gd name="T9" fmla="*/ 0 h 80"/>
                  <a:gd name="T10" fmla="*/ 0 w 74"/>
                  <a:gd name="T11" fmla="*/ 0 h 80"/>
                  <a:gd name="T12" fmla="*/ 0 w 74"/>
                  <a:gd name="T13" fmla="*/ 0 h 80"/>
                  <a:gd name="T14" fmla="*/ 0 w 74"/>
                  <a:gd name="T15" fmla="*/ 0 h 80"/>
                  <a:gd name="T16" fmla="*/ 0 w 74"/>
                  <a:gd name="T17" fmla="*/ 0 h 80"/>
                  <a:gd name="T18" fmla="*/ 0 w 74"/>
                  <a:gd name="T19" fmla="*/ 0 h 80"/>
                  <a:gd name="T20" fmla="*/ 0 w 74"/>
                  <a:gd name="T21" fmla="*/ 0 h 80"/>
                  <a:gd name="T22" fmla="*/ 0 w 74"/>
                  <a:gd name="T23" fmla="*/ 0 h 80"/>
                  <a:gd name="T24" fmla="*/ 0 w 74"/>
                  <a:gd name="T25" fmla="*/ 0 h 80"/>
                  <a:gd name="T26" fmla="*/ 0 w 74"/>
                  <a:gd name="T27" fmla="*/ 0 h 80"/>
                  <a:gd name="T28" fmla="*/ 0 w 74"/>
                  <a:gd name="T29" fmla="*/ 0 h 80"/>
                  <a:gd name="T30" fmla="*/ 0 w 74"/>
                  <a:gd name="T31" fmla="*/ 0 h 80"/>
                  <a:gd name="T32" fmla="*/ 0 w 74"/>
                  <a:gd name="T33" fmla="*/ 0 h 80"/>
                  <a:gd name="T34" fmla="*/ 0 w 74"/>
                  <a:gd name="T35" fmla="*/ 0 h 80"/>
                  <a:gd name="T36" fmla="*/ 0 w 74"/>
                  <a:gd name="T37" fmla="*/ 0 h 80"/>
                  <a:gd name="T38" fmla="*/ 0 w 74"/>
                  <a:gd name="T39" fmla="*/ 0 h 80"/>
                  <a:gd name="T40" fmla="*/ 0 w 74"/>
                  <a:gd name="T41" fmla="*/ 0 h 80"/>
                  <a:gd name="T42" fmla="*/ 0 w 74"/>
                  <a:gd name="T43" fmla="*/ 0 h 80"/>
                  <a:gd name="T44" fmla="*/ 0 w 74"/>
                  <a:gd name="T45" fmla="*/ 0 h 80"/>
                  <a:gd name="T46" fmla="*/ 0 w 74"/>
                  <a:gd name="T47" fmla="*/ 0 h 80"/>
                  <a:gd name="T48" fmla="*/ 0 w 74"/>
                  <a:gd name="T49" fmla="*/ 0 h 80"/>
                  <a:gd name="T50" fmla="*/ 0 w 74"/>
                  <a:gd name="T51" fmla="*/ 0 h 80"/>
                  <a:gd name="T52" fmla="*/ 0 w 74"/>
                  <a:gd name="T53" fmla="*/ 0 h 80"/>
                  <a:gd name="T54" fmla="*/ 0 w 74"/>
                  <a:gd name="T55" fmla="*/ 0 h 80"/>
                  <a:gd name="T56" fmla="*/ 0 w 74"/>
                  <a:gd name="T57" fmla="*/ 0 h 80"/>
                  <a:gd name="T58" fmla="*/ 0 w 74"/>
                  <a:gd name="T59" fmla="*/ 0 h 80"/>
                  <a:gd name="T60" fmla="*/ 0 w 74"/>
                  <a:gd name="T61" fmla="*/ 0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74"/>
                  <a:gd name="T94" fmla="*/ 0 h 80"/>
                  <a:gd name="T95" fmla="*/ 74 w 74"/>
                  <a:gd name="T96" fmla="*/ 80 h 80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27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0 w 86"/>
                  <a:gd name="T1" fmla="*/ 0 h 80"/>
                  <a:gd name="T2" fmla="*/ 0 w 86"/>
                  <a:gd name="T3" fmla="*/ 0 h 80"/>
                  <a:gd name="T4" fmla="*/ 0 w 86"/>
                  <a:gd name="T5" fmla="*/ 0 h 80"/>
                  <a:gd name="T6" fmla="*/ 0 w 86"/>
                  <a:gd name="T7" fmla="*/ 0 h 80"/>
                  <a:gd name="T8" fmla="*/ 0 w 86"/>
                  <a:gd name="T9" fmla="*/ 0 h 80"/>
                  <a:gd name="T10" fmla="*/ 0 w 86"/>
                  <a:gd name="T11" fmla="*/ 0 h 80"/>
                  <a:gd name="T12" fmla="*/ 0 w 86"/>
                  <a:gd name="T13" fmla="*/ 0 h 80"/>
                  <a:gd name="T14" fmla="*/ 0 w 86"/>
                  <a:gd name="T15" fmla="*/ 0 h 80"/>
                  <a:gd name="T16" fmla="*/ 0 w 86"/>
                  <a:gd name="T17" fmla="*/ 0 h 80"/>
                  <a:gd name="T18" fmla="*/ 0 w 86"/>
                  <a:gd name="T19" fmla="*/ 0 h 80"/>
                  <a:gd name="T20" fmla="*/ 0 w 86"/>
                  <a:gd name="T21" fmla="*/ 0 h 80"/>
                  <a:gd name="T22" fmla="*/ 0 w 86"/>
                  <a:gd name="T23" fmla="*/ 0 h 80"/>
                  <a:gd name="T24" fmla="*/ 0 w 86"/>
                  <a:gd name="T25" fmla="*/ 0 h 80"/>
                  <a:gd name="T26" fmla="*/ 0 w 86"/>
                  <a:gd name="T27" fmla="*/ 0 h 80"/>
                  <a:gd name="T28" fmla="*/ 0 w 86"/>
                  <a:gd name="T29" fmla="*/ 0 h 80"/>
                  <a:gd name="T30" fmla="*/ 0 w 86"/>
                  <a:gd name="T31" fmla="*/ 0 h 80"/>
                  <a:gd name="T32" fmla="*/ 0 w 86"/>
                  <a:gd name="T33" fmla="*/ 0 h 80"/>
                  <a:gd name="T34" fmla="*/ 0 w 86"/>
                  <a:gd name="T35" fmla="*/ 0 h 80"/>
                  <a:gd name="T36" fmla="*/ 0 w 86"/>
                  <a:gd name="T37" fmla="*/ 0 h 80"/>
                  <a:gd name="T38" fmla="*/ 0 w 86"/>
                  <a:gd name="T39" fmla="*/ 0 h 80"/>
                  <a:gd name="T40" fmla="*/ 0 w 86"/>
                  <a:gd name="T41" fmla="*/ 0 h 80"/>
                  <a:gd name="T42" fmla="*/ 0 w 86"/>
                  <a:gd name="T43" fmla="*/ 0 h 80"/>
                  <a:gd name="T44" fmla="*/ 0 w 86"/>
                  <a:gd name="T45" fmla="*/ 0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86"/>
                  <a:gd name="T70" fmla="*/ 0 h 80"/>
                  <a:gd name="T71" fmla="*/ 86 w 86"/>
                  <a:gd name="T72" fmla="*/ 80 h 80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28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0 h 31"/>
                  <a:gd name="T2" fmla="*/ 0 w 74"/>
                  <a:gd name="T3" fmla="*/ 0 h 31"/>
                  <a:gd name="T4" fmla="*/ 0 w 74"/>
                  <a:gd name="T5" fmla="*/ 0 h 31"/>
                  <a:gd name="T6" fmla="*/ 0 w 74"/>
                  <a:gd name="T7" fmla="*/ 0 h 31"/>
                  <a:gd name="T8" fmla="*/ 0 w 74"/>
                  <a:gd name="T9" fmla="*/ 0 h 31"/>
                  <a:gd name="T10" fmla="*/ 0 w 74"/>
                  <a:gd name="T11" fmla="*/ 0 h 31"/>
                  <a:gd name="T12" fmla="*/ 0 w 74"/>
                  <a:gd name="T13" fmla="*/ 0 h 31"/>
                  <a:gd name="T14" fmla="*/ 0 w 74"/>
                  <a:gd name="T15" fmla="*/ 0 h 31"/>
                  <a:gd name="T16" fmla="*/ 0 w 74"/>
                  <a:gd name="T17" fmla="*/ 0 h 31"/>
                  <a:gd name="T18" fmla="*/ 0 w 74"/>
                  <a:gd name="T19" fmla="*/ 0 h 31"/>
                  <a:gd name="T20" fmla="*/ 0 w 74"/>
                  <a:gd name="T21" fmla="*/ 0 h 31"/>
                  <a:gd name="T22" fmla="*/ 0 w 74"/>
                  <a:gd name="T23" fmla="*/ 0 h 31"/>
                  <a:gd name="T24" fmla="*/ 0 w 74"/>
                  <a:gd name="T25" fmla="*/ 0 h 31"/>
                  <a:gd name="T26" fmla="*/ 0 w 74"/>
                  <a:gd name="T27" fmla="*/ 0 h 31"/>
                  <a:gd name="T28" fmla="*/ 0 w 74"/>
                  <a:gd name="T29" fmla="*/ 0 h 31"/>
                  <a:gd name="T30" fmla="*/ 0 w 74"/>
                  <a:gd name="T31" fmla="*/ 0 h 31"/>
                  <a:gd name="T32" fmla="*/ 0 w 74"/>
                  <a:gd name="T33" fmla="*/ 0 h 31"/>
                  <a:gd name="T34" fmla="*/ 0 w 74"/>
                  <a:gd name="T35" fmla="*/ 0 h 31"/>
                  <a:gd name="T36" fmla="*/ 0 w 74"/>
                  <a:gd name="T37" fmla="*/ 0 h 31"/>
                  <a:gd name="T38" fmla="*/ 0 w 74"/>
                  <a:gd name="T39" fmla="*/ 0 h 31"/>
                  <a:gd name="T40" fmla="*/ 0 w 74"/>
                  <a:gd name="T41" fmla="*/ 0 h 31"/>
                  <a:gd name="T42" fmla="*/ 0 w 74"/>
                  <a:gd name="T43" fmla="*/ 0 h 31"/>
                  <a:gd name="T44" fmla="*/ 0 w 74"/>
                  <a:gd name="T45" fmla="*/ 0 h 31"/>
                  <a:gd name="T46" fmla="*/ 0 w 74"/>
                  <a:gd name="T47" fmla="*/ 0 h 31"/>
                  <a:gd name="T48" fmla="*/ 0 w 74"/>
                  <a:gd name="T49" fmla="*/ 0 h 31"/>
                  <a:gd name="T50" fmla="*/ 0 w 74"/>
                  <a:gd name="T51" fmla="*/ 0 h 31"/>
                  <a:gd name="T52" fmla="*/ 0 w 74"/>
                  <a:gd name="T53" fmla="*/ 0 h 31"/>
                  <a:gd name="T54" fmla="*/ 0 w 74"/>
                  <a:gd name="T55" fmla="*/ 0 h 31"/>
                  <a:gd name="T56" fmla="*/ 0 w 74"/>
                  <a:gd name="T57" fmla="*/ 0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74"/>
                  <a:gd name="T88" fmla="*/ 0 h 31"/>
                  <a:gd name="T89" fmla="*/ 74 w 74"/>
                  <a:gd name="T90" fmla="*/ 31 h 31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29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0 w 20"/>
                  <a:gd name="T1" fmla="*/ 0 h 1"/>
                  <a:gd name="T2" fmla="*/ 0 w 20"/>
                  <a:gd name="T3" fmla="*/ 0 h 1"/>
                  <a:gd name="T4" fmla="*/ 0 w 20"/>
                  <a:gd name="T5" fmla="*/ 0 h 1"/>
                  <a:gd name="T6" fmla="*/ 0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0"/>
                  <a:gd name="T13" fmla="*/ 0 h 1"/>
                  <a:gd name="T14" fmla="*/ 20 w 20"/>
                  <a:gd name="T15" fmla="*/ 1 h 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30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0 w 100"/>
                  <a:gd name="T1" fmla="*/ 0 h 65"/>
                  <a:gd name="T2" fmla="*/ 0 w 100"/>
                  <a:gd name="T3" fmla="*/ 0 h 65"/>
                  <a:gd name="T4" fmla="*/ 0 w 100"/>
                  <a:gd name="T5" fmla="*/ 0 h 65"/>
                  <a:gd name="T6" fmla="*/ 0 w 100"/>
                  <a:gd name="T7" fmla="*/ 0 h 65"/>
                  <a:gd name="T8" fmla="*/ 0 w 100"/>
                  <a:gd name="T9" fmla="*/ 0 h 65"/>
                  <a:gd name="T10" fmla="*/ 0 w 100"/>
                  <a:gd name="T11" fmla="*/ 0 h 65"/>
                  <a:gd name="T12" fmla="*/ 0 w 100"/>
                  <a:gd name="T13" fmla="*/ 0 h 65"/>
                  <a:gd name="T14" fmla="*/ 0 w 100"/>
                  <a:gd name="T15" fmla="*/ 0 h 65"/>
                  <a:gd name="T16" fmla="*/ 0 w 100"/>
                  <a:gd name="T17" fmla="*/ 0 h 65"/>
                  <a:gd name="T18" fmla="*/ 0 w 100"/>
                  <a:gd name="T19" fmla="*/ 0 h 65"/>
                  <a:gd name="T20" fmla="*/ 0 w 100"/>
                  <a:gd name="T21" fmla="*/ 0 h 65"/>
                  <a:gd name="T22" fmla="*/ 0 w 100"/>
                  <a:gd name="T23" fmla="*/ 0 h 65"/>
                  <a:gd name="T24" fmla="*/ 0 w 100"/>
                  <a:gd name="T25" fmla="*/ 0 h 65"/>
                  <a:gd name="T26" fmla="*/ 0 w 100"/>
                  <a:gd name="T27" fmla="*/ 0 h 65"/>
                  <a:gd name="T28" fmla="*/ 0 w 100"/>
                  <a:gd name="T29" fmla="*/ 0 h 65"/>
                  <a:gd name="T30" fmla="*/ 0 w 100"/>
                  <a:gd name="T31" fmla="*/ 0 h 65"/>
                  <a:gd name="T32" fmla="*/ 0 w 100"/>
                  <a:gd name="T33" fmla="*/ 0 h 65"/>
                  <a:gd name="T34" fmla="*/ 0 w 100"/>
                  <a:gd name="T35" fmla="*/ 0 h 65"/>
                  <a:gd name="T36" fmla="*/ 0 w 100"/>
                  <a:gd name="T37" fmla="*/ 0 h 65"/>
                  <a:gd name="T38" fmla="*/ 0 w 100"/>
                  <a:gd name="T39" fmla="*/ 0 h 65"/>
                  <a:gd name="T40" fmla="*/ 0 w 100"/>
                  <a:gd name="T41" fmla="*/ 0 h 65"/>
                  <a:gd name="T42" fmla="*/ 0 w 100"/>
                  <a:gd name="T43" fmla="*/ 0 h 65"/>
                  <a:gd name="T44" fmla="*/ 0 w 100"/>
                  <a:gd name="T45" fmla="*/ 0 h 65"/>
                  <a:gd name="T46" fmla="*/ 0 w 100"/>
                  <a:gd name="T47" fmla="*/ 0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00"/>
                  <a:gd name="T73" fmla="*/ 0 h 65"/>
                  <a:gd name="T74" fmla="*/ 100 w 100"/>
                  <a:gd name="T75" fmla="*/ 65 h 65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31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0 w 79"/>
                  <a:gd name="T1" fmla="*/ 0 h 104"/>
                  <a:gd name="T2" fmla="*/ 0 w 79"/>
                  <a:gd name="T3" fmla="*/ 0 h 104"/>
                  <a:gd name="T4" fmla="*/ 0 w 79"/>
                  <a:gd name="T5" fmla="*/ 0 h 104"/>
                  <a:gd name="T6" fmla="*/ 0 w 79"/>
                  <a:gd name="T7" fmla="*/ 0 h 104"/>
                  <a:gd name="T8" fmla="*/ 0 w 79"/>
                  <a:gd name="T9" fmla="*/ 0 h 104"/>
                  <a:gd name="T10" fmla="*/ 0 w 79"/>
                  <a:gd name="T11" fmla="*/ 0 h 104"/>
                  <a:gd name="T12" fmla="*/ 0 w 79"/>
                  <a:gd name="T13" fmla="*/ 0 h 104"/>
                  <a:gd name="T14" fmla="*/ 0 w 79"/>
                  <a:gd name="T15" fmla="*/ 0 h 104"/>
                  <a:gd name="T16" fmla="*/ 0 w 79"/>
                  <a:gd name="T17" fmla="*/ 0 h 104"/>
                  <a:gd name="T18" fmla="*/ 0 w 79"/>
                  <a:gd name="T19" fmla="*/ 0 h 104"/>
                  <a:gd name="T20" fmla="*/ 0 w 79"/>
                  <a:gd name="T21" fmla="*/ 0 h 104"/>
                  <a:gd name="T22" fmla="*/ 0 w 79"/>
                  <a:gd name="T23" fmla="*/ 0 h 104"/>
                  <a:gd name="T24" fmla="*/ 0 w 79"/>
                  <a:gd name="T25" fmla="*/ 0 h 104"/>
                  <a:gd name="T26" fmla="*/ 0 w 79"/>
                  <a:gd name="T27" fmla="*/ 0 h 104"/>
                  <a:gd name="T28" fmla="*/ 0 w 79"/>
                  <a:gd name="T29" fmla="*/ 0 h 104"/>
                  <a:gd name="T30" fmla="*/ 0 w 79"/>
                  <a:gd name="T31" fmla="*/ 0 h 104"/>
                  <a:gd name="T32" fmla="*/ 0 w 79"/>
                  <a:gd name="T33" fmla="*/ 0 h 104"/>
                  <a:gd name="T34" fmla="*/ 0 w 79"/>
                  <a:gd name="T35" fmla="*/ 0 h 104"/>
                  <a:gd name="T36" fmla="*/ 0 w 79"/>
                  <a:gd name="T37" fmla="*/ 0 h 104"/>
                  <a:gd name="T38" fmla="*/ 0 w 79"/>
                  <a:gd name="T39" fmla="*/ 0 h 104"/>
                  <a:gd name="T40" fmla="*/ 0 w 79"/>
                  <a:gd name="T41" fmla="*/ 0 h 104"/>
                  <a:gd name="T42" fmla="*/ 0 w 79"/>
                  <a:gd name="T43" fmla="*/ 0 h 104"/>
                  <a:gd name="T44" fmla="*/ 0 w 79"/>
                  <a:gd name="T45" fmla="*/ 0 h 104"/>
                  <a:gd name="T46" fmla="*/ 0 w 79"/>
                  <a:gd name="T47" fmla="*/ 0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79"/>
                  <a:gd name="T73" fmla="*/ 0 h 104"/>
                  <a:gd name="T74" fmla="*/ 79 w 79"/>
                  <a:gd name="T75" fmla="*/ 104 h 104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5485" name="Freeform 159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4216400" y="3548063"/>
              <a:ext cx="11113" cy="55562"/>
            </a:xfrm>
            <a:custGeom>
              <a:avLst/>
              <a:gdLst>
                <a:gd name="T0" fmla="*/ 2147483647 w 27"/>
                <a:gd name="T1" fmla="*/ 0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2147483647 w 27"/>
                <a:gd name="T7" fmla="*/ 2147483647 h 19"/>
                <a:gd name="T8" fmla="*/ 0 w 27"/>
                <a:gd name="T9" fmla="*/ 2147483647 h 19"/>
                <a:gd name="T10" fmla="*/ 2147483647 w 27"/>
                <a:gd name="T11" fmla="*/ 2147483647 h 19"/>
                <a:gd name="T12" fmla="*/ 214748364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19"/>
                <a:gd name="T23" fmla="*/ 27 w 27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86" name="Freeform 160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4140200" y="3687763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2147483647 w 39"/>
                <a:gd name="T3" fmla="*/ 0 h 35"/>
                <a:gd name="T4" fmla="*/ 2147483647 w 39"/>
                <a:gd name="T5" fmla="*/ 2147483647 h 35"/>
                <a:gd name="T6" fmla="*/ 2147483647 w 39"/>
                <a:gd name="T7" fmla="*/ 2147483647 h 35"/>
                <a:gd name="T8" fmla="*/ 2147483647 w 39"/>
                <a:gd name="T9" fmla="*/ 2147483647 h 35"/>
                <a:gd name="T10" fmla="*/ 2147483647 w 39"/>
                <a:gd name="T11" fmla="*/ 2147483647 h 35"/>
                <a:gd name="T12" fmla="*/ 2147483647 w 39"/>
                <a:gd name="T13" fmla="*/ 2147483647 h 35"/>
                <a:gd name="T14" fmla="*/ 2147483647 w 39"/>
                <a:gd name="T15" fmla="*/ 2147483647 h 35"/>
                <a:gd name="T16" fmla="*/ 2147483647 w 39"/>
                <a:gd name="T17" fmla="*/ 2147483647 h 35"/>
                <a:gd name="T18" fmla="*/ 2147483647 w 39"/>
                <a:gd name="T19" fmla="*/ 2147483647 h 35"/>
                <a:gd name="T20" fmla="*/ 2147483647 w 39"/>
                <a:gd name="T21" fmla="*/ 2147483647 h 35"/>
                <a:gd name="T22" fmla="*/ 2147483647 w 39"/>
                <a:gd name="T23" fmla="*/ 2147483647 h 35"/>
                <a:gd name="T24" fmla="*/ 2147483647 w 39"/>
                <a:gd name="T25" fmla="*/ 2147483647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9"/>
                <a:gd name="T43" fmla="*/ 0 h 35"/>
                <a:gd name="T44" fmla="*/ 39 w 39"/>
                <a:gd name="T45" fmla="*/ 35 h 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87" name="Freeform 161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5938838" y="2014538"/>
              <a:ext cx="728662" cy="331787"/>
            </a:xfrm>
            <a:custGeom>
              <a:avLst/>
              <a:gdLst>
                <a:gd name="T0" fmla="*/ 2147483647 w 1688"/>
                <a:gd name="T1" fmla="*/ 2147483647 h 630"/>
                <a:gd name="T2" fmla="*/ 2147483647 w 1688"/>
                <a:gd name="T3" fmla="*/ 2147483647 h 630"/>
                <a:gd name="T4" fmla="*/ 2147483647 w 1688"/>
                <a:gd name="T5" fmla="*/ 2147483647 h 630"/>
                <a:gd name="T6" fmla="*/ 2147483647 w 1688"/>
                <a:gd name="T7" fmla="*/ 2147483647 h 630"/>
                <a:gd name="T8" fmla="*/ 2147483647 w 1688"/>
                <a:gd name="T9" fmla="*/ 2147483647 h 630"/>
                <a:gd name="T10" fmla="*/ 2147483647 w 1688"/>
                <a:gd name="T11" fmla="*/ 2147483647 h 630"/>
                <a:gd name="T12" fmla="*/ 2147483647 w 1688"/>
                <a:gd name="T13" fmla="*/ 2147483647 h 630"/>
                <a:gd name="T14" fmla="*/ 2147483647 w 1688"/>
                <a:gd name="T15" fmla="*/ 2147483647 h 630"/>
                <a:gd name="T16" fmla="*/ 2147483647 w 1688"/>
                <a:gd name="T17" fmla="*/ 2147483647 h 630"/>
                <a:gd name="T18" fmla="*/ 2147483647 w 1688"/>
                <a:gd name="T19" fmla="*/ 2147483647 h 630"/>
                <a:gd name="T20" fmla="*/ 2147483647 w 1688"/>
                <a:gd name="T21" fmla="*/ 2147483647 h 630"/>
                <a:gd name="T22" fmla="*/ 2147483647 w 1688"/>
                <a:gd name="T23" fmla="*/ 2147483647 h 630"/>
                <a:gd name="T24" fmla="*/ 2147483647 w 1688"/>
                <a:gd name="T25" fmla="*/ 2147483647 h 630"/>
                <a:gd name="T26" fmla="*/ 2147483647 w 1688"/>
                <a:gd name="T27" fmla="*/ 2147483647 h 630"/>
                <a:gd name="T28" fmla="*/ 2147483647 w 1688"/>
                <a:gd name="T29" fmla="*/ 2147483647 h 630"/>
                <a:gd name="T30" fmla="*/ 2147483647 w 1688"/>
                <a:gd name="T31" fmla="*/ 2147483647 h 630"/>
                <a:gd name="T32" fmla="*/ 2147483647 w 1688"/>
                <a:gd name="T33" fmla="*/ 2147483647 h 630"/>
                <a:gd name="T34" fmla="*/ 2147483647 w 1688"/>
                <a:gd name="T35" fmla="*/ 2147483647 h 630"/>
                <a:gd name="T36" fmla="*/ 2147483647 w 1688"/>
                <a:gd name="T37" fmla="*/ 2147483647 h 630"/>
                <a:gd name="T38" fmla="*/ 2147483647 w 1688"/>
                <a:gd name="T39" fmla="*/ 2147483647 h 630"/>
                <a:gd name="T40" fmla="*/ 2147483647 w 1688"/>
                <a:gd name="T41" fmla="*/ 2147483647 h 630"/>
                <a:gd name="T42" fmla="*/ 2147483647 w 1688"/>
                <a:gd name="T43" fmla="*/ 2147483647 h 630"/>
                <a:gd name="T44" fmla="*/ 2147483647 w 1688"/>
                <a:gd name="T45" fmla="*/ 2147483647 h 630"/>
                <a:gd name="T46" fmla="*/ 2147483647 w 1688"/>
                <a:gd name="T47" fmla="*/ 2147483647 h 630"/>
                <a:gd name="T48" fmla="*/ 2147483647 w 1688"/>
                <a:gd name="T49" fmla="*/ 2147483647 h 630"/>
                <a:gd name="T50" fmla="*/ 2147483647 w 1688"/>
                <a:gd name="T51" fmla="*/ 2147483647 h 630"/>
                <a:gd name="T52" fmla="*/ 2147483647 w 1688"/>
                <a:gd name="T53" fmla="*/ 2147483647 h 630"/>
                <a:gd name="T54" fmla="*/ 2147483647 w 1688"/>
                <a:gd name="T55" fmla="*/ 2147483647 h 630"/>
                <a:gd name="T56" fmla="*/ 2147483647 w 1688"/>
                <a:gd name="T57" fmla="*/ 2147483647 h 630"/>
                <a:gd name="T58" fmla="*/ 2147483647 w 1688"/>
                <a:gd name="T59" fmla="*/ 2147483647 h 630"/>
                <a:gd name="T60" fmla="*/ 2147483647 w 1688"/>
                <a:gd name="T61" fmla="*/ 2147483647 h 630"/>
                <a:gd name="T62" fmla="*/ 2147483647 w 1688"/>
                <a:gd name="T63" fmla="*/ 2147483647 h 630"/>
                <a:gd name="T64" fmla="*/ 2147483647 w 1688"/>
                <a:gd name="T65" fmla="*/ 2147483647 h 630"/>
                <a:gd name="T66" fmla="*/ 2147483647 w 1688"/>
                <a:gd name="T67" fmla="*/ 2147483647 h 630"/>
                <a:gd name="T68" fmla="*/ 2147483647 w 1688"/>
                <a:gd name="T69" fmla="*/ 2147483647 h 630"/>
                <a:gd name="T70" fmla="*/ 2147483647 w 1688"/>
                <a:gd name="T71" fmla="*/ 2147483647 h 630"/>
                <a:gd name="T72" fmla="*/ 2147483647 w 1688"/>
                <a:gd name="T73" fmla="*/ 2147483647 h 630"/>
                <a:gd name="T74" fmla="*/ 2147483647 w 1688"/>
                <a:gd name="T75" fmla="*/ 2147483647 h 630"/>
                <a:gd name="T76" fmla="*/ 2147483647 w 1688"/>
                <a:gd name="T77" fmla="*/ 2147483647 h 630"/>
                <a:gd name="T78" fmla="*/ 2147483647 w 1688"/>
                <a:gd name="T79" fmla="*/ 2147483647 h 630"/>
                <a:gd name="T80" fmla="*/ 2147483647 w 1688"/>
                <a:gd name="T81" fmla="*/ 2147483647 h 630"/>
                <a:gd name="T82" fmla="*/ 2147483647 w 1688"/>
                <a:gd name="T83" fmla="*/ 2147483647 h 630"/>
                <a:gd name="T84" fmla="*/ 2147483647 w 1688"/>
                <a:gd name="T85" fmla="*/ 2147483647 h 630"/>
                <a:gd name="T86" fmla="*/ 2147483647 w 1688"/>
                <a:gd name="T87" fmla="*/ 2147483647 h 630"/>
                <a:gd name="T88" fmla="*/ 2147483647 w 1688"/>
                <a:gd name="T89" fmla="*/ 2147483647 h 630"/>
                <a:gd name="T90" fmla="*/ 2147483647 w 1688"/>
                <a:gd name="T91" fmla="*/ 2147483647 h 630"/>
                <a:gd name="T92" fmla="*/ 2147483647 w 1688"/>
                <a:gd name="T93" fmla="*/ 2147483647 h 630"/>
                <a:gd name="T94" fmla="*/ 2147483647 w 1688"/>
                <a:gd name="T95" fmla="*/ 2147483647 h 630"/>
                <a:gd name="T96" fmla="*/ 2147483647 w 1688"/>
                <a:gd name="T97" fmla="*/ 2147483647 h 630"/>
                <a:gd name="T98" fmla="*/ 2147483647 w 1688"/>
                <a:gd name="T99" fmla="*/ 2147483647 h 630"/>
                <a:gd name="T100" fmla="*/ 2147483647 w 1688"/>
                <a:gd name="T101" fmla="*/ 2147483647 h 630"/>
                <a:gd name="T102" fmla="*/ 2147483647 w 1688"/>
                <a:gd name="T103" fmla="*/ 2147483647 h 630"/>
                <a:gd name="T104" fmla="*/ 2147483647 w 1688"/>
                <a:gd name="T105" fmla="*/ 2147483647 h 630"/>
                <a:gd name="T106" fmla="*/ 2147483647 w 1688"/>
                <a:gd name="T107" fmla="*/ 2147483647 h 630"/>
                <a:gd name="T108" fmla="*/ 2147483647 w 1688"/>
                <a:gd name="T109" fmla="*/ 2147483647 h 630"/>
                <a:gd name="T110" fmla="*/ 2147483647 w 1688"/>
                <a:gd name="T111" fmla="*/ 2147483647 h 630"/>
                <a:gd name="T112" fmla="*/ 2147483647 w 1688"/>
                <a:gd name="T113" fmla="*/ 2147483647 h 630"/>
                <a:gd name="T114" fmla="*/ 2147483647 w 1688"/>
                <a:gd name="T115" fmla="*/ 2147483647 h 630"/>
                <a:gd name="T116" fmla="*/ 2147483647 w 1688"/>
                <a:gd name="T117" fmla="*/ 2147483647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688"/>
                <a:gd name="T178" fmla="*/ 0 h 630"/>
                <a:gd name="T179" fmla="*/ 1688 w 1688"/>
                <a:gd name="T180" fmla="*/ 630 h 63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88" name="Freeform 162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2265363" y="3981450"/>
              <a:ext cx="328612" cy="415925"/>
            </a:xfrm>
            <a:custGeom>
              <a:avLst/>
              <a:gdLst>
                <a:gd name="T0" fmla="*/ 2147483647 w 758"/>
                <a:gd name="T1" fmla="*/ 2147483647 h 795"/>
                <a:gd name="T2" fmla="*/ 2147483647 w 758"/>
                <a:gd name="T3" fmla="*/ 2147483647 h 795"/>
                <a:gd name="T4" fmla="*/ 2147483647 w 758"/>
                <a:gd name="T5" fmla="*/ 2147483647 h 795"/>
                <a:gd name="T6" fmla="*/ 2147483647 w 758"/>
                <a:gd name="T7" fmla="*/ 2147483647 h 795"/>
                <a:gd name="T8" fmla="*/ 2147483647 w 758"/>
                <a:gd name="T9" fmla="*/ 2147483647 h 795"/>
                <a:gd name="T10" fmla="*/ 2147483647 w 758"/>
                <a:gd name="T11" fmla="*/ 2147483647 h 795"/>
                <a:gd name="T12" fmla="*/ 2147483647 w 758"/>
                <a:gd name="T13" fmla="*/ 2147483647 h 795"/>
                <a:gd name="T14" fmla="*/ 2147483647 w 758"/>
                <a:gd name="T15" fmla="*/ 2147483647 h 795"/>
                <a:gd name="T16" fmla="*/ 2147483647 w 758"/>
                <a:gd name="T17" fmla="*/ 2147483647 h 795"/>
                <a:gd name="T18" fmla="*/ 2147483647 w 758"/>
                <a:gd name="T19" fmla="*/ 2147483647 h 795"/>
                <a:gd name="T20" fmla="*/ 2147483647 w 758"/>
                <a:gd name="T21" fmla="*/ 2147483647 h 795"/>
                <a:gd name="T22" fmla="*/ 2147483647 w 758"/>
                <a:gd name="T23" fmla="*/ 2147483647 h 795"/>
                <a:gd name="T24" fmla="*/ 2147483647 w 758"/>
                <a:gd name="T25" fmla="*/ 2147483647 h 795"/>
                <a:gd name="T26" fmla="*/ 2147483647 w 758"/>
                <a:gd name="T27" fmla="*/ 2147483647 h 795"/>
                <a:gd name="T28" fmla="*/ 2147483647 w 758"/>
                <a:gd name="T29" fmla="*/ 2147483647 h 795"/>
                <a:gd name="T30" fmla="*/ 2147483647 w 758"/>
                <a:gd name="T31" fmla="*/ 2147483647 h 795"/>
                <a:gd name="T32" fmla="*/ 2147483647 w 758"/>
                <a:gd name="T33" fmla="*/ 2147483647 h 795"/>
                <a:gd name="T34" fmla="*/ 2147483647 w 758"/>
                <a:gd name="T35" fmla="*/ 2147483647 h 795"/>
                <a:gd name="T36" fmla="*/ 2147483647 w 758"/>
                <a:gd name="T37" fmla="*/ 2147483647 h 795"/>
                <a:gd name="T38" fmla="*/ 2147483647 w 758"/>
                <a:gd name="T39" fmla="*/ 2147483647 h 795"/>
                <a:gd name="T40" fmla="*/ 2147483647 w 758"/>
                <a:gd name="T41" fmla="*/ 2147483647 h 795"/>
                <a:gd name="T42" fmla="*/ 2147483647 w 758"/>
                <a:gd name="T43" fmla="*/ 2147483647 h 795"/>
                <a:gd name="T44" fmla="*/ 2147483647 w 758"/>
                <a:gd name="T45" fmla="*/ 2147483647 h 795"/>
                <a:gd name="T46" fmla="*/ 2147483647 w 758"/>
                <a:gd name="T47" fmla="*/ 2147483647 h 795"/>
                <a:gd name="T48" fmla="*/ 2147483647 w 758"/>
                <a:gd name="T49" fmla="*/ 2147483647 h 795"/>
                <a:gd name="T50" fmla="*/ 2147483647 w 758"/>
                <a:gd name="T51" fmla="*/ 2147483647 h 795"/>
                <a:gd name="T52" fmla="*/ 2147483647 w 758"/>
                <a:gd name="T53" fmla="*/ 2147483647 h 795"/>
                <a:gd name="T54" fmla="*/ 2147483647 w 758"/>
                <a:gd name="T55" fmla="*/ 2147483647 h 795"/>
                <a:gd name="T56" fmla="*/ 2147483647 w 758"/>
                <a:gd name="T57" fmla="*/ 2147483647 h 795"/>
                <a:gd name="T58" fmla="*/ 2147483647 w 758"/>
                <a:gd name="T59" fmla="*/ 2147483647 h 795"/>
                <a:gd name="T60" fmla="*/ 2147483647 w 758"/>
                <a:gd name="T61" fmla="*/ 2147483647 h 795"/>
                <a:gd name="T62" fmla="*/ 2147483647 w 758"/>
                <a:gd name="T63" fmla="*/ 2147483647 h 795"/>
                <a:gd name="T64" fmla="*/ 2147483647 w 758"/>
                <a:gd name="T65" fmla="*/ 2147483647 h 795"/>
                <a:gd name="T66" fmla="*/ 2147483647 w 758"/>
                <a:gd name="T67" fmla="*/ 2147483647 h 795"/>
                <a:gd name="T68" fmla="*/ 2147483647 w 758"/>
                <a:gd name="T69" fmla="*/ 2147483647 h 795"/>
                <a:gd name="T70" fmla="*/ 2147483647 w 758"/>
                <a:gd name="T71" fmla="*/ 2147483647 h 795"/>
                <a:gd name="T72" fmla="*/ 2147483647 w 758"/>
                <a:gd name="T73" fmla="*/ 2147483647 h 795"/>
                <a:gd name="T74" fmla="*/ 2147483647 w 758"/>
                <a:gd name="T75" fmla="*/ 2147483647 h 795"/>
                <a:gd name="T76" fmla="*/ 2147483647 w 758"/>
                <a:gd name="T77" fmla="*/ 2147483647 h 795"/>
                <a:gd name="T78" fmla="*/ 2147483647 w 758"/>
                <a:gd name="T79" fmla="*/ 2147483647 h 795"/>
                <a:gd name="T80" fmla="*/ 2147483647 w 758"/>
                <a:gd name="T81" fmla="*/ 2147483647 h 795"/>
                <a:gd name="T82" fmla="*/ 2147483647 w 758"/>
                <a:gd name="T83" fmla="*/ 2147483647 h 795"/>
                <a:gd name="T84" fmla="*/ 2147483647 w 758"/>
                <a:gd name="T85" fmla="*/ 2147483647 h 795"/>
                <a:gd name="T86" fmla="*/ 2147483647 w 758"/>
                <a:gd name="T87" fmla="*/ 2147483647 h 795"/>
                <a:gd name="T88" fmla="*/ 2147483647 w 758"/>
                <a:gd name="T89" fmla="*/ 2147483647 h 795"/>
                <a:gd name="T90" fmla="*/ 2147483647 w 758"/>
                <a:gd name="T91" fmla="*/ 2147483647 h 795"/>
                <a:gd name="T92" fmla="*/ 2147483647 w 758"/>
                <a:gd name="T93" fmla="*/ 2147483647 h 795"/>
                <a:gd name="T94" fmla="*/ 2147483647 w 758"/>
                <a:gd name="T95" fmla="*/ 2147483647 h 795"/>
                <a:gd name="T96" fmla="*/ 2147483647 w 758"/>
                <a:gd name="T97" fmla="*/ 2147483647 h 795"/>
                <a:gd name="T98" fmla="*/ 2147483647 w 758"/>
                <a:gd name="T99" fmla="*/ 2147483647 h 795"/>
                <a:gd name="T100" fmla="*/ 2147483647 w 758"/>
                <a:gd name="T101" fmla="*/ 2147483647 h 795"/>
                <a:gd name="T102" fmla="*/ 2147483647 w 758"/>
                <a:gd name="T103" fmla="*/ 2147483647 h 795"/>
                <a:gd name="T104" fmla="*/ 2147483647 w 758"/>
                <a:gd name="T105" fmla="*/ 2147483647 h 795"/>
                <a:gd name="T106" fmla="*/ 2147483647 w 758"/>
                <a:gd name="T107" fmla="*/ 2147483647 h 795"/>
                <a:gd name="T108" fmla="*/ 2147483647 w 758"/>
                <a:gd name="T109" fmla="*/ 2147483647 h 795"/>
                <a:gd name="T110" fmla="*/ 2147483647 w 758"/>
                <a:gd name="T111" fmla="*/ 2147483647 h 795"/>
                <a:gd name="T112" fmla="*/ 2147483647 w 758"/>
                <a:gd name="T113" fmla="*/ 2147483647 h 795"/>
                <a:gd name="T114" fmla="*/ 2147483647 w 758"/>
                <a:gd name="T115" fmla="*/ 2147483647 h 795"/>
                <a:gd name="T116" fmla="*/ 2147483647 w 758"/>
                <a:gd name="T117" fmla="*/ 2147483647 h 795"/>
                <a:gd name="T118" fmla="*/ 0 w 758"/>
                <a:gd name="T119" fmla="*/ 2147483647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58"/>
                <a:gd name="T181" fmla="*/ 0 h 795"/>
                <a:gd name="T182" fmla="*/ 758 w 758"/>
                <a:gd name="T183" fmla="*/ 795 h 795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89" name="Freeform 163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2479675" y="3411538"/>
              <a:ext cx="119063" cy="215900"/>
            </a:xfrm>
            <a:custGeom>
              <a:avLst/>
              <a:gdLst>
                <a:gd name="T0" fmla="*/ 2147483647 w 273"/>
                <a:gd name="T1" fmla="*/ 2147483647 h 414"/>
                <a:gd name="T2" fmla="*/ 2147483647 w 273"/>
                <a:gd name="T3" fmla="*/ 2147483647 h 414"/>
                <a:gd name="T4" fmla="*/ 2147483647 w 273"/>
                <a:gd name="T5" fmla="*/ 2147483647 h 414"/>
                <a:gd name="T6" fmla="*/ 2147483647 w 273"/>
                <a:gd name="T7" fmla="*/ 2147483647 h 414"/>
                <a:gd name="T8" fmla="*/ 2147483647 w 273"/>
                <a:gd name="T9" fmla="*/ 2147483647 h 414"/>
                <a:gd name="T10" fmla="*/ 2147483647 w 273"/>
                <a:gd name="T11" fmla="*/ 2147483647 h 414"/>
                <a:gd name="T12" fmla="*/ 2147483647 w 273"/>
                <a:gd name="T13" fmla="*/ 2147483647 h 414"/>
                <a:gd name="T14" fmla="*/ 2147483647 w 273"/>
                <a:gd name="T15" fmla="*/ 2147483647 h 414"/>
                <a:gd name="T16" fmla="*/ 2147483647 w 273"/>
                <a:gd name="T17" fmla="*/ 2147483647 h 414"/>
                <a:gd name="T18" fmla="*/ 2147483647 w 273"/>
                <a:gd name="T19" fmla="*/ 2147483647 h 414"/>
                <a:gd name="T20" fmla="*/ 2147483647 w 273"/>
                <a:gd name="T21" fmla="*/ 2147483647 h 414"/>
                <a:gd name="T22" fmla="*/ 2147483647 w 273"/>
                <a:gd name="T23" fmla="*/ 2147483647 h 414"/>
                <a:gd name="T24" fmla="*/ 2147483647 w 273"/>
                <a:gd name="T25" fmla="*/ 2147483647 h 414"/>
                <a:gd name="T26" fmla="*/ 2147483647 w 273"/>
                <a:gd name="T27" fmla="*/ 2147483647 h 414"/>
                <a:gd name="T28" fmla="*/ 2147483647 w 273"/>
                <a:gd name="T29" fmla="*/ 2147483647 h 414"/>
                <a:gd name="T30" fmla="*/ 2147483647 w 273"/>
                <a:gd name="T31" fmla="*/ 2147483647 h 414"/>
                <a:gd name="T32" fmla="*/ 2147483647 w 273"/>
                <a:gd name="T33" fmla="*/ 2147483647 h 414"/>
                <a:gd name="T34" fmla="*/ 2147483647 w 273"/>
                <a:gd name="T35" fmla="*/ 2147483647 h 414"/>
                <a:gd name="T36" fmla="*/ 2147483647 w 273"/>
                <a:gd name="T37" fmla="*/ 2147483647 h 414"/>
                <a:gd name="T38" fmla="*/ 2147483647 w 273"/>
                <a:gd name="T39" fmla="*/ 2147483647 h 414"/>
                <a:gd name="T40" fmla="*/ 2147483647 w 273"/>
                <a:gd name="T41" fmla="*/ 2147483647 h 414"/>
                <a:gd name="T42" fmla="*/ 2147483647 w 273"/>
                <a:gd name="T43" fmla="*/ 2147483647 h 414"/>
                <a:gd name="T44" fmla="*/ 2147483647 w 273"/>
                <a:gd name="T45" fmla="*/ 2147483647 h 414"/>
                <a:gd name="T46" fmla="*/ 2147483647 w 273"/>
                <a:gd name="T47" fmla="*/ 2147483647 h 414"/>
                <a:gd name="T48" fmla="*/ 2147483647 w 273"/>
                <a:gd name="T49" fmla="*/ 2147483647 h 414"/>
                <a:gd name="T50" fmla="*/ 2147483647 w 273"/>
                <a:gd name="T51" fmla="*/ 2147483647 h 414"/>
                <a:gd name="T52" fmla="*/ 2147483647 w 273"/>
                <a:gd name="T53" fmla="*/ 2147483647 h 414"/>
                <a:gd name="T54" fmla="*/ 2147483647 w 273"/>
                <a:gd name="T55" fmla="*/ 2147483647 h 414"/>
                <a:gd name="T56" fmla="*/ 2147483647 w 273"/>
                <a:gd name="T57" fmla="*/ 2147483647 h 414"/>
                <a:gd name="T58" fmla="*/ 2147483647 w 273"/>
                <a:gd name="T59" fmla="*/ 2147483647 h 414"/>
                <a:gd name="T60" fmla="*/ 2147483647 w 273"/>
                <a:gd name="T61" fmla="*/ 2147483647 h 414"/>
                <a:gd name="T62" fmla="*/ 2147483647 w 273"/>
                <a:gd name="T63" fmla="*/ 2147483647 h 414"/>
                <a:gd name="T64" fmla="*/ 2147483647 w 273"/>
                <a:gd name="T65" fmla="*/ 2147483647 h 414"/>
                <a:gd name="T66" fmla="*/ 2147483647 w 273"/>
                <a:gd name="T67" fmla="*/ 2147483647 h 414"/>
                <a:gd name="T68" fmla="*/ 2147483647 w 273"/>
                <a:gd name="T69" fmla="*/ 2147483647 h 414"/>
                <a:gd name="T70" fmla="*/ 2147483647 w 273"/>
                <a:gd name="T71" fmla="*/ 2147483647 h 414"/>
                <a:gd name="T72" fmla="*/ 2147483647 w 273"/>
                <a:gd name="T73" fmla="*/ 2147483647 h 414"/>
                <a:gd name="T74" fmla="*/ 2147483647 w 273"/>
                <a:gd name="T75" fmla="*/ 2147483647 h 414"/>
                <a:gd name="T76" fmla="*/ 2147483647 w 273"/>
                <a:gd name="T77" fmla="*/ 2147483647 h 414"/>
                <a:gd name="T78" fmla="*/ 2147483647 w 273"/>
                <a:gd name="T79" fmla="*/ 2147483647 h 414"/>
                <a:gd name="T80" fmla="*/ 2147483647 w 273"/>
                <a:gd name="T81" fmla="*/ 2147483647 h 414"/>
                <a:gd name="T82" fmla="*/ 2147483647 w 273"/>
                <a:gd name="T83" fmla="*/ 2147483647 h 414"/>
                <a:gd name="T84" fmla="*/ 2147483647 w 273"/>
                <a:gd name="T85" fmla="*/ 2147483647 h 414"/>
                <a:gd name="T86" fmla="*/ 2147483647 w 273"/>
                <a:gd name="T87" fmla="*/ 2147483647 h 414"/>
                <a:gd name="T88" fmla="*/ 2147483647 w 273"/>
                <a:gd name="T89" fmla="*/ 2147483647 h 414"/>
                <a:gd name="T90" fmla="*/ 2147483647 w 273"/>
                <a:gd name="T91" fmla="*/ 2147483647 h 414"/>
                <a:gd name="T92" fmla="*/ 2147483647 w 273"/>
                <a:gd name="T93" fmla="*/ 2147483647 h 414"/>
                <a:gd name="T94" fmla="*/ 2147483647 w 273"/>
                <a:gd name="T95" fmla="*/ 2147483647 h 414"/>
                <a:gd name="T96" fmla="*/ 2147483647 w 273"/>
                <a:gd name="T97" fmla="*/ 2147483647 h 414"/>
                <a:gd name="T98" fmla="*/ 2147483647 w 273"/>
                <a:gd name="T99" fmla="*/ 2147483647 h 414"/>
                <a:gd name="T100" fmla="*/ 2147483647 w 273"/>
                <a:gd name="T101" fmla="*/ 2147483647 h 414"/>
                <a:gd name="T102" fmla="*/ 2147483647 w 273"/>
                <a:gd name="T103" fmla="*/ 2147483647 h 414"/>
                <a:gd name="T104" fmla="*/ 2147483647 w 273"/>
                <a:gd name="T105" fmla="*/ 2147483647 h 414"/>
                <a:gd name="T106" fmla="*/ 2147483647 w 273"/>
                <a:gd name="T107" fmla="*/ 2147483647 h 414"/>
                <a:gd name="T108" fmla="*/ 2147483647 w 273"/>
                <a:gd name="T109" fmla="*/ 2147483647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73"/>
                <a:gd name="T166" fmla="*/ 0 h 414"/>
                <a:gd name="T167" fmla="*/ 273 w 273"/>
                <a:gd name="T168" fmla="*/ 414 h 41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15490" name="Group 164"/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2193925" y="3246438"/>
              <a:ext cx="323850" cy="401637"/>
              <a:chOff x="1486" y="2412"/>
              <a:chExt cx="244" cy="256"/>
            </a:xfrm>
          </p:grpSpPr>
          <p:sp>
            <p:nvSpPr>
              <p:cNvPr id="15919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0 h 22"/>
                  <a:gd name="T4" fmla="*/ 0 w 54"/>
                  <a:gd name="T5" fmla="*/ 0 h 22"/>
                  <a:gd name="T6" fmla="*/ 0 w 54"/>
                  <a:gd name="T7" fmla="*/ 0 h 22"/>
                  <a:gd name="T8" fmla="*/ 0 w 54"/>
                  <a:gd name="T9" fmla="*/ 0 h 22"/>
                  <a:gd name="T10" fmla="*/ 0 w 54"/>
                  <a:gd name="T11" fmla="*/ 0 h 22"/>
                  <a:gd name="T12" fmla="*/ 0 w 54"/>
                  <a:gd name="T13" fmla="*/ 0 h 22"/>
                  <a:gd name="T14" fmla="*/ 0 w 54"/>
                  <a:gd name="T15" fmla="*/ 0 h 22"/>
                  <a:gd name="T16" fmla="*/ 0 w 54"/>
                  <a:gd name="T17" fmla="*/ 0 h 22"/>
                  <a:gd name="T18" fmla="*/ 0 w 54"/>
                  <a:gd name="T19" fmla="*/ 0 h 22"/>
                  <a:gd name="T20" fmla="*/ 0 w 54"/>
                  <a:gd name="T21" fmla="*/ 0 h 22"/>
                  <a:gd name="T22" fmla="*/ 0 w 54"/>
                  <a:gd name="T23" fmla="*/ 0 h 22"/>
                  <a:gd name="T24" fmla="*/ 0 w 54"/>
                  <a:gd name="T25" fmla="*/ 0 h 22"/>
                  <a:gd name="T26" fmla="*/ 0 w 54"/>
                  <a:gd name="T27" fmla="*/ 0 h 22"/>
                  <a:gd name="T28" fmla="*/ 0 w 54"/>
                  <a:gd name="T29" fmla="*/ 0 h 22"/>
                  <a:gd name="T30" fmla="*/ 0 w 54"/>
                  <a:gd name="T31" fmla="*/ 0 h 22"/>
                  <a:gd name="T32" fmla="*/ 0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54"/>
                  <a:gd name="T55" fmla="*/ 0 h 22"/>
                  <a:gd name="T56" fmla="*/ 54 w 54"/>
                  <a:gd name="T57" fmla="*/ 22 h 2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20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0 w 6"/>
                  <a:gd name="T1" fmla="*/ 0 h 24"/>
                  <a:gd name="T2" fmla="*/ 0 w 6"/>
                  <a:gd name="T3" fmla="*/ 0 h 24"/>
                  <a:gd name="T4" fmla="*/ 0 w 6"/>
                  <a:gd name="T5" fmla="*/ 0 h 24"/>
                  <a:gd name="T6" fmla="*/ 0 w 6"/>
                  <a:gd name="T7" fmla="*/ 0 h 24"/>
                  <a:gd name="T8" fmla="*/ 0 w 6"/>
                  <a:gd name="T9" fmla="*/ 0 h 24"/>
                  <a:gd name="T10" fmla="*/ 0 w 6"/>
                  <a:gd name="T11" fmla="*/ 0 h 24"/>
                  <a:gd name="T12" fmla="*/ 0 w 6"/>
                  <a:gd name="T13" fmla="*/ 0 h 24"/>
                  <a:gd name="T14" fmla="*/ 0 w 6"/>
                  <a:gd name="T15" fmla="*/ 0 h 24"/>
                  <a:gd name="T16" fmla="*/ 0 w 6"/>
                  <a:gd name="T17" fmla="*/ 0 h 24"/>
                  <a:gd name="T18" fmla="*/ 0 w 6"/>
                  <a:gd name="T19" fmla="*/ 0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"/>
                  <a:gd name="T31" fmla="*/ 0 h 24"/>
                  <a:gd name="T32" fmla="*/ 6 w 6"/>
                  <a:gd name="T33" fmla="*/ 24 h 2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21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0 h 12"/>
                  <a:gd name="T2" fmla="*/ 0 w 27"/>
                  <a:gd name="T3" fmla="*/ 0 h 12"/>
                  <a:gd name="T4" fmla="*/ 0 w 27"/>
                  <a:gd name="T5" fmla="*/ 0 h 12"/>
                  <a:gd name="T6" fmla="*/ 0 w 27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7"/>
                  <a:gd name="T13" fmla="*/ 0 h 12"/>
                  <a:gd name="T14" fmla="*/ 27 w 27"/>
                  <a:gd name="T15" fmla="*/ 12 h 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22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0 w 743"/>
                  <a:gd name="T1" fmla="*/ 0 h 672"/>
                  <a:gd name="T2" fmla="*/ 0 w 743"/>
                  <a:gd name="T3" fmla="*/ 0 h 672"/>
                  <a:gd name="T4" fmla="*/ 0 w 743"/>
                  <a:gd name="T5" fmla="*/ 0 h 672"/>
                  <a:gd name="T6" fmla="*/ 0 w 743"/>
                  <a:gd name="T7" fmla="*/ 0 h 672"/>
                  <a:gd name="T8" fmla="*/ 0 w 743"/>
                  <a:gd name="T9" fmla="*/ 0 h 672"/>
                  <a:gd name="T10" fmla="*/ 0 w 743"/>
                  <a:gd name="T11" fmla="*/ 0 h 672"/>
                  <a:gd name="T12" fmla="*/ 0 w 743"/>
                  <a:gd name="T13" fmla="*/ 0 h 672"/>
                  <a:gd name="T14" fmla="*/ 0 w 743"/>
                  <a:gd name="T15" fmla="*/ 0 h 672"/>
                  <a:gd name="T16" fmla="*/ 0 w 743"/>
                  <a:gd name="T17" fmla="*/ 0 h 672"/>
                  <a:gd name="T18" fmla="*/ 0 w 743"/>
                  <a:gd name="T19" fmla="*/ 0 h 672"/>
                  <a:gd name="T20" fmla="*/ 0 w 743"/>
                  <a:gd name="T21" fmla="*/ 0 h 672"/>
                  <a:gd name="T22" fmla="*/ 0 w 743"/>
                  <a:gd name="T23" fmla="*/ 0 h 672"/>
                  <a:gd name="T24" fmla="*/ 0 w 743"/>
                  <a:gd name="T25" fmla="*/ 0 h 672"/>
                  <a:gd name="T26" fmla="*/ 0 w 743"/>
                  <a:gd name="T27" fmla="*/ 0 h 672"/>
                  <a:gd name="T28" fmla="*/ 0 w 743"/>
                  <a:gd name="T29" fmla="*/ 0 h 672"/>
                  <a:gd name="T30" fmla="*/ 0 w 743"/>
                  <a:gd name="T31" fmla="*/ 0 h 672"/>
                  <a:gd name="T32" fmla="*/ 0 w 743"/>
                  <a:gd name="T33" fmla="*/ 0 h 672"/>
                  <a:gd name="T34" fmla="*/ 0 w 743"/>
                  <a:gd name="T35" fmla="*/ 0 h 672"/>
                  <a:gd name="T36" fmla="*/ 0 w 743"/>
                  <a:gd name="T37" fmla="*/ 0 h 672"/>
                  <a:gd name="T38" fmla="*/ 0 w 743"/>
                  <a:gd name="T39" fmla="*/ 0 h 672"/>
                  <a:gd name="T40" fmla="*/ 0 w 743"/>
                  <a:gd name="T41" fmla="*/ 0 h 672"/>
                  <a:gd name="T42" fmla="*/ 0 w 743"/>
                  <a:gd name="T43" fmla="*/ 0 h 672"/>
                  <a:gd name="T44" fmla="*/ 0 w 743"/>
                  <a:gd name="T45" fmla="*/ 0 h 672"/>
                  <a:gd name="T46" fmla="*/ 0 w 743"/>
                  <a:gd name="T47" fmla="*/ 0 h 672"/>
                  <a:gd name="T48" fmla="*/ 0 w 743"/>
                  <a:gd name="T49" fmla="*/ 0 h 672"/>
                  <a:gd name="T50" fmla="*/ 0 w 743"/>
                  <a:gd name="T51" fmla="*/ 0 h 672"/>
                  <a:gd name="T52" fmla="*/ 0 w 743"/>
                  <a:gd name="T53" fmla="*/ 0 h 672"/>
                  <a:gd name="T54" fmla="*/ 0 w 743"/>
                  <a:gd name="T55" fmla="*/ 0 h 672"/>
                  <a:gd name="T56" fmla="*/ 0 w 743"/>
                  <a:gd name="T57" fmla="*/ 0 h 672"/>
                  <a:gd name="T58" fmla="*/ 0 w 743"/>
                  <a:gd name="T59" fmla="*/ 0 h 672"/>
                  <a:gd name="T60" fmla="*/ 0 w 743"/>
                  <a:gd name="T61" fmla="*/ 0 h 672"/>
                  <a:gd name="T62" fmla="*/ 0 w 743"/>
                  <a:gd name="T63" fmla="*/ 0 h 672"/>
                  <a:gd name="T64" fmla="*/ 0 w 743"/>
                  <a:gd name="T65" fmla="*/ 0 h 672"/>
                  <a:gd name="T66" fmla="*/ 0 w 743"/>
                  <a:gd name="T67" fmla="*/ 0 h 672"/>
                  <a:gd name="T68" fmla="*/ 0 w 743"/>
                  <a:gd name="T69" fmla="*/ 0 h 672"/>
                  <a:gd name="T70" fmla="*/ 0 w 743"/>
                  <a:gd name="T71" fmla="*/ 0 h 672"/>
                  <a:gd name="T72" fmla="*/ 0 w 743"/>
                  <a:gd name="T73" fmla="*/ 0 h 672"/>
                  <a:gd name="T74" fmla="*/ 0 w 743"/>
                  <a:gd name="T75" fmla="*/ 0 h 672"/>
                  <a:gd name="T76" fmla="*/ 0 w 743"/>
                  <a:gd name="T77" fmla="*/ 0 h 672"/>
                  <a:gd name="T78" fmla="*/ 0 w 743"/>
                  <a:gd name="T79" fmla="*/ 0 h 672"/>
                  <a:gd name="T80" fmla="*/ 0 w 743"/>
                  <a:gd name="T81" fmla="*/ 0 h 672"/>
                  <a:gd name="T82" fmla="*/ 0 w 743"/>
                  <a:gd name="T83" fmla="*/ 0 h 672"/>
                  <a:gd name="T84" fmla="*/ 0 w 743"/>
                  <a:gd name="T85" fmla="*/ 0 h 672"/>
                  <a:gd name="T86" fmla="*/ 0 w 743"/>
                  <a:gd name="T87" fmla="*/ 0 h 672"/>
                  <a:gd name="T88" fmla="*/ 0 w 743"/>
                  <a:gd name="T89" fmla="*/ 0 h 672"/>
                  <a:gd name="T90" fmla="*/ 0 w 743"/>
                  <a:gd name="T91" fmla="*/ 0 h 672"/>
                  <a:gd name="T92" fmla="*/ 0 w 743"/>
                  <a:gd name="T93" fmla="*/ 0 h 672"/>
                  <a:gd name="T94" fmla="*/ 0 w 743"/>
                  <a:gd name="T95" fmla="*/ 0 h 672"/>
                  <a:gd name="T96" fmla="*/ 0 w 743"/>
                  <a:gd name="T97" fmla="*/ 0 h 672"/>
                  <a:gd name="T98" fmla="*/ 0 w 743"/>
                  <a:gd name="T99" fmla="*/ 0 h 672"/>
                  <a:gd name="T100" fmla="*/ 0 w 743"/>
                  <a:gd name="T101" fmla="*/ 0 h 672"/>
                  <a:gd name="T102" fmla="*/ 0 w 743"/>
                  <a:gd name="T103" fmla="*/ 0 h 672"/>
                  <a:gd name="T104" fmla="*/ 0 w 743"/>
                  <a:gd name="T105" fmla="*/ 0 h 672"/>
                  <a:gd name="T106" fmla="*/ 0 w 743"/>
                  <a:gd name="T107" fmla="*/ 0 h 672"/>
                  <a:gd name="T108" fmla="*/ 0 w 743"/>
                  <a:gd name="T109" fmla="*/ 0 h 672"/>
                  <a:gd name="T110" fmla="*/ 0 w 743"/>
                  <a:gd name="T111" fmla="*/ 0 h 672"/>
                  <a:gd name="T112" fmla="*/ 0 w 743"/>
                  <a:gd name="T113" fmla="*/ 0 h 672"/>
                  <a:gd name="T114" fmla="*/ 0 w 743"/>
                  <a:gd name="T115" fmla="*/ 0 h 672"/>
                  <a:gd name="T116" fmla="*/ 0 w 743"/>
                  <a:gd name="T117" fmla="*/ 0 h 672"/>
                  <a:gd name="T118" fmla="*/ 0 w 743"/>
                  <a:gd name="T119" fmla="*/ 0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43"/>
                  <a:gd name="T181" fmla="*/ 0 h 672"/>
                  <a:gd name="T182" fmla="*/ 743 w 743"/>
                  <a:gd name="T183" fmla="*/ 672 h 672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5491" name="Freeform 169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7215188" y="4786313"/>
              <a:ext cx="31750" cy="11112"/>
            </a:xfrm>
            <a:custGeom>
              <a:avLst/>
              <a:gdLst>
                <a:gd name="T0" fmla="*/ 0 w 79"/>
                <a:gd name="T1" fmla="*/ 2147483647 h 23"/>
                <a:gd name="T2" fmla="*/ 2147483647 w 79"/>
                <a:gd name="T3" fmla="*/ 2147483647 h 23"/>
                <a:gd name="T4" fmla="*/ 2147483647 w 79"/>
                <a:gd name="T5" fmla="*/ 2147483647 h 23"/>
                <a:gd name="T6" fmla="*/ 2147483647 w 79"/>
                <a:gd name="T7" fmla="*/ 2147483647 h 23"/>
                <a:gd name="T8" fmla="*/ 2147483647 w 79"/>
                <a:gd name="T9" fmla="*/ 0 h 23"/>
                <a:gd name="T10" fmla="*/ 2147483647 w 79"/>
                <a:gd name="T11" fmla="*/ 0 h 23"/>
                <a:gd name="T12" fmla="*/ 2147483647 w 79"/>
                <a:gd name="T13" fmla="*/ 2147483647 h 23"/>
                <a:gd name="T14" fmla="*/ 2147483647 w 79"/>
                <a:gd name="T15" fmla="*/ 2147483647 h 23"/>
                <a:gd name="T16" fmla="*/ 2147483647 w 79"/>
                <a:gd name="T17" fmla="*/ 2147483647 h 23"/>
                <a:gd name="T18" fmla="*/ 2147483647 w 79"/>
                <a:gd name="T19" fmla="*/ 2147483647 h 23"/>
                <a:gd name="T20" fmla="*/ 2147483647 w 79"/>
                <a:gd name="T21" fmla="*/ 2147483647 h 23"/>
                <a:gd name="T22" fmla="*/ 2147483647 w 79"/>
                <a:gd name="T23" fmla="*/ 2147483647 h 23"/>
                <a:gd name="T24" fmla="*/ 2147483647 w 79"/>
                <a:gd name="T25" fmla="*/ 2147483647 h 23"/>
                <a:gd name="T26" fmla="*/ 2147483647 w 79"/>
                <a:gd name="T27" fmla="*/ 2147483647 h 23"/>
                <a:gd name="T28" fmla="*/ 2147483647 w 79"/>
                <a:gd name="T29" fmla="*/ 2147483647 h 23"/>
                <a:gd name="T30" fmla="*/ 2147483647 w 79"/>
                <a:gd name="T31" fmla="*/ 2147483647 h 23"/>
                <a:gd name="T32" fmla="*/ 2147483647 w 79"/>
                <a:gd name="T33" fmla="*/ 2147483647 h 23"/>
                <a:gd name="T34" fmla="*/ 2147483647 w 79"/>
                <a:gd name="T35" fmla="*/ 2147483647 h 23"/>
                <a:gd name="T36" fmla="*/ 2147483647 w 79"/>
                <a:gd name="T37" fmla="*/ 2147483647 h 23"/>
                <a:gd name="T38" fmla="*/ 2147483647 w 79"/>
                <a:gd name="T39" fmla="*/ 2147483647 h 23"/>
                <a:gd name="T40" fmla="*/ 2147483647 w 79"/>
                <a:gd name="T41" fmla="*/ 2147483647 h 23"/>
                <a:gd name="T42" fmla="*/ 2147483647 w 79"/>
                <a:gd name="T43" fmla="*/ 2147483647 h 23"/>
                <a:gd name="T44" fmla="*/ 2147483647 w 79"/>
                <a:gd name="T45" fmla="*/ 2147483647 h 23"/>
                <a:gd name="T46" fmla="*/ 2147483647 w 79"/>
                <a:gd name="T47" fmla="*/ 2147483647 h 23"/>
                <a:gd name="T48" fmla="*/ 0 w 79"/>
                <a:gd name="T49" fmla="*/ 2147483647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9"/>
                <a:gd name="T76" fmla="*/ 0 h 23"/>
                <a:gd name="T77" fmla="*/ 79 w 79"/>
                <a:gd name="T78" fmla="*/ 23 h 2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92" name="Freeform 170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7331075" y="4919663"/>
              <a:ext cx="1588" cy="4762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2147483647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  <a:gd name="T9" fmla="*/ 0 w 1588"/>
                <a:gd name="T10" fmla="*/ 0 h 6"/>
                <a:gd name="T11" fmla="*/ 1588 w 1588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93" name="Line 171"/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7421563" y="4918075"/>
              <a:ext cx="158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494" name="Freeform 172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7421563" y="4918075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2147483647 w 5"/>
                <a:gd name="T3" fmla="*/ 2147483647 h 30"/>
                <a:gd name="T4" fmla="*/ 2147483647 w 5"/>
                <a:gd name="T5" fmla="*/ 2147483647 h 30"/>
                <a:gd name="T6" fmla="*/ 2147483647 w 5"/>
                <a:gd name="T7" fmla="*/ 2147483647 h 30"/>
                <a:gd name="T8" fmla="*/ 2147483647 w 5"/>
                <a:gd name="T9" fmla="*/ 2147483647 h 30"/>
                <a:gd name="T10" fmla="*/ 2147483647 w 5"/>
                <a:gd name="T11" fmla="*/ 2147483647 h 30"/>
                <a:gd name="T12" fmla="*/ 2147483647 w 5"/>
                <a:gd name="T13" fmla="*/ 2147483647 h 30"/>
                <a:gd name="T14" fmla="*/ 2147483647 w 5"/>
                <a:gd name="T15" fmla="*/ 2147483647 h 30"/>
                <a:gd name="T16" fmla="*/ 0 w 5"/>
                <a:gd name="T17" fmla="*/ 2147483647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30"/>
                <a:gd name="T29" fmla="*/ 5 w 5"/>
                <a:gd name="T30" fmla="*/ 30 h 3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95" name="Freeform 173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7720013" y="4387850"/>
              <a:ext cx="22225" cy="28575"/>
            </a:xfrm>
            <a:custGeom>
              <a:avLst/>
              <a:gdLst>
                <a:gd name="T0" fmla="*/ 0 w 53"/>
                <a:gd name="T1" fmla="*/ 2147483647 h 55"/>
                <a:gd name="T2" fmla="*/ 2147483647 w 53"/>
                <a:gd name="T3" fmla="*/ 2147483647 h 55"/>
                <a:gd name="T4" fmla="*/ 2147483647 w 53"/>
                <a:gd name="T5" fmla="*/ 2147483647 h 55"/>
                <a:gd name="T6" fmla="*/ 2147483647 w 53"/>
                <a:gd name="T7" fmla="*/ 2147483647 h 55"/>
                <a:gd name="T8" fmla="*/ 2147483647 w 53"/>
                <a:gd name="T9" fmla="*/ 2147483647 h 55"/>
                <a:gd name="T10" fmla="*/ 2147483647 w 53"/>
                <a:gd name="T11" fmla="*/ 2147483647 h 55"/>
                <a:gd name="T12" fmla="*/ 2147483647 w 53"/>
                <a:gd name="T13" fmla="*/ 2147483647 h 55"/>
                <a:gd name="T14" fmla="*/ 2147483647 w 53"/>
                <a:gd name="T15" fmla="*/ 2147483647 h 55"/>
                <a:gd name="T16" fmla="*/ 2147483647 w 53"/>
                <a:gd name="T17" fmla="*/ 2147483647 h 55"/>
                <a:gd name="T18" fmla="*/ 2147483647 w 53"/>
                <a:gd name="T19" fmla="*/ 2147483647 h 55"/>
                <a:gd name="T20" fmla="*/ 2147483647 w 53"/>
                <a:gd name="T21" fmla="*/ 2147483647 h 55"/>
                <a:gd name="T22" fmla="*/ 2147483647 w 53"/>
                <a:gd name="T23" fmla="*/ 2147483647 h 55"/>
                <a:gd name="T24" fmla="*/ 2147483647 w 53"/>
                <a:gd name="T25" fmla="*/ 2147483647 h 55"/>
                <a:gd name="T26" fmla="*/ 2147483647 w 53"/>
                <a:gd name="T27" fmla="*/ 0 h 55"/>
                <a:gd name="T28" fmla="*/ 2147483647 w 53"/>
                <a:gd name="T29" fmla="*/ 2147483647 h 55"/>
                <a:gd name="T30" fmla="*/ 0 w 53"/>
                <a:gd name="T31" fmla="*/ 2147483647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3"/>
                <a:gd name="T49" fmla="*/ 0 h 55"/>
                <a:gd name="T50" fmla="*/ 53 w 53"/>
                <a:gd name="T51" fmla="*/ 55 h 5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96" name="Freeform 174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7726363" y="4314825"/>
              <a:ext cx="26987" cy="39688"/>
            </a:xfrm>
            <a:custGeom>
              <a:avLst/>
              <a:gdLst>
                <a:gd name="T0" fmla="*/ 0 w 65"/>
                <a:gd name="T1" fmla="*/ 2147483647 h 75"/>
                <a:gd name="T2" fmla="*/ 2147483647 w 65"/>
                <a:gd name="T3" fmla="*/ 2147483647 h 75"/>
                <a:gd name="T4" fmla="*/ 2147483647 w 65"/>
                <a:gd name="T5" fmla="*/ 2147483647 h 75"/>
                <a:gd name="T6" fmla="*/ 2147483647 w 65"/>
                <a:gd name="T7" fmla="*/ 2147483647 h 75"/>
                <a:gd name="T8" fmla="*/ 2147483647 w 65"/>
                <a:gd name="T9" fmla="*/ 2147483647 h 75"/>
                <a:gd name="T10" fmla="*/ 2147483647 w 65"/>
                <a:gd name="T11" fmla="*/ 2147483647 h 75"/>
                <a:gd name="T12" fmla="*/ 2147483647 w 65"/>
                <a:gd name="T13" fmla="*/ 2147483647 h 75"/>
                <a:gd name="T14" fmla="*/ 2147483647 w 65"/>
                <a:gd name="T15" fmla="*/ 2147483647 h 75"/>
                <a:gd name="T16" fmla="*/ 2147483647 w 65"/>
                <a:gd name="T17" fmla="*/ 2147483647 h 75"/>
                <a:gd name="T18" fmla="*/ 2147483647 w 65"/>
                <a:gd name="T19" fmla="*/ 2147483647 h 75"/>
                <a:gd name="T20" fmla="*/ 2147483647 w 65"/>
                <a:gd name="T21" fmla="*/ 2147483647 h 75"/>
                <a:gd name="T22" fmla="*/ 2147483647 w 65"/>
                <a:gd name="T23" fmla="*/ 2147483647 h 75"/>
                <a:gd name="T24" fmla="*/ 2147483647 w 65"/>
                <a:gd name="T25" fmla="*/ 2147483647 h 75"/>
                <a:gd name="T26" fmla="*/ 2147483647 w 65"/>
                <a:gd name="T27" fmla="*/ 2147483647 h 75"/>
                <a:gd name="T28" fmla="*/ 2147483647 w 65"/>
                <a:gd name="T29" fmla="*/ 2147483647 h 75"/>
                <a:gd name="T30" fmla="*/ 2147483647 w 65"/>
                <a:gd name="T31" fmla="*/ 2147483647 h 75"/>
                <a:gd name="T32" fmla="*/ 2147483647 w 65"/>
                <a:gd name="T33" fmla="*/ 2147483647 h 75"/>
                <a:gd name="T34" fmla="*/ 2147483647 w 65"/>
                <a:gd name="T35" fmla="*/ 2147483647 h 75"/>
                <a:gd name="T36" fmla="*/ 2147483647 w 65"/>
                <a:gd name="T37" fmla="*/ 0 h 75"/>
                <a:gd name="T38" fmla="*/ 2147483647 w 65"/>
                <a:gd name="T39" fmla="*/ 0 h 75"/>
                <a:gd name="T40" fmla="*/ 2147483647 w 65"/>
                <a:gd name="T41" fmla="*/ 0 h 75"/>
                <a:gd name="T42" fmla="*/ 2147483647 w 65"/>
                <a:gd name="T43" fmla="*/ 2147483647 h 75"/>
                <a:gd name="T44" fmla="*/ 2147483647 w 65"/>
                <a:gd name="T45" fmla="*/ 2147483647 h 75"/>
                <a:gd name="T46" fmla="*/ 2147483647 w 65"/>
                <a:gd name="T47" fmla="*/ 2147483647 h 75"/>
                <a:gd name="T48" fmla="*/ 2147483647 w 65"/>
                <a:gd name="T49" fmla="*/ 2147483647 h 75"/>
                <a:gd name="T50" fmla="*/ 2147483647 w 65"/>
                <a:gd name="T51" fmla="*/ 2147483647 h 75"/>
                <a:gd name="T52" fmla="*/ 2147483647 w 65"/>
                <a:gd name="T53" fmla="*/ 2147483647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5"/>
                <a:gd name="T82" fmla="*/ 0 h 75"/>
                <a:gd name="T83" fmla="*/ 65 w 65"/>
                <a:gd name="T84" fmla="*/ 75 h 75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97" name="Freeform 175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7702550" y="4291013"/>
              <a:ext cx="17463" cy="30162"/>
            </a:xfrm>
            <a:custGeom>
              <a:avLst/>
              <a:gdLst>
                <a:gd name="T0" fmla="*/ 0 w 40"/>
                <a:gd name="T1" fmla="*/ 2147483647 h 62"/>
                <a:gd name="T2" fmla="*/ 2147483647 w 40"/>
                <a:gd name="T3" fmla="*/ 2147483647 h 62"/>
                <a:gd name="T4" fmla="*/ 2147483647 w 40"/>
                <a:gd name="T5" fmla="*/ 2147483647 h 62"/>
                <a:gd name="T6" fmla="*/ 2147483647 w 40"/>
                <a:gd name="T7" fmla="*/ 2147483647 h 62"/>
                <a:gd name="T8" fmla="*/ 2147483647 w 40"/>
                <a:gd name="T9" fmla="*/ 2147483647 h 62"/>
                <a:gd name="T10" fmla="*/ 2147483647 w 40"/>
                <a:gd name="T11" fmla="*/ 2147483647 h 62"/>
                <a:gd name="T12" fmla="*/ 2147483647 w 40"/>
                <a:gd name="T13" fmla="*/ 2147483647 h 62"/>
                <a:gd name="T14" fmla="*/ 2147483647 w 40"/>
                <a:gd name="T15" fmla="*/ 2147483647 h 62"/>
                <a:gd name="T16" fmla="*/ 2147483647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0"/>
                <a:gd name="T28" fmla="*/ 0 h 62"/>
                <a:gd name="T29" fmla="*/ 40 w 40"/>
                <a:gd name="T30" fmla="*/ 62 h 6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98" name="Freeform 176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7621588" y="4168775"/>
              <a:ext cx="68262" cy="138113"/>
            </a:xfrm>
            <a:custGeom>
              <a:avLst/>
              <a:gdLst>
                <a:gd name="T0" fmla="*/ 2147483647 w 159"/>
                <a:gd name="T1" fmla="*/ 2147483647 h 259"/>
                <a:gd name="T2" fmla="*/ 2147483647 w 159"/>
                <a:gd name="T3" fmla="*/ 2147483647 h 259"/>
                <a:gd name="T4" fmla="*/ 2147483647 w 159"/>
                <a:gd name="T5" fmla="*/ 2147483647 h 259"/>
                <a:gd name="T6" fmla="*/ 2147483647 w 159"/>
                <a:gd name="T7" fmla="*/ 2147483647 h 259"/>
                <a:gd name="T8" fmla="*/ 2147483647 w 159"/>
                <a:gd name="T9" fmla="*/ 2147483647 h 259"/>
                <a:gd name="T10" fmla="*/ 2147483647 w 159"/>
                <a:gd name="T11" fmla="*/ 2147483647 h 259"/>
                <a:gd name="T12" fmla="*/ 2147483647 w 159"/>
                <a:gd name="T13" fmla="*/ 2147483647 h 259"/>
                <a:gd name="T14" fmla="*/ 2147483647 w 159"/>
                <a:gd name="T15" fmla="*/ 2147483647 h 259"/>
                <a:gd name="T16" fmla="*/ 2147483647 w 159"/>
                <a:gd name="T17" fmla="*/ 2147483647 h 259"/>
                <a:gd name="T18" fmla="*/ 2147483647 w 159"/>
                <a:gd name="T19" fmla="*/ 2147483647 h 259"/>
                <a:gd name="T20" fmla="*/ 2147483647 w 159"/>
                <a:gd name="T21" fmla="*/ 2147483647 h 259"/>
                <a:gd name="T22" fmla="*/ 2147483647 w 159"/>
                <a:gd name="T23" fmla="*/ 2147483647 h 259"/>
                <a:gd name="T24" fmla="*/ 2147483647 w 159"/>
                <a:gd name="T25" fmla="*/ 2147483647 h 259"/>
                <a:gd name="T26" fmla="*/ 2147483647 w 159"/>
                <a:gd name="T27" fmla="*/ 2147483647 h 259"/>
                <a:gd name="T28" fmla="*/ 2147483647 w 159"/>
                <a:gd name="T29" fmla="*/ 2147483647 h 259"/>
                <a:gd name="T30" fmla="*/ 2147483647 w 159"/>
                <a:gd name="T31" fmla="*/ 2147483647 h 259"/>
                <a:gd name="T32" fmla="*/ 2147483647 w 159"/>
                <a:gd name="T33" fmla="*/ 2147483647 h 259"/>
                <a:gd name="T34" fmla="*/ 2147483647 w 159"/>
                <a:gd name="T35" fmla="*/ 2147483647 h 259"/>
                <a:gd name="T36" fmla="*/ 2147483647 w 159"/>
                <a:gd name="T37" fmla="*/ 2147483647 h 259"/>
                <a:gd name="T38" fmla="*/ 2147483647 w 159"/>
                <a:gd name="T39" fmla="*/ 2147483647 h 259"/>
                <a:gd name="T40" fmla="*/ 2147483647 w 159"/>
                <a:gd name="T41" fmla="*/ 2147483647 h 259"/>
                <a:gd name="T42" fmla="*/ 2147483647 w 159"/>
                <a:gd name="T43" fmla="*/ 2147483647 h 259"/>
                <a:gd name="T44" fmla="*/ 2147483647 w 159"/>
                <a:gd name="T45" fmla="*/ 2147483647 h 259"/>
                <a:gd name="T46" fmla="*/ 2147483647 w 159"/>
                <a:gd name="T47" fmla="*/ 2147483647 h 259"/>
                <a:gd name="T48" fmla="*/ 2147483647 w 159"/>
                <a:gd name="T49" fmla="*/ 2147483647 h 259"/>
                <a:gd name="T50" fmla="*/ 2147483647 w 159"/>
                <a:gd name="T51" fmla="*/ 2147483647 h 259"/>
                <a:gd name="T52" fmla="*/ 2147483647 w 159"/>
                <a:gd name="T53" fmla="*/ 2147483647 h 259"/>
                <a:gd name="T54" fmla="*/ 2147483647 w 159"/>
                <a:gd name="T55" fmla="*/ 2147483647 h 259"/>
                <a:gd name="T56" fmla="*/ 2147483647 w 159"/>
                <a:gd name="T57" fmla="*/ 2147483647 h 259"/>
                <a:gd name="T58" fmla="*/ 2147483647 w 159"/>
                <a:gd name="T59" fmla="*/ 2147483647 h 259"/>
                <a:gd name="T60" fmla="*/ 2147483647 w 159"/>
                <a:gd name="T61" fmla="*/ 2147483647 h 259"/>
                <a:gd name="T62" fmla="*/ 2147483647 w 159"/>
                <a:gd name="T63" fmla="*/ 2147483647 h 259"/>
                <a:gd name="T64" fmla="*/ 2147483647 w 159"/>
                <a:gd name="T65" fmla="*/ 2147483647 h 259"/>
                <a:gd name="T66" fmla="*/ 2147483647 w 159"/>
                <a:gd name="T67" fmla="*/ 2147483647 h 259"/>
                <a:gd name="T68" fmla="*/ 2147483647 w 159"/>
                <a:gd name="T69" fmla="*/ 2147483647 h 259"/>
                <a:gd name="T70" fmla="*/ 0 w 159"/>
                <a:gd name="T71" fmla="*/ 2147483647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9"/>
                <a:gd name="T112" fmla="*/ 0 h 259"/>
                <a:gd name="T113" fmla="*/ 159 w 159"/>
                <a:gd name="T114" fmla="*/ 259 h 259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99" name="Line 177"/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7615238" y="4135438"/>
              <a:ext cx="6350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500" name="Freeform 178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7615238" y="4119563"/>
              <a:ext cx="6350" cy="15875"/>
            </a:xfrm>
            <a:custGeom>
              <a:avLst/>
              <a:gdLst>
                <a:gd name="T0" fmla="*/ 0 w 13"/>
                <a:gd name="T1" fmla="*/ 2147483647 h 25"/>
                <a:gd name="T2" fmla="*/ 2147483647 w 13"/>
                <a:gd name="T3" fmla="*/ 2147483647 h 25"/>
                <a:gd name="T4" fmla="*/ 2147483647 w 13"/>
                <a:gd name="T5" fmla="*/ 2147483647 h 25"/>
                <a:gd name="T6" fmla="*/ 2147483647 w 13"/>
                <a:gd name="T7" fmla="*/ 2147483647 h 25"/>
                <a:gd name="T8" fmla="*/ 2147483647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"/>
                <a:gd name="T16" fmla="*/ 0 h 25"/>
                <a:gd name="T17" fmla="*/ 13 w 13"/>
                <a:gd name="T18" fmla="*/ 25 h 2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01" name="Line 179"/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7621588" y="4106863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502" name="Freeform 180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7575550" y="4040188"/>
              <a:ext cx="46038" cy="66675"/>
            </a:xfrm>
            <a:custGeom>
              <a:avLst/>
              <a:gdLst>
                <a:gd name="T0" fmla="*/ 2147483647 w 100"/>
                <a:gd name="T1" fmla="*/ 2147483647 h 123"/>
                <a:gd name="T2" fmla="*/ 2147483647 w 100"/>
                <a:gd name="T3" fmla="*/ 2147483647 h 123"/>
                <a:gd name="T4" fmla="*/ 2147483647 w 100"/>
                <a:gd name="T5" fmla="*/ 2147483647 h 123"/>
                <a:gd name="T6" fmla="*/ 2147483647 w 100"/>
                <a:gd name="T7" fmla="*/ 2147483647 h 123"/>
                <a:gd name="T8" fmla="*/ 2147483647 w 100"/>
                <a:gd name="T9" fmla="*/ 2147483647 h 123"/>
                <a:gd name="T10" fmla="*/ 2147483647 w 100"/>
                <a:gd name="T11" fmla="*/ 2147483647 h 123"/>
                <a:gd name="T12" fmla="*/ 2147483647 w 100"/>
                <a:gd name="T13" fmla="*/ 2147483647 h 123"/>
                <a:gd name="T14" fmla="*/ 2147483647 w 100"/>
                <a:gd name="T15" fmla="*/ 2147483647 h 123"/>
                <a:gd name="T16" fmla="*/ 2147483647 w 100"/>
                <a:gd name="T17" fmla="*/ 2147483647 h 123"/>
                <a:gd name="T18" fmla="*/ 2147483647 w 100"/>
                <a:gd name="T19" fmla="*/ 2147483647 h 123"/>
                <a:gd name="T20" fmla="*/ 2147483647 w 100"/>
                <a:gd name="T21" fmla="*/ 2147483647 h 123"/>
                <a:gd name="T22" fmla="*/ 2147483647 w 100"/>
                <a:gd name="T23" fmla="*/ 2147483647 h 123"/>
                <a:gd name="T24" fmla="*/ 0 w 100"/>
                <a:gd name="T25" fmla="*/ 2147483647 h 123"/>
                <a:gd name="T26" fmla="*/ 2147483647 w 100"/>
                <a:gd name="T27" fmla="*/ 2147483647 h 123"/>
                <a:gd name="T28" fmla="*/ 2147483647 w 100"/>
                <a:gd name="T29" fmla="*/ 2147483647 h 123"/>
                <a:gd name="T30" fmla="*/ 2147483647 w 100"/>
                <a:gd name="T31" fmla="*/ 2147483647 h 123"/>
                <a:gd name="T32" fmla="*/ 2147483647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00"/>
                <a:gd name="T52" fmla="*/ 0 h 123"/>
                <a:gd name="T53" fmla="*/ 100 w 100"/>
                <a:gd name="T54" fmla="*/ 123 h 12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03" name="Freeform 181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7589838" y="3983038"/>
              <a:ext cx="1587" cy="50800"/>
            </a:xfrm>
            <a:custGeom>
              <a:avLst/>
              <a:gdLst>
                <a:gd name="T0" fmla="*/ 2147483647 w 5"/>
                <a:gd name="T1" fmla="*/ 0 h 99"/>
                <a:gd name="T2" fmla="*/ 2147483647 w 5"/>
                <a:gd name="T3" fmla="*/ 2147483647 h 99"/>
                <a:gd name="T4" fmla="*/ 2147483647 w 5"/>
                <a:gd name="T5" fmla="*/ 2147483647 h 99"/>
                <a:gd name="T6" fmla="*/ 0 w 5"/>
                <a:gd name="T7" fmla="*/ 2147483647 h 99"/>
                <a:gd name="T8" fmla="*/ 0 w 5"/>
                <a:gd name="T9" fmla="*/ 2147483647 h 99"/>
                <a:gd name="T10" fmla="*/ 2147483647 w 5"/>
                <a:gd name="T11" fmla="*/ 2147483647 h 99"/>
                <a:gd name="T12" fmla="*/ 2147483647 w 5"/>
                <a:gd name="T13" fmla="*/ 2147483647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99"/>
                <a:gd name="T23" fmla="*/ 5 w 5"/>
                <a:gd name="T24" fmla="*/ 99 h 9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04" name="Freeform 182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7596188" y="3976688"/>
              <a:ext cx="7937" cy="36512"/>
            </a:xfrm>
            <a:custGeom>
              <a:avLst/>
              <a:gdLst>
                <a:gd name="T0" fmla="*/ 2147483647 w 14"/>
                <a:gd name="T1" fmla="*/ 0 h 68"/>
                <a:gd name="T2" fmla="*/ 2147483647 w 14"/>
                <a:gd name="T3" fmla="*/ 2147483647 h 68"/>
                <a:gd name="T4" fmla="*/ 2147483647 w 14"/>
                <a:gd name="T5" fmla="*/ 2147483647 h 68"/>
                <a:gd name="T6" fmla="*/ 2147483647 w 14"/>
                <a:gd name="T7" fmla="*/ 2147483647 h 68"/>
                <a:gd name="T8" fmla="*/ 0 w 14"/>
                <a:gd name="T9" fmla="*/ 2147483647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68"/>
                <a:gd name="T17" fmla="*/ 14 w 14"/>
                <a:gd name="T18" fmla="*/ 68 h 6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05" name="Freeform 183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7612063" y="3957638"/>
              <a:ext cx="1587" cy="22225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2147483647 h 43"/>
                <a:gd name="T4" fmla="*/ 0 w 1587"/>
                <a:gd name="T5" fmla="*/ 2147483647 h 43"/>
                <a:gd name="T6" fmla="*/ 0 w 1587"/>
                <a:gd name="T7" fmla="*/ 2147483647 h 43"/>
                <a:gd name="T8" fmla="*/ 0 w 1587"/>
                <a:gd name="T9" fmla="*/ 2147483647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87"/>
                <a:gd name="T16" fmla="*/ 0 h 43"/>
                <a:gd name="T17" fmla="*/ 1587 w 1587"/>
                <a:gd name="T18" fmla="*/ 43 h 4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06" name="Line 184"/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7612063" y="3976688"/>
              <a:ext cx="158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507" name="Freeform 185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7596188" y="3960813"/>
              <a:ext cx="1587" cy="15875"/>
            </a:xfrm>
            <a:custGeom>
              <a:avLst/>
              <a:gdLst>
                <a:gd name="T0" fmla="*/ 0 w 1587"/>
                <a:gd name="T1" fmla="*/ 2147483647 h 31"/>
                <a:gd name="T2" fmla="*/ 0 w 1587"/>
                <a:gd name="T3" fmla="*/ 2147483647 h 31"/>
                <a:gd name="T4" fmla="*/ 0 w 1587"/>
                <a:gd name="T5" fmla="*/ 2147483647 h 31"/>
                <a:gd name="T6" fmla="*/ 0 w 1587"/>
                <a:gd name="T7" fmla="*/ 2147483647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87"/>
                <a:gd name="T16" fmla="*/ 0 h 31"/>
                <a:gd name="T17" fmla="*/ 1587 w 1587"/>
                <a:gd name="T18" fmla="*/ 31 h 3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08" name="Freeform 186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7316788" y="4949825"/>
              <a:ext cx="96837" cy="87313"/>
            </a:xfrm>
            <a:custGeom>
              <a:avLst/>
              <a:gdLst>
                <a:gd name="T0" fmla="*/ 2147483647 w 225"/>
                <a:gd name="T1" fmla="*/ 2147483647 h 167"/>
                <a:gd name="T2" fmla="*/ 2147483647 w 225"/>
                <a:gd name="T3" fmla="*/ 2147483647 h 167"/>
                <a:gd name="T4" fmla="*/ 0 w 225"/>
                <a:gd name="T5" fmla="*/ 2147483647 h 167"/>
                <a:gd name="T6" fmla="*/ 2147483647 w 225"/>
                <a:gd name="T7" fmla="*/ 2147483647 h 167"/>
                <a:gd name="T8" fmla="*/ 2147483647 w 225"/>
                <a:gd name="T9" fmla="*/ 2147483647 h 167"/>
                <a:gd name="T10" fmla="*/ 2147483647 w 225"/>
                <a:gd name="T11" fmla="*/ 2147483647 h 167"/>
                <a:gd name="T12" fmla="*/ 2147483647 w 225"/>
                <a:gd name="T13" fmla="*/ 2147483647 h 167"/>
                <a:gd name="T14" fmla="*/ 2147483647 w 225"/>
                <a:gd name="T15" fmla="*/ 2147483647 h 167"/>
                <a:gd name="T16" fmla="*/ 2147483647 w 225"/>
                <a:gd name="T17" fmla="*/ 2147483647 h 167"/>
                <a:gd name="T18" fmla="*/ 2147483647 w 225"/>
                <a:gd name="T19" fmla="*/ 2147483647 h 167"/>
                <a:gd name="T20" fmla="*/ 2147483647 w 225"/>
                <a:gd name="T21" fmla="*/ 2147483647 h 167"/>
                <a:gd name="T22" fmla="*/ 2147483647 w 225"/>
                <a:gd name="T23" fmla="*/ 2147483647 h 167"/>
                <a:gd name="T24" fmla="*/ 2147483647 w 225"/>
                <a:gd name="T25" fmla="*/ 2147483647 h 167"/>
                <a:gd name="T26" fmla="*/ 2147483647 w 225"/>
                <a:gd name="T27" fmla="*/ 2147483647 h 167"/>
                <a:gd name="T28" fmla="*/ 2147483647 w 225"/>
                <a:gd name="T29" fmla="*/ 2147483647 h 167"/>
                <a:gd name="T30" fmla="*/ 2147483647 w 225"/>
                <a:gd name="T31" fmla="*/ 2147483647 h 167"/>
                <a:gd name="T32" fmla="*/ 2147483647 w 225"/>
                <a:gd name="T33" fmla="*/ 2147483647 h 167"/>
                <a:gd name="T34" fmla="*/ 2147483647 w 225"/>
                <a:gd name="T35" fmla="*/ 0 h 167"/>
                <a:gd name="T36" fmla="*/ 2147483647 w 225"/>
                <a:gd name="T37" fmla="*/ 2147483647 h 167"/>
                <a:gd name="T38" fmla="*/ 2147483647 w 225"/>
                <a:gd name="T39" fmla="*/ 2147483647 h 167"/>
                <a:gd name="T40" fmla="*/ 2147483647 w 225"/>
                <a:gd name="T41" fmla="*/ 2147483647 h 167"/>
                <a:gd name="T42" fmla="*/ 2147483647 w 225"/>
                <a:gd name="T43" fmla="*/ 2147483647 h 167"/>
                <a:gd name="T44" fmla="*/ 2147483647 w 225"/>
                <a:gd name="T45" fmla="*/ 2147483647 h 167"/>
                <a:gd name="T46" fmla="*/ 2147483647 w 225"/>
                <a:gd name="T47" fmla="*/ 2147483647 h 167"/>
                <a:gd name="T48" fmla="*/ 2147483647 w 225"/>
                <a:gd name="T49" fmla="*/ 2147483647 h 167"/>
                <a:gd name="T50" fmla="*/ 2147483647 w 225"/>
                <a:gd name="T51" fmla="*/ 2147483647 h 167"/>
                <a:gd name="T52" fmla="*/ 2147483647 w 225"/>
                <a:gd name="T53" fmla="*/ 2147483647 h 167"/>
                <a:gd name="T54" fmla="*/ 2147483647 w 225"/>
                <a:gd name="T55" fmla="*/ 2147483647 h 167"/>
                <a:gd name="T56" fmla="*/ 2147483647 w 225"/>
                <a:gd name="T57" fmla="*/ 2147483647 h 167"/>
                <a:gd name="T58" fmla="*/ 2147483647 w 225"/>
                <a:gd name="T59" fmla="*/ 2147483647 h 167"/>
                <a:gd name="T60" fmla="*/ 2147483647 w 225"/>
                <a:gd name="T61" fmla="*/ 2147483647 h 167"/>
                <a:gd name="T62" fmla="*/ 2147483647 w 225"/>
                <a:gd name="T63" fmla="*/ 2147483647 h 167"/>
                <a:gd name="T64" fmla="*/ 2147483647 w 225"/>
                <a:gd name="T65" fmla="*/ 2147483647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25"/>
                <a:gd name="T100" fmla="*/ 0 h 167"/>
                <a:gd name="T101" fmla="*/ 225 w 225"/>
                <a:gd name="T102" fmla="*/ 167 h 16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09" name="Freeform 187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7454900" y="4168775"/>
              <a:ext cx="3175" cy="17463"/>
            </a:xfrm>
            <a:custGeom>
              <a:avLst/>
              <a:gdLst>
                <a:gd name="T0" fmla="*/ 0 w 7"/>
                <a:gd name="T1" fmla="*/ 2147483647 h 31"/>
                <a:gd name="T2" fmla="*/ 2147483647 w 7"/>
                <a:gd name="T3" fmla="*/ 2147483647 h 31"/>
                <a:gd name="T4" fmla="*/ 2147483647 w 7"/>
                <a:gd name="T5" fmla="*/ 2147483647 h 31"/>
                <a:gd name="T6" fmla="*/ 2147483647 w 7"/>
                <a:gd name="T7" fmla="*/ 2147483647 h 31"/>
                <a:gd name="T8" fmla="*/ 2147483647 w 7"/>
                <a:gd name="T9" fmla="*/ 0 h 31"/>
                <a:gd name="T10" fmla="*/ 2147483647 w 7"/>
                <a:gd name="T11" fmla="*/ 2147483647 h 31"/>
                <a:gd name="T12" fmla="*/ 2147483647 w 7"/>
                <a:gd name="T13" fmla="*/ 2147483647 h 31"/>
                <a:gd name="T14" fmla="*/ 2147483647 w 7"/>
                <a:gd name="T15" fmla="*/ 2147483647 h 31"/>
                <a:gd name="T16" fmla="*/ 0 w 7"/>
                <a:gd name="T17" fmla="*/ 2147483647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31"/>
                <a:gd name="T29" fmla="*/ 7 w 7"/>
                <a:gd name="T30" fmla="*/ 31 h 3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10" name="Freeform 188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7388225" y="4090988"/>
              <a:ext cx="15875" cy="15875"/>
            </a:xfrm>
            <a:custGeom>
              <a:avLst/>
              <a:gdLst>
                <a:gd name="T0" fmla="*/ 2147483647 w 33"/>
                <a:gd name="T1" fmla="*/ 2147483647 h 31"/>
                <a:gd name="T2" fmla="*/ 2147483647 w 33"/>
                <a:gd name="T3" fmla="*/ 0 h 31"/>
                <a:gd name="T4" fmla="*/ 2147483647 w 33"/>
                <a:gd name="T5" fmla="*/ 0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2147483647 h 31"/>
                <a:gd name="T18" fmla="*/ 0 w 33"/>
                <a:gd name="T19" fmla="*/ 2147483647 h 31"/>
                <a:gd name="T20" fmla="*/ 2147483647 w 33"/>
                <a:gd name="T21" fmla="*/ 2147483647 h 31"/>
                <a:gd name="T22" fmla="*/ 2147483647 w 33"/>
                <a:gd name="T23" fmla="*/ 2147483647 h 31"/>
                <a:gd name="T24" fmla="*/ 2147483647 w 33"/>
                <a:gd name="T25" fmla="*/ 2147483647 h 31"/>
                <a:gd name="T26" fmla="*/ 2147483647 w 33"/>
                <a:gd name="T27" fmla="*/ 2147483647 h 31"/>
                <a:gd name="T28" fmla="*/ 2147483647 w 33"/>
                <a:gd name="T29" fmla="*/ 2147483647 h 31"/>
                <a:gd name="T30" fmla="*/ 2147483647 w 33"/>
                <a:gd name="T31" fmla="*/ 2147483647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3"/>
                <a:gd name="T49" fmla="*/ 0 h 31"/>
                <a:gd name="T50" fmla="*/ 33 w 33"/>
                <a:gd name="T51" fmla="*/ 31 h 3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11" name="Freeform 189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7404100" y="4003675"/>
              <a:ext cx="3175" cy="9525"/>
            </a:xfrm>
            <a:custGeom>
              <a:avLst/>
              <a:gdLst>
                <a:gd name="T0" fmla="*/ 0 w 13"/>
                <a:gd name="T1" fmla="*/ 2147483647 h 19"/>
                <a:gd name="T2" fmla="*/ 2147483647 w 13"/>
                <a:gd name="T3" fmla="*/ 2147483647 h 19"/>
                <a:gd name="T4" fmla="*/ 2147483647 w 13"/>
                <a:gd name="T5" fmla="*/ 2147483647 h 19"/>
                <a:gd name="T6" fmla="*/ 2147483647 w 13"/>
                <a:gd name="T7" fmla="*/ 2147483647 h 19"/>
                <a:gd name="T8" fmla="*/ 2147483647 w 13"/>
                <a:gd name="T9" fmla="*/ 2147483647 h 19"/>
                <a:gd name="T10" fmla="*/ 2147483647 w 13"/>
                <a:gd name="T11" fmla="*/ 2147483647 h 19"/>
                <a:gd name="T12" fmla="*/ 2147483647 w 13"/>
                <a:gd name="T13" fmla="*/ 0 h 19"/>
                <a:gd name="T14" fmla="*/ 0 w 13"/>
                <a:gd name="T15" fmla="*/ 2147483647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19"/>
                <a:gd name="T26" fmla="*/ 13 w 13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12" name="Freeform 190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7243763" y="4006850"/>
              <a:ext cx="36512" cy="22225"/>
            </a:xfrm>
            <a:custGeom>
              <a:avLst/>
              <a:gdLst>
                <a:gd name="T0" fmla="*/ 2147483647 w 87"/>
                <a:gd name="T1" fmla="*/ 2147483647 h 42"/>
                <a:gd name="T2" fmla="*/ 2147483647 w 87"/>
                <a:gd name="T3" fmla="*/ 2147483647 h 42"/>
                <a:gd name="T4" fmla="*/ 2147483647 w 87"/>
                <a:gd name="T5" fmla="*/ 2147483647 h 42"/>
                <a:gd name="T6" fmla="*/ 2147483647 w 87"/>
                <a:gd name="T7" fmla="*/ 2147483647 h 42"/>
                <a:gd name="T8" fmla="*/ 2147483647 w 87"/>
                <a:gd name="T9" fmla="*/ 2147483647 h 42"/>
                <a:gd name="T10" fmla="*/ 2147483647 w 87"/>
                <a:gd name="T11" fmla="*/ 2147483647 h 42"/>
                <a:gd name="T12" fmla="*/ 2147483647 w 87"/>
                <a:gd name="T13" fmla="*/ 2147483647 h 42"/>
                <a:gd name="T14" fmla="*/ 2147483647 w 87"/>
                <a:gd name="T15" fmla="*/ 2147483647 h 42"/>
                <a:gd name="T16" fmla="*/ 2147483647 w 87"/>
                <a:gd name="T17" fmla="*/ 2147483647 h 42"/>
                <a:gd name="T18" fmla="*/ 2147483647 w 87"/>
                <a:gd name="T19" fmla="*/ 2147483647 h 42"/>
                <a:gd name="T20" fmla="*/ 2147483647 w 87"/>
                <a:gd name="T21" fmla="*/ 2147483647 h 42"/>
                <a:gd name="T22" fmla="*/ 2147483647 w 87"/>
                <a:gd name="T23" fmla="*/ 2147483647 h 42"/>
                <a:gd name="T24" fmla="*/ 2147483647 w 87"/>
                <a:gd name="T25" fmla="*/ 0 h 42"/>
                <a:gd name="T26" fmla="*/ 2147483647 w 87"/>
                <a:gd name="T27" fmla="*/ 0 h 42"/>
                <a:gd name="T28" fmla="*/ 2147483647 w 87"/>
                <a:gd name="T29" fmla="*/ 0 h 42"/>
                <a:gd name="T30" fmla="*/ 2147483647 w 87"/>
                <a:gd name="T31" fmla="*/ 0 h 42"/>
                <a:gd name="T32" fmla="*/ 2147483647 w 87"/>
                <a:gd name="T33" fmla="*/ 2147483647 h 42"/>
                <a:gd name="T34" fmla="*/ 2147483647 w 87"/>
                <a:gd name="T35" fmla="*/ 2147483647 h 42"/>
                <a:gd name="T36" fmla="*/ 2147483647 w 87"/>
                <a:gd name="T37" fmla="*/ 2147483647 h 42"/>
                <a:gd name="T38" fmla="*/ 2147483647 w 87"/>
                <a:gd name="T39" fmla="*/ 2147483647 h 42"/>
                <a:gd name="T40" fmla="*/ 0 w 87"/>
                <a:gd name="T41" fmla="*/ 2147483647 h 42"/>
                <a:gd name="T42" fmla="*/ 2147483647 w 87"/>
                <a:gd name="T43" fmla="*/ 2147483647 h 42"/>
                <a:gd name="T44" fmla="*/ 2147483647 w 87"/>
                <a:gd name="T45" fmla="*/ 2147483647 h 42"/>
                <a:gd name="T46" fmla="*/ 2147483647 w 87"/>
                <a:gd name="T47" fmla="*/ 2147483647 h 42"/>
                <a:gd name="T48" fmla="*/ 2147483647 w 87"/>
                <a:gd name="T49" fmla="*/ 2147483647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87"/>
                <a:gd name="T76" fmla="*/ 0 h 42"/>
                <a:gd name="T77" fmla="*/ 87 w 87"/>
                <a:gd name="T78" fmla="*/ 42 h 4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13" name="Freeform 191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7488238" y="4470400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2147483647 w 7"/>
                <a:gd name="T3" fmla="*/ 0 h 31"/>
                <a:gd name="T4" fmla="*/ 2147483647 w 7"/>
                <a:gd name="T5" fmla="*/ 2147483647 h 31"/>
                <a:gd name="T6" fmla="*/ 0 w 7"/>
                <a:gd name="T7" fmla="*/ 2147483647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1"/>
                <a:gd name="T17" fmla="*/ 7 w 7"/>
                <a:gd name="T18" fmla="*/ 31 h 3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40" name="Freeform 192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6724044" y="3976608"/>
              <a:ext cx="1020243" cy="908623"/>
            </a:xfrm>
            <a:custGeom>
              <a:avLst/>
              <a:gdLst>
                <a:gd name="T0" fmla="*/ 214 w 2332"/>
                <a:gd name="T1" fmla="*/ 707 h 1731"/>
                <a:gd name="T2" fmla="*/ 325 w 2332"/>
                <a:gd name="T3" fmla="*/ 649 h 1731"/>
                <a:gd name="T4" fmla="*/ 435 w 2332"/>
                <a:gd name="T5" fmla="*/ 606 h 1731"/>
                <a:gd name="T6" fmla="*/ 605 w 2332"/>
                <a:gd name="T7" fmla="*/ 570 h 1731"/>
                <a:gd name="T8" fmla="*/ 677 w 2332"/>
                <a:gd name="T9" fmla="*/ 437 h 1731"/>
                <a:gd name="T10" fmla="*/ 758 w 2332"/>
                <a:gd name="T11" fmla="*/ 439 h 1731"/>
                <a:gd name="T12" fmla="*/ 784 w 2332"/>
                <a:gd name="T13" fmla="*/ 363 h 1731"/>
                <a:gd name="T14" fmla="*/ 866 w 2332"/>
                <a:gd name="T15" fmla="*/ 316 h 1731"/>
                <a:gd name="T16" fmla="*/ 939 w 2332"/>
                <a:gd name="T17" fmla="*/ 246 h 1731"/>
                <a:gd name="T18" fmla="*/ 1027 w 2332"/>
                <a:gd name="T19" fmla="*/ 223 h 1731"/>
                <a:gd name="T20" fmla="*/ 1078 w 2332"/>
                <a:gd name="T21" fmla="*/ 284 h 1731"/>
                <a:gd name="T22" fmla="*/ 1135 w 2332"/>
                <a:gd name="T23" fmla="*/ 270 h 1731"/>
                <a:gd name="T24" fmla="*/ 1176 w 2332"/>
                <a:gd name="T25" fmla="*/ 172 h 1731"/>
                <a:gd name="T26" fmla="*/ 1320 w 2332"/>
                <a:gd name="T27" fmla="*/ 117 h 1731"/>
                <a:gd name="T28" fmla="*/ 1336 w 2332"/>
                <a:gd name="T29" fmla="*/ 41 h 1731"/>
                <a:gd name="T30" fmla="*/ 1432 w 2332"/>
                <a:gd name="T31" fmla="*/ 107 h 1731"/>
                <a:gd name="T32" fmla="*/ 1544 w 2332"/>
                <a:gd name="T33" fmla="*/ 117 h 1731"/>
                <a:gd name="T34" fmla="*/ 1465 w 2332"/>
                <a:gd name="T35" fmla="*/ 262 h 1731"/>
                <a:gd name="T36" fmla="*/ 1509 w 2332"/>
                <a:gd name="T37" fmla="*/ 333 h 1731"/>
                <a:gd name="T38" fmla="*/ 1582 w 2332"/>
                <a:gd name="T39" fmla="*/ 354 h 1731"/>
                <a:gd name="T40" fmla="*/ 1668 w 2332"/>
                <a:gd name="T41" fmla="*/ 423 h 1731"/>
                <a:gd name="T42" fmla="*/ 1764 w 2332"/>
                <a:gd name="T43" fmla="*/ 413 h 1731"/>
                <a:gd name="T44" fmla="*/ 1830 w 2332"/>
                <a:gd name="T45" fmla="*/ 205 h 1731"/>
                <a:gd name="T46" fmla="*/ 1904 w 2332"/>
                <a:gd name="T47" fmla="*/ 10 h 1731"/>
                <a:gd name="T48" fmla="*/ 1933 w 2332"/>
                <a:gd name="T49" fmla="*/ 80 h 1731"/>
                <a:gd name="T50" fmla="*/ 1944 w 2332"/>
                <a:gd name="T51" fmla="*/ 176 h 1731"/>
                <a:gd name="T52" fmla="*/ 1986 w 2332"/>
                <a:gd name="T53" fmla="*/ 240 h 1731"/>
                <a:gd name="T54" fmla="*/ 2040 w 2332"/>
                <a:gd name="T55" fmla="*/ 429 h 1731"/>
                <a:gd name="T56" fmla="*/ 2089 w 2332"/>
                <a:gd name="T57" fmla="*/ 540 h 1731"/>
                <a:gd name="T58" fmla="*/ 2163 w 2332"/>
                <a:gd name="T59" fmla="*/ 686 h 1731"/>
                <a:gd name="T60" fmla="*/ 2219 w 2332"/>
                <a:gd name="T61" fmla="*/ 769 h 1731"/>
                <a:gd name="T62" fmla="*/ 2332 w 2332"/>
                <a:gd name="T63" fmla="*/ 892 h 1731"/>
                <a:gd name="T64" fmla="*/ 2276 w 2332"/>
                <a:gd name="T65" fmla="*/ 1105 h 1731"/>
                <a:gd name="T66" fmla="*/ 2087 w 2332"/>
                <a:gd name="T67" fmla="*/ 1362 h 1731"/>
                <a:gd name="T68" fmla="*/ 2005 w 2332"/>
                <a:gd name="T69" fmla="*/ 1432 h 1731"/>
                <a:gd name="T70" fmla="*/ 1838 w 2332"/>
                <a:gd name="T71" fmla="*/ 1591 h 1731"/>
                <a:gd name="T72" fmla="*/ 1749 w 2332"/>
                <a:gd name="T73" fmla="*/ 1676 h 1731"/>
                <a:gd name="T74" fmla="*/ 1589 w 2332"/>
                <a:gd name="T75" fmla="*/ 1726 h 1731"/>
                <a:gd name="T76" fmla="*/ 1517 w 2332"/>
                <a:gd name="T77" fmla="*/ 1693 h 1731"/>
                <a:gd name="T78" fmla="*/ 1410 w 2332"/>
                <a:gd name="T79" fmla="*/ 1729 h 1731"/>
                <a:gd name="T80" fmla="*/ 1297 w 2332"/>
                <a:gd name="T81" fmla="*/ 1693 h 1731"/>
                <a:gd name="T82" fmla="*/ 1279 w 2332"/>
                <a:gd name="T83" fmla="*/ 1614 h 1731"/>
                <a:gd name="T84" fmla="*/ 1263 w 2332"/>
                <a:gd name="T85" fmla="*/ 1516 h 1731"/>
                <a:gd name="T86" fmla="*/ 1225 w 2332"/>
                <a:gd name="T87" fmla="*/ 1500 h 1731"/>
                <a:gd name="T88" fmla="*/ 1280 w 2332"/>
                <a:gd name="T89" fmla="*/ 1382 h 1731"/>
                <a:gd name="T90" fmla="*/ 1088 w 2332"/>
                <a:gd name="T91" fmla="*/ 1362 h 1731"/>
                <a:gd name="T92" fmla="*/ 961 w 2332"/>
                <a:gd name="T93" fmla="*/ 1282 h 1731"/>
                <a:gd name="T94" fmla="*/ 754 w 2332"/>
                <a:gd name="T95" fmla="*/ 1323 h 1731"/>
                <a:gd name="T96" fmla="*/ 507 w 2332"/>
                <a:gd name="T97" fmla="*/ 1419 h 1731"/>
                <a:gd name="T98" fmla="*/ 214 w 2332"/>
                <a:gd name="T99" fmla="*/ 1473 h 1731"/>
                <a:gd name="T100" fmla="*/ 55 w 2332"/>
                <a:gd name="T101" fmla="*/ 1490 h 1731"/>
                <a:gd name="T102" fmla="*/ 2 w 2332"/>
                <a:gd name="T103" fmla="*/ 1423 h 1731"/>
                <a:gd name="T104" fmla="*/ 97 w 2332"/>
                <a:gd name="T105" fmla="*/ 1344 h 1731"/>
                <a:gd name="T106" fmla="*/ 75 w 2332"/>
                <a:gd name="T107" fmla="*/ 1241 h 1731"/>
                <a:gd name="T108" fmla="*/ 113 w 2332"/>
                <a:gd name="T109" fmla="*/ 1170 h 1731"/>
                <a:gd name="T110" fmla="*/ 58 w 2332"/>
                <a:gd name="T111" fmla="*/ 943 h 1731"/>
                <a:gd name="T112" fmla="*/ 113 w 2332"/>
                <a:gd name="T113" fmla="*/ 964 h 1731"/>
                <a:gd name="T114" fmla="*/ 106 w 2332"/>
                <a:gd name="T115" fmla="*/ 862 h 1731"/>
                <a:gd name="T116" fmla="*/ 147 w 2332"/>
                <a:gd name="T117" fmla="*/ 765 h 1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US" altLang="en-US" sz="1800" baseline="-25000" smtClean="0"/>
            </a:p>
          </p:txBody>
        </p:sp>
        <p:sp>
          <p:nvSpPr>
            <p:cNvPr id="15515" name="Freeform 193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1211263" y="2643188"/>
              <a:ext cx="668337" cy="581025"/>
            </a:xfrm>
            <a:custGeom>
              <a:avLst/>
              <a:gdLst>
                <a:gd name="T0" fmla="*/ 2147483647 w 1535"/>
                <a:gd name="T1" fmla="*/ 2147483647 h 1109"/>
                <a:gd name="T2" fmla="*/ 2147483647 w 1535"/>
                <a:gd name="T3" fmla="*/ 2147483647 h 1109"/>
                <a:gd name="T4" fmla="*/ 2147483647 w 1535"/>
                <a:gd name="T5" fmla="*/ 2147483647 h 1109"/>
                <a:gd name="T6" fmla="*/ 2147483647 w 1535"/>
                <a:gd name="T7" fmla="*/ 2147483647 h 1109"/>
                <a:gd name="T8" fmla="*/ 2147483647 w 1535"/>
                <a:gd name="T9" fmla="*/ 2147483647 h 1109"/>
                <a:gd name="T10" fmla="*/ 2147483647 w 1535"/>
                <a:gd name="T11" fmla="*/ 2147483647 h 1109"/>
                <a:gd name="T12" fmla="*/ 2147483647 w 1535"/>
                <a:gd name="T13" fmla="*/ 2147483647 h 1109"/>
                <a:gd name="T14" fmla="*/ 2147483647 w 1535"/>
                <a:gd name="T15" fmla="*/ 2147483647 h 1109"/>
                <a:gd name="T16" fmla="*/ 2147483647 w 1535"/>
                <a:gd name="T17" fmla="*/ 2147483647 h 1109"/>
                <a:gd name="T18" fmla="*/ 2147483647 w 1535"/>
                <a:gd name="T19" fmla="*/ 2147483647 h 1109"/>
                <a:gd name="T20" fmla="*/ 2147483647 w 1535"/>
                <a:gd name="T21" fmla="*/ 2147483647 h 1109"/>
                <a:gd name="T22" fmla="*/ 2147483647 w 1535"/>
                <a:gd name="T23" fmla="*/ 2147483647 h 1109"/>
                <a:gd name="T24" fmla="*/ 2147483647 w 1535"/>
                <a:gd name="T25" fmla="*/ 2147483647 h 1109"/>
                <a:gd name="T26" fmla="*/ 2147483647 w 1535"/>
                <a:gd name="T27" fmla="*/ 2147483647 h 1109"/>
                <a:gd name="T28" fmla="*/ 2147483647 w 1535"/>
                <a:gd name="T29" fmla="*/ 2147483647 h 1109"/>
                <a:gd name="T30" fmla="*/ 2147483647 w 1535"/>
                <a:gd name="T31" fmla="*/ 2147483647 h 1109"/>
                <a:gd name="T32" fmla="*/ 2147483647 w 1535"/>
                <a:gd name="T33" fmla="*/ 2147483647 h 1109"/>
                <a:gd name="T34" fmla="*/ 2147483647 w 1535"/>
                <a:gd name="T35" fmla="*/ 2147483647 h 1109"/>
                <a:gd name="T36" fmla="*/ 2147483647 w 1535"/>
                <a:gd name="T37" fmla="*/ 2147483647 h 1109"/>
                <a:gd name="T38" fmla="*/ 2147483647 w 1535"/>
                <a:gd name="T39" fmla="*/ 2147483647 h 1109"/>
                <a:gd name="T40" fmla="*/ 2147483647 w 1535"/>
                <a:gd name="T41" fmla="*/ 2147483647 h 1109"/>
                <a:gd name="T42" fmla="*/ 2147483647 w 1535"/>
                <a:gd name="T43" fmla="*/ 2147483647 h 1109"/>
                <a:gd name="T44" fmla="*/ 2147483647 w 1535"/>
                <a:gd name="T45" fmla="*/ 2147483647 h 1109"/>
                <a:gd name="T46" fmla="*/ 2147483647 w 1535"/>
                <a:gd name="T47" fmla="*/ 2147483647 h 1109"/>
                <a:gd name="T48" fmla="*/ 2147483647 w 1535"/>
                <a:gd name="T49" fmla="*/ 2147483647 h 1109"/>
                <a:gd name="T50" fmla="*/ 2147483647 w 1535"/>
                <a:gd name="T51" fmla="*/ 2147483647 h 1109"/>
                <a:gd name="T52" fmla="*/ 2147483647 w 1535"/>
                <a:gd name="T53" fmla="*/ 2147483647 h 1109"/>
                <a:gd name="T54" fmla="*/ 2147483647 w 1535"/>
                <a:gd name="T55" fmla="*/ 2147483647 h 1109"/>
                <a:gd name="T56" fmla="*/ 2147483647 w 1535"/>
                <a:gd name="T57" fmla="*/ 2147483647 h 1109"/>
                <a:gd name="T58" fmla="*/ 2147483647 w 1535"/>
                <a:gd name="T59" fmla="*/ 2147483647 h 1109"/>
                <a:gd name="T60" fmla="*/ 2147483647 w 1535"/>
                <a:gd name="T61" fmla="*/ 2147483647 h 1109"/>
                <a:gd name="T62" fmla="*/ 2147483647 w 1535"/>
                <a:gd name="T63" fmla="*/ 2147483647 h 1109"/>
                <a:gd name="T64" fmla="*/ 2147483647 w 1535"/>
                <a:gd name="T65" fmla="*/ 2147483647 h 1109"/>
                <a:gd name="T66" fmla="*/ 2147483647 w 1535"/>
                <a:gd name="T67" fmla="*/ 2147483647 h 1109"/>
                <a:gd name="T68" fmla="*/ 2147483647 w 1535"/>
                <a:gd name="T69" fmla="*/ 2147483647 h 1109"/>
                <a:gd name="T70" fmla="*/ 2147483647 w 1535"/>
                <a:gd name="T71" fmla="*/ 2147483647 h 1109"/>
                <a:gd name="T72" fmla="*/ 2147483647 w 1535"/>
                <a:gd name="T73" fmla="*/ 2147483647 h 1109"/>
                <a:gd name="T74" fmla="*/ 2147483647 w 1535"/>
                <a:gd name="T75" fmla="*/ 2147483647 h 1109"/>
                <a:gd name="T76" fmla="*/ 2147483647 w 1535"/>
                <a:gd name="T77" fmla="*/ 2147483647 h 1109"/>
                <a:gd name="T78" fmla="*/ 2147483647 w 1535"/>
                <a:gd name="T79" fmla="*/ 2147483647 h 1109"/>
                <a:gd name="T80" fmla="*/ 2147483647 w 1535"/>
                <a:gd name="T81" fmla="*/ 2147483647 h 1109"/>
                <a:gd name="T82" fmla="*/ 2147483647 w 1535"/>
                <a:gd name="T83" fmla="*/ 2147483647 h 1109"/>
                <a:gd name="T84" fmla="*/ 2147483647 w 1535"/>
                <a:gd name="T85" fmla="*/ 2147483647 h 1109"/>
                <a:gd name="T86" fmla="*/ 2147483647 w 1535"/>
                <a:gd name="T87" fmla="*/ 2147483647 h 1109"/>
                <a:gd name="T88" fmla="*/ 2147483647 w 1535"/>
                <a:gd name="T89" fmla="*/ 2147483647 h 1109"/>
                <a:gd name="T90" fmla="*/ 2147483647 w 1535"/>
                <a:gd name="T91" fmla="*/ 2147483647 h 1109"/>
                <a:gd name="T92" fmla="*/ 2147483647 w 1535"/>
                <a:gd name="T93" fmla="*/ 2147483647 h 1109"/>
                <a:gd name="T94" fmla="*/ 2147483647 w 1535"/>
                <a:gd name="T95" fmla="*/ 2147483647 h 1109"/>
                <a:gd name="T96" fmla="*/ 2147483647 w 1535"/>
                <a:gd name="T97" fmla="*/ 2147483647 h 1109"/>
                <a:gd name="T98" fmla="*/ 2147483647 w 1535"/>
                <a:gd name="T99" fmla="*/ 2147483647 h 1109"/>
                <a:gd name="T100" fmla="*/ 2147483647 w 1535"/>
                <a:gd name="T101" fmla="*/ 2147483647 h 1109"/>
                <a:gd name="T102" fmla="*/ 2147483647 w 1535"/>
                <a:gd name="T103" fmla="*/ 2147483647 h 1109"/>
                <a:gd name="T104" fmla="*/ 2147483647 w 1535"/>
                <a:gd name="T105" fmla="*/ 2147483647 h 1109"/>
                <a:gd name="T106" fmla="*/ 2147483647 w 1535"/>
                <a:gd name="T107" fmla="*/ 2147483647 h 1109"/>
                <a:gd name="T108" fmla="*/ 2147483647 w 1535"/>
                <a:gd name="T109" fmla="*/ 2147483647 h 1109"/>
                <a:gd name="T110" fmla="*/ 2147483647 w 1535"/>
                <a:gd name="T111" fmla="*/ 2147483647 h 1109"/>
                <a:gd name="T112" fmla="*/ 2147483647 w 1535"/>
                <a:gd name="T113" fmla="*/ 2147483647 h 1109"/>
                <a:gd name="T114" fmla="*/ 2147483647 w 1535"/>
                <a:gd name="T115" fmla="*/ 2147483647 h 1109"/>
                <a:gd name="T116" fmla="*/ 2147483647 w 1535"/>
                <a:gd name="T117" fmla="*/ 2147483647 h 1109"/>
                <a:gd name="T118" fmla="*/ 2147483647 w 1535"/>
                <a:gd name="T119" fmla="*/ 2147483647 h 1109"/>
                <a:gd name="T120" fmla="*/ 2147483647 w 1535"/>
                <a:gd name="T121" fmla="*/ 2147483647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35"/>
                <a:gd name="T184" fmla="*/ 0 h 1109"/>
                <a:gd name="T185" fmla="*/ 1535 w 1535"/>
                <a:gd name="T186" fmla="*/ 1109 h 110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16" name="Freeform 194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2486025" y="4283075"/>
              <a:ext cx="211138" cy="265113"/>
            </a:xfrm>
            <a:custGeom>
              <a:avLst/>
              <a:gdLst>
                <a:gd name="T0" fmla="*/ 2147483647 w 486"/>
                <a:gd name="T1" fmla="*/ 2147483647 h 505"/>
                <a:gd name="T2" fmla="*/ 2147483647 w 486"/>
                <a:gd name="T3" fmla="*/ 2147483647 h 505"/>
                <a:gd name="T4" fmla="*/ 2147483647 w 486"/>
                <a:gd name="T5" fmla="*/ 2147483647 h 505"/>
                <a:gd name="T6" fmla="*/ 2147483647 w 486"/>
                <a:gd name="T7" fmla="*/ 2147483647 h 505"/>
                <a:gd name="T8" fmla="*/ 2147483647 w 486"/>
                <a:gd name="T9" fmla="*/ 2147483647 h 505"/>
                <a:gd name="T10" fmla="*/ 2147483647 w 486"/>
                <a:gd name="T11" fmla="*/ 2147483647 h 505"/>
                <a:gd name="T12" fmla="*/ 2147483647 w 486"/>
                <a:gd name="T13" fmla="*/ 2147483647 h 505"/>
                <a:gd name="T14" fmla="*/ 2147483647 w 486"/>
                <a:gd name="T15" fmla="*/ 2147483647 h 505"/>
                <a:gd name="T16" fmla="*/ 2147483647 w 486"/>
                <a:gd name="T17" fmla="*/ 2147483647 h 505"/>
                <a:gd name="T18" fmla="*/ 2147483647 w 486"/>
                <a:gd name="T19" fmla="*/ 2147483647 h 505"/>
                <a:gd name="T20" fmla="*/ 2147483647 w 486"/>
                <a:gd name="T21" fmla="*/ 2147483647 h 505"/>
                <a:gd name="T22" fmla="*/ 2147483647 w 486"/>
                <a:gd name="T23" fmla="*/ 2147483647 h 505"/>
                <a:gd name="T24" fmla="*/ 2147483647 w 486"/>
                <a:gd name="T25" fmla="*/ 2147483647 h 505"/>
                <a:gd name="T26" fmla="*/ 2147483647 w 486"/>
                <a:gd name="T27" fmla="*/ 2147483647 h 505"/>
                <a:gd name="T28" fmla="*/ 2147483647 w 486"/>
                <a:gd name="T29" fmla="*/ 2147483647 h 505"/>
                <a:gd name="T30" fmla="*/ 2147483647 w 486"/>
                <a:gd name="T31" fmla="*/ 2147483647 h 505"/>
                <a:gd name="T32" fmla="*/ 2147483647 w 486"/>
                <a:gd name="T33" fmla="*/ 2147483647 h 505"/>
                <a:gd name="T34" fmla="*/ 2147483647 w 486"/>
                <a:gd name="T35" fmla="*/ 2147483647 h 505"/>
                <a:gd name="T36" fmla="*/ 2147483647 w 486"/>
                <a:gd name="T37" fmla="*/ 2147483647 h 505"/>
                <a:gd name="T38" fmla="*/ 2147483647 w 486"/>
                <a:gd name="T39" fmla="*/ 2147483647 h 505"/>
                <a:gd name="T40" fmla="*/ 2147483647 w 486"/>
                <a:gd name="T41" fmla="*/ 2147483647 h 505"/>
                <a:gd name="T42" fmla="*/ 2147483647 w 486"/>
                <a:gd name="T43" fmla="*/ 2147483647 h 505"/>
                <a:gd name="T44" fmla="*/ 2147483647 w 486"/>
                <a:gd name="T45" fmla="*/ 2147483647 h 505"/>
                <a:gd name="T46" fmla="*/ 2147483647 w 486"/>
                <a:gd name="T47" fmla="*/ 2147483647 h 505"/>
                <a:gd name="T48" fmla="*/ 2147483647 w 486"/>
                <a:gd name="T49" fmla="*/ 2147483647 h 505"/>
                <a:gd name="T50" fmla="*/ 2147483647 w 486"/>
                <a:gd name="T51" fmla="*/ 2147483647 h 505"/>
                <a:gd name="T52" fmla="*/ 2147483647 w 486"/>
                <a:gd name="T53" fmla="*/ 2147483647 h 505"/>
                <a:gd name="T54" fmla="*/ 2147483647 w 486"/>
                <a:gd name="T55" fmla="*/ 2147483647 h 505"/>
                <a:gd name="T56" fmla="*/ 2147483647 w 486"/>
                <a:gd name="T57" fmla="*/ 2147483647 h 505"/>
                <a:gd name="T58" fmla="*/ 2147483647 w 486"/>
                <a:gd name="T59" fmla="*/ 2147483647 h 505"/>
                <a:gd name="T60" fmla="*/ 2147483647 w 486"/>
                <a:gd name="T61" fmla="*/ 2147483647 h 505"/>
                <a:gd name="T62" fmla="*/ 2147483647 w 486"/>
                <a:gd name="T63" fmla="*/ 2147483647 h 505"/>
                <a:gd name="T64" fmla="*/ 2147483647 w 486"/>
                <a:gd name="T65" fmla="*/ 2147483647 h 505"/>
                <a:gd name="T66" fmla="*/ 2147483647 w 486"/>
                <a:gd name="T67" fmla="*/ 2147483647 h 505"/>
                <a:gd name="T68" fmla="*/ 2147483647 w 486"/>
                <a:gd name="T69" fmla="*/ 2147483647 h 505"/>
                <a:gd name="T70" fmla="*/ 2147483647 w 486"/>
                <a:gd name="T71" fmla="*/ 2147483647 h 505"/>
                <a:gd name="T72" fmla="*/ 2147483647 w 486"/>
                <a:gd name="T73" fmla="*/ 2147483647 h 505"/>
                <a:gd name="T74" fmla="*/ 2147483647 w 486"/>
                <a:gd name="T75" fmla="*/ 2147483647 h 505"/>
                <a:gd name="T76" fmla="*/ 2147483647 w 486"/>
                <a:gd name="T77" fmla="*/ 2147483647 h 505"/>
                <a:gd name="T78" fmla="*/ 2147483647 w 486"/>
                <a:gd name="T79" fmla="*/ 2147483647 h 505"/>
                <a:gd name="T80" fmla="*/ 2147483647 w 486"/>
                <a:gd name="T81" fmla="*/ 2147483647 h 505"/>
                <a:gd name="T82" fmla="*/ 2147483647 w 486"/>
                <a:gd name="T83" fmla="*/ 2147483647 h 505"/>
                <a:gd name="T84" fmla="*/ 2147483647 w 486"/>
                <a:gd name="T85" fmla="*/ 2147483647 h 505"/>
                <a:gd name="T86" fmla="*/ 2147483647 w 486"/>
                <a:gd name="T87" fmla="*/ 2147483647 h 505"/>
                <a:gd name="T88" fmla="*/ 2147483647 w 486"/>
                <a:gd name="T89" fmla="*/ 2147483647 h 505"/>
                <a:gd name="T90" fmla="*/ 2147483647 w 486"/>
                <a:gd name="T91" fmla="*/ 2147483647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86"/>
                <a:gd name="T139" fmla="*/ 0 h 505"/>
                <a:gd name="T140" fmla="*/ 486 w 486"/>
                <a:gd name="T141" fmla="*/ 505 h 50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17" name="Freeform 195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2655888" y="3487738"/>
              <a:ext cx="73025" cy="109537"/>
            </a:xfrm>
            <a:custGeom>
              <a:avLst/>
              <a:gdLst>
                <a:gd name="T0" fmla="*/ 2147483647 w 166"/>
                <a:gd name="T1" fmla="*/ 2147483647 h 208"/>
                <a:gd name="T2" fmla="*/ 2147483647 w 166"/>
                <a:gd name="T3" fmla="*/ 2147483647 h 208"/>
                <a:gd name="T4" fmla="*/ 2147483647 w 166"/>
                <a:gd name="T5" fmla="*/ 2147483647 h 208"/>
                <a:gd name="T6" fmla="*/ 2147483647 w 166"/>
                <a:gd name="T7" fmla="*/ 2147483647 h 208"/>
                <a:gd name="T8" fmla="*/ 2147483647 w 166"/>
                <a:gd name="T9" fmla="*/ 2147483647 h 208"/>
                <a:gd name="T10" fmla="*/ 2147483647 w 166"/>
                <a:gd name="T11" fmla="*/ 2147483647 h 208"/>
                <a:gd name="T12" fmla="*/ 2147483647 w 166"/>
                <a:gd name="T13" fmla="*/ 2147483647 h 208"/>
                <a:gd name="T14" fmla="*/ 2147483647 w 166"/>
                <a:gd name="T15" fmla="*/ 2147483647 h 208"/>
                <a:gd name="T16" fmla="*/ 2147483647 w 166"/>
                <a:gd name="T17" fmla="*/ 2147483647 h 208"/>
                <a:gd name="T18" fmla="*/ 2147483647 w 166"/>
                <a:gd name="T19" fmla="*/ 2147483647 h 208"/>
                <a:gd name="T20" fmla="*/ 2147483647 w 166"/>
                <a:gd name="T21" fmla="*/ 2147483647 h 208"/>
                <a:gd name="T22" fmla="*/ 2147483647 w 166"/>
                <a:gd name="T23" fmla="*/ 2147483647 h 208"/>
                <a:gd name="T24" fmla="*/ 2147483647 w 166"/>
                <a:gd name="T25" fmla="*/ 2147483647 h 208"/>
                <a:gd name="T26" fmla="*/ 2147483647 w 166"/>
                <a:gd name="T27" fmla="*/ 2147483647 h 208"/>
                <a:gd name="T28" fmla="*/ 2147483647 w 166"/>
                <a:gd name="T29" fmla="*/ 2147483647 h 208"/>
                <a:gd name="T30" fmla="*/ 2147483647 w 166"/>
                <a:gd name="T31" fmla="*/ 2147483647 h 208"/>
                <a:gd name="T32" fmla="*/ 2147483647 w 166"/>
                <a:gd name="T33" fmla="*/ 2147483647 h 208"/>
                <a:gd name="T34" fmla="*/ 2147483647 w 166"/>
                <a:gd name="T35" fmla="*/ 2147483647 h 208"/>
                <a:gd name="T36" fmla="*/ 2147483647 w 166"/>
                <a:gd name="T37" fmla="*/ 2147483647 h 208"/>
                <a:gd name="T38" fmla="*/ 2147483647 w 166"/>
                <a:gd name="T39" fmla="*/ 2147483647 h 208"/>
                <a:gd name="T40" fmla="*/ 2147483647 w 166"/>
                <a:gd name="T41" fmla="*/ 2147483647 h 208"/>
                <a:gd name="T42" fmla="*/ 2147483647 w 166"/>
                <a:gd name="T43" fmla="*/ 2147483647 h 208"/>
                <a:gd name="T44" fmla="*/ 2147483647 w 166"/>
                <a:gd name="T45" fmla="*/ 2147483647 h 208"/>
                <a:gd name="T46" fmla="*/ 2147483647 w 166"/>
                <a:gd name="T47" fmla="*/ 2147483647 h 208"/>
                <a:gd name="T48" fmla="*/ 2147483647 w 166"/>
                <a:gd name="T49" fmla="*/ 2147483647 h 208"/>
                <a:gd name="T50" fmla="*/ 2147483647 w 166"/>
                <a:gd name="T51" fmla="*/ 2147483647 h 208"/>
                <a:gd name="T52" fmla="*/ 2147483647 w 166"/>
                <a:gd name="T53" fmla="*/ 2147483647 h 208"/>
                <a:gd name="T54" fmla="*/ 2147483647 w 166"/>
                <a:gd name="T55" fmla="*/ 0 h 208"/>
                <a:gd name="T56" fmla="*/ 2147483647 w 166"/>
                <a:gd name="T57" fmla="*/ 2147483647 h 208"/>
                <a:gd name="T58" fmla="*/ 2147483647 w 166"/>
                <a:gd name="T59" fmla="*/ 2147483647 h 208"/>
                <a:gd name="T60" fmla="*/ 2147483647 w 166"/>
                <a:gd name="T61" fmla="*/ 2147483647 h 208"/>
                <a:gd name="T62" fmla="*/ 2147483647 w 166"/>
                <a:gd name="T63" fmla="*/ 2147483647 h 208"/>
                <a:gd name="T64" fmla="*/ 2147483647 w 166"/>
                <a:gd name="T65" fmla="*/ 2147483647 h 208"/>
                <a:gd name="T66" fmla="*/ 2147483647 w 166"/>
                <a:gd name="T67" fmla="*/ 2147483647 h 208"/>
                <a:gd name="T68" fmla="*/ 2147483647 w 166"/>
                <a:gd name="T69" fmla="*/ 2147483647 h 208"/>
                <a:gd name="T70" fmla="*/ 0 w 166"/>
                <a:gd name="T71" fmla="*/ 2147483647 h 208"/>
                <a:gd name="T72" fmla="*/ 0 w 166"/>
                <a:gd name="T73" fmla="*/ 2147483647 h 208"/>
                <a:gd name="T74" fmla="*/ 2147483647 w 166"/>
                <a:gd name="T75" fmla="*/ 2147483647 h 208"/>
                <a:gd name="T76" fmla="*/ 2147483647 w 166"/>
                <a:gd name="T77" fmla="*/ 2147483647 h 208"/>
                <a:gd name="T78" fmla="*/ 2147483647 w 166"/>
                <a:gd name="T79" fmla="*/ 2147483647 h 208"/>
                <a:gd name="T80" fmla="*/ 2147483647 w 166"/>
                <a:gd name="T81" fmla="*/ 2147483647 h 208"/>
                <a:gd name="T82" fmla="*/ 2147483647 w 166"/>
                <a:gd name="T83" fmla="*/ 2147483647 h 208"/>
                <a:gd name="T84" fmla="*/ 2147483647 w 166"/>
                <a:gd name="T85" fmla="*/ 2147483647 h 208"/>
                <a:gd name="T86" fmla="*/ 2147483647 w 166"/>
                <a:gd name="T87" fmla="*/ 2147483647 h 208"/>
                <a:gd name="T88" fmla="*/ 2147483647 w 166"/>
                <a:gd name="T89" fmla="*/ 2147483647 h 208"/>
                <a:gd name="T90" fmla="*/ 2147483647 w 166"/>
                <a:gd name="T91" fmla="*/ 2147483647 h 208"/>
                <a:gd name="T92" fmla="*/ 2147483647 w 166"/>
                <a:gd name="T93" fmla="*/ 2147483647 h 208"/>
                <a:gd name="T94" fmla="*/ 2147483647 w 166"/>
                <a:gd name="T95" fmla="*/ 2147483647 h 208"/>
                <a:gd name="T96" fmla="*/ 2147483647 w 166"/>
                <a:gd name="T97" fmla="*/ 2147483647 h 208"/>
                <a:gd name="T98" fmla="*/ 2147483647 w 166"/>
                <a:gd name="T99" fmla="*/ 2147483647 h 208"/>
                <a:gd name="T100" fmla="*/ 2147483647 w 166"/>
                <a:gd name="T101" fmla="*/ 2147483647 h 208"/>
                <a:gd name="T102" fmla="*/ 2147483647 w 166"/>
                <a:gd name="T103" fmla="*/ 2147483647 h 208"/>
                <a:gd name="T104" fmla="*/ 2147483647 w 166"/>
                <a:gd name="T105" fmla="*/ 2147483647 h 208"/>
                <a:gd name="T106" fmla="*/ 2147483647 w 166"/>
                <a:gd name="T107" fmla="*/ 2147483647 h 208"/>
                <a:gd name="T108" fmla="*/ 2147483647 w 166"/>
                <a:gd name="T109" fmla="*/ 2147483647 h 208"/>
                <a:gd name="T110" fmla="*/ 2147483647 w 166"/>
                <a:gd name="T111" fmla="*/ 2147483647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66"/>
                <a:gd name="T169" fmla="*/ 0 h 208"/>
                <a:gd name="T170" fmla="*/ 166 w 166"/>
                <a:gd name="T171" fmla="*/ 208 h 20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18" name="Freeform 196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2170113" y="3046413"/>
              <a:ext cx="69850" cy="58737"/>
            </a:xfrm>
            <a:custGeom>
              <a:avLst/>
              <a:gdLst>
                <a:gd name="T0" fmla="*/ 2147483647 w 164"/>
                <a:gd name="T1" fmla="*/ 2147483647 h 104"/>
                <a:gd name="T2" fmla="*/ 2147483647 w 164"/>
                <a:gd name="T3" fmla="*/ 2147483647 h 104"/>
                <a:gd name="T4" fmla="*/ 2147483647 w 164"/>
                <a:gd name="T5" fmla="*/ 2147483647 h 104"/>
                <a:gd name="T6" fmla="*/ 2147483647 w 164"/>
                <a:gd name="T7" fmla="*/ 2147483647 h 104"/>
                <a:gd name="T8" fmla="*/ 2147483647 w 164"/>
                <a:gd name="T9" fmla="*/ 2147483647 h 104"/>
                <a:gd name="T10" fmla="*/ 2147483647 w 164"/>
                <a:gd name="T11" fmla="*/ 2147483647 h 104"/>
                <a:gd name="T12" fmla="*/ 2147483647 w 164"/>
                <a:gd name="T13" fmla="*/ 2147483647 h 104"/>
                <a:gd name="T14" fmla="*/ 2147483647 w 164"/>
                <a:gd name="T15" fmla="*/ 2147483647 h 104"/>
                <a:gd name="T16" fmla="*/ 2147483647 w 164"/>
                <a:gd name="T17" fmla="*/ 2147483647 h 104"/>
                <a:gd name="T18" fmla="*/ 2147483647 w 164"/>
                <a:gd name="T19" fmla="*/ 2147483647 h 104"/>
                <a:gd name="T20" fmla="*/ 2147483647 w 164"/>
                <a:gd name="T21" fmla="*/ 2147483647 h 104"/>
                <a:gd name="T22" fmla="*/ 2147483647 w 164"/>
                <a:gd name="T23" fmla="*/ 2147483647 h 104"/>
                <a:gd name="T24" fmla="*/ 2147483647 w 164"/>
                <a:gd name="T25" fmla="*/ 2147483647 h 104"/>
                <a:gd name="T26" fmla="*/ 2147483647 w 164"/>
                <a:gd name="T27" fmla="*/ 2147483647 h 104"/>
                <a:gd name="T28" fmla="*/ 2147483647 w 164"/>
                <a:gd name="T29" fmla="*/ 2147483647 h 104"/>
                <a:gd name="T30" fmla="*/ 2147483647 w 164"/>
                <a:gd name="T31" fmla="*/ 2147483647 h 104"/>
                <a:gd name="T32" fmla="*/ 2147483647 w 164"/>
                <a:gd name="T33" fmla="*/ 2147483647 h 104"/>
                <a:gd name="T34" fmla="*/ 0 w 164"/>
                <a:gd name="T35" fmla="*/ 2147483647 h 104"/>
                <a:gd name="T36" fmla="*/ 0 w 164"/>
                <a:gd name="T37" fmla="*/ 2147483647 h 104"/>
                <a:gd name="T38" fmla="*/ 0 w 164"/>
                <a:gd name="T39" fmla="*/ 2147483647 h 104"/>
                <a:gd name="T40" fmla="*/ 2147483647 w 164"/>
                <a:gd name="T41" fmla="*/ 2147483647 h 104"/>
                <a:gd name="T42" fmla="*/ 2147483647 w 164"/>
                <a:gd name="T43" fmla="*/ 2147483647 h 104"/>
                <a:gd name="T44" fmla="*/ 2147483647 w 164"/>
                <a:gd name="T45" fmla="*/ 2147483647 h 104"/>
                <a:gd name="T46" fmla="*/ 2147483647 w 164"/>
                <a:gd name="T47" fmla="*/ 2147483647 h 104"/>
                <a:gd name="T48" fmla="*/ 2147483647 w 164"/>
                <a:gd name="T49" fmla="*/ 2147483647 h 104"/>
                <a:gd name="T50" fmla="*/ 2147483647 w 164"/>
                <a:gd name="T51" fmla="*/ 2147483647 h 104"/>
                <a:gd name="T52" fmla="*/ 2147483647 w 164"/>
                <a:gd name="T53" fmla="*/ 2147483647 h 104"/>
                <a:gd name="T54" fmla="*/ 2147483647 w 164"/>
                <a:gd name="T55" fmla="*/ 2147483647 h 104"/>
                <a:gd name="T56" fmla="*/ 2147483647 w 164"/>
                <a:gd name="T57" fmla="*/ 2147483647 h 104"/>
                <a:gd name="T58" fmla="*/ 2147483647 w 164"/>
                <a:gd name="T59" fmla="*/ 2147483647 h 104"/>
                <a:gd name="T60" fmla="*/ 2147483647 w 164"/>
                <a:gd name="T61" fmla="*/ 2147483647 h 104"/>
                <a:gd name="T62" fmla="*/ 2147483647 w 164"/>
                <a:gd name="T63" fmla="*/ 2147483647 h 104"/>
                <a:gd name="T64" fmla="*/ 2147483647 w 164"/>
                <a:gd name="T65" fmla="*/ 2147483647 h 104"/>
                <a:gd name="T66" fmla="*/ 2147483647 w 164"/>
                <a:gd name="T67" fmla="*/ 2147483647 h 104"/>
                <a:gd name="T68" fmla="*/ 2147483647 w 164"/>
                <a:gd name="T69" fmla="*/ 2147483647 h 104"/>
                <a:gd name="T70" fmla="*/ 2147483647 w 164"/>
                <a:gd name="T71" fmla="*/ 2147483647 h 104"/>
                <a:gd name="T72" fmla="*/ 2147483647 w 164"/>
                <a:gd name="T73" fmla="*/ 2147483647 h 104"/>
                <a:gd name="T74" fmla="*/ 2147483647 w 164"/>
                <a:gd name="T75" fmla="*/ 2147483647 h 104"/>
                <a:gd name="T76" fmla="*/ 2147483647 w 164"/>
                <a:gd name="T77" fmla="*/ 2147483647 h 104"/>
                <a:gd name="T78" fmla="*/ 2147483647 w 164"/>
                <a:gd name="T79" fmla="*/ 2147483647 h 104"/>
                <a:gd name="T80" fmla="*/ 2147483647 w 164"/>
                <a:gd name="T81" fmla="*/ 0 h 104"/>
                <a:gd name="T82" fmla="*/ 2147483647 w 164"/>
                <a:gd name="T83" fmla="*/ 0 h 104"/>
                <a:gd name="T84" fmla="*/ 2147483647 w 164"/>
                <a:gd name="T85" fmla="*/ 2147483647 h 104"/>
                <a:gd name="T86" fmla="*/ 2147483647 w 164"/>
                <a:gd name="T87" fmla="*/ 2147483647 h 104"/>
                <a:gd name="T88" fmla="*/ 2147483647 w 164"/>
                <a:gd name="T89" fmla="*/ 2147483647 h 104"/>
                <a:gd name="T90" fmla="*/ 2147483647 w 164"/>
                <a:gd name="T91" fmla="*/ 2147483647 h 104"/>
                <a:gd name="T92" fmla="*/ 2147483647 w 164"/>
                <a:gd name="T93" fmla="*/ 2147483647 h 104"/>
                <a:gd name="T94" fmla="*/ 2147483647 w 164"/>
                <a:gd name="T95" fmla="*/ 2147483647 h 104"/>
                <a:gd name="T96" fmla="*/ 2147483647 w 164"/>
                <a:gd name="T97" fmla="*/ 2147483647 h 104"/>
                <a:gd name="T98" fmla="*/ 2147483647 w 164"/>
                <a:gd name="T99" fmla="*/ 2147483647 h 104"/>
                <a:gd name="T100" fmla="*/ 2147483647 w 164"/>
                <a:gd name="T101" fmla="*/ 2147483647 h 104"/>
                <a:gd name="T102" fmla="*/ 2147483647 w 164"/>
                <a:gd name="T103" fmla="*/ 2147483647 h 104"/>
                <a:gd name="T104" fmla="*/ 2147483647 w 164"/>
                <a:gd name="T105" fmla="*/ 2147483647 h 104"/>
                <a:gd name="T106" fmla="*/ 2147483647 w 164"/>
                <a:gd name="T107" fmla="*/ 2147483647 h 104"/>
                <a:gd name="T108" fmla="*/ 2147483647 w 164"/>
                <a:gd name="T109" fmla="*/ 214748364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64"/>
                <a:gd name="T166" fmla="*/ 0 h 104"/>
                <a:gd name="T167" fmla="*/ 164 w 164"/>
                <a:gd name="T168" fmla="*/ 104 h 10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19" name="Freeform 197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2536825" y="5400675"/>
              <a:ext cx="23813" cy="57150"/>
            </a:xfrm>
            <a:custGeom>
              <a:avLst/>
              <a:gdLst>
                <a:gd name="T0" fmla="*/ 0 w 53"/>
                <a:gd name="T1" fmla="*/ 2147483647 h 19"/>
                <a:gd name="T2" fmla="*/ 2147483647 w 53"/>
                <a:gd name="T3" fmla="*/ 2147483647 h 19"/>
                <a:gd name="T4" fmla="*/ 2147483647 w 53"/>
                <a:gd name="T5" fmla="*/ 2147483647 h 19"/>
                <a:gd name="T6" fmla="*/ 2147483647 w 53"/>
                <a:gd name="T7" fmla="*/ 2147483647 h 19"/>
                <a:gd name="T8" fmla="*/ 2147483647 w 53"/>
                <a:gd name="T9" fmla="*/ 2147483647 h 19"/>
                <a:gd name="T10" fmla="*/ 2147483647 w 53"/>
                <a:gd name="T11" fmla="*/ 2147483647 h 19"/>
                <a:gd name="T12" fmla="*/ 2147483647 w 53"/>
                <a:gd name="T13" fmla="*/ 2147483647 h 19"/>
                <a:gd name="T14" fmla="*/ 2147483647 w 53"/>
                <a:gd name="T15" fmla="*/ 2147483647 h 19"/>
                <a:gd name="T16" fmla="*/ 2147483647 w 53"/>
                <a:gd name="T17" fmla="*/ 2147483647 h 19"/>
                <a:gd name="T18" fmla="*/ 2147483647 w 53"/>
                <a:gd name="T19" fmla="*/ 2147483647 h 19"/>
                <a:gd name="T20" fmla="*/ 2147483647 w 53"/>
                <a:gd name="T21" fmla="*/ 2147483647 h 19"/>
                <a:gd name="T22" fmla="*/ 2147483647 w 53"/>
                <a:gd name="T23" fmla="*/ 2147483647 h 19"/>
                <a:gd name="T24" fmla="*/ 2147483647 w 53"/>
                <a:gd name="T25" fmla="*/ 0 h 19"/>
                <a:gd name="T26" fmla="*/ 2147483647 w 53"/>
                <a:gd name="T27" fmla="*/ 0 h 19"/>
                <a:gd name="T28" fmla="*/ 2147483647 w 53"/>
                <a:gd name="T29" fmla="*/ 2147483647 h 19"/>
                <a:gd name="T30" fmla="*/ 2147483647 w 53"/>
                <a:gd name="T31" fmla="*/ 2147483647 h 19"/>
                <a:gd name="T32" fmla="*/ 0 w 53"/>
                <a:gd name="T33" fmla="*/ 2147483647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3"/>
                <a:gd name="T52" fmla="*/ 0 h 19"/>
                <a:gd name="T53" fmla="*/ 53 w 53"/>
                <a:gd name="T54" fmla="*/ 19 h 1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20" name="Freeform 198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2501900" y="5380038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2147483647 w 80"/>
                <a:gd name="T3" fmla="*/ 2147483647 h 18"/>
                <a:gd name="T4" fmla="*/ 2147483647 w 80"/>
                <a:gd name="T5" fmla="*/ 2147483647 h 18"/>
                <a:gd name="T6" fmla="*/ 2147483647 w 80"/>
                <a:gd name="T7" fmla="*/ 2147483647 h 18"/>
                <a:gd name="T8" fmla="*/ 2147483647 w 80"/>
                <a:gd name="T9" fmla="*/ 2147483647 h 18"/>
                <a:gd name="T10" fmla="*/ 2147483647 w 80"/>
                <a:gd name="T11" fmla="*/ 2147483647 h 18"/>
                <a:gd name="T12" fmla="*/ 2147483647 w 80"/>
                <a:gd name="T13" fmla="*/ 2147483647 h 18"/>
                <a:gd name="T14" fmla="*/ 2147483647 w 80"/>
                <a:gd name="T15" fmla="*/ 2147483647 h 18"/>
                <a:gd name="T16" fmla="*/ 2147483647 w 80"/>
                <a:gd name="T17" fmla="*/ 2147483647 h 18"/>
                <a:gd name="T18" fmla="*/ 2147483647 w 80"/>
                <a:gd name="T19" fmla="*/ 2147483647 h 18"/>
                <a:gd name="T20" fmla="*/ 2147483647 w 80"/>
                <a:gd name="T21" fmla="*/ 2147483647 h 18"/>
                <a:gd name="T22" fmla="*/ 2147483647 w 80"/>
                <a:gd name="T23" fmla="*/ 2147483647 h 18"/>
                <a:gd name="T24" fmla="*/ 2147483647 w 80"/>
                <a:gd name="T25" fmla="*/ 2147483647 h 18"/>
                <a:gd name="T26" fmla="*/ 2147483647 w 80"/>
                <a:gd name="T27" fmla="*/ 2147483647 h 18"/>
                <a:gd name="T28" fmla="*/ 2147483647 w 80"/>
                <a:gd name="T29" fmla="*/ 2147483647 h 18"/>
                <a:gd name="T30" fmla="*/ 2147483647 w 80"/>
                <a:gd name="T31" fmla="*/ 2147483647 h 18"/>
                <a:gd name="T32" fmla="*/ 2147483647 w 80"/>
                <a:gd name="T33" fmla="*/ 2147483647 h 18"/>
                <a:gd name="T34" fmla="*/ 2147483647 w 80"/>
                <a:gd name="T35" fmla="*/ 2147483647 h 18"/>
                <a:gd name="T36" fmla="*/ 2147483647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0"/>
                <a:gd name="T61" fmla="*/ 0 h 18"/>
                <a:gd name="T62" fmla="*/ 80 w 80"/>
                <a:gd name="T63" fmla="*/ 18 h 1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21" name="Freeform 199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2501900" y="5359400"/>
              <a:ext cx="22225" cy="60325"/>
            </a:xfrm>
            <a:custGeom>
              <a:avLst/>
              <a:gdLst>
                <a:gd name="T0" fmla="*/ 2147483647 w 46"/>
                <a:gd name="T1" fmla="*/ 0 h 27"/>
                <a:gd name="T2" fmla="*/ 0 w 46"/>
                <a:gd name="T3" fmla="*/ 2147483647 h 27"/>
                <a:gd name="T4" fmla="*/ 2147483647 w 46"/>
                <a:gd name="T5" fmla="*/ 2147483647 h 27"/>
                <a:gd name="T6" fmla="*/ 2147483647 w 46"/>
                <a:gd name="T7" fmla="*/ 2147483647 h 27"/>
                <a:gd name="T8" fmla="*/ 2147483647 w 46"/>
                <a:gd name="T9" fmla="*/ 2147483647 h 27"/>
                <a:gd name="T10" fmla="*/ 2147483647 w 46"/>
                <a:gd name="T11" fmla="*/ 2147483647 h 27"/>
                <a:gd name="T12" fmla="*/ 2147483647 w 46"/>
                <a:gd name="T13" fmla="*/ 2147483647 h 27"/>
                <a:gd name="T14" fmla="*/ 2147483647 w 46"/>
                <a:gd name="T15" fmla="*/ 2147483647 h 27"/>
                <a:gd name="T16" fmla="*/ 2147483647 w 46"/>
                <a:gd name="T17" fmla="*/ 2147483647 h 27"/>
                <a:gd name="T18" fmla="*/ 2147483647 w 46"/>
                <a:gd name="T19" fmla="*/ 2147483647 h 27"/>
                <a:gd name="T20" fmla="*/ 2147483647 w 46"/>
                <a:gd name="T21" fmla="*/ 2147483647 h 27"/>
                <a:gd name="T22" fmla="*/ 2147483647 w 46"/>
                <a:gd name="T23" fmla="*/ 2147483647 h 27"/>
                <a:gd name="T24" fmla="*/ 2147483647 w 46"/>
                <a:gd name="T25" fmla="*/ 2147483647 h 27"/>
                <a:gd name="T26" fmla="*/ 2147483647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6"/>
                <a:gd name="T43" fmla="*/ 0 h 27"/>
                <a:gd name="T44" fmla="*/ 46 w 46"/>
                <a:gd name="T45" fmla="*/ 27 h 2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22" name="Freeform 200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2471738" y="5353050"/>
              <a:ext cx="25400" cy="60325"/>
            </a:xfrm>
            <a:custGeom>
              <a:avLst/>
              <a:gdLst>
                <a:gd name="T0" fmla="*/ 2147483647 w 54"/>
                <a:gd name="T1" fmla="*/ 0 h 39"/>
                <a:gd name="T2" fmla="*/ 2147483647 w 54"/>
                <a:gd name="T3" fmla="*/ 2147483647 h 39"/>
                <a:gd name="T4" fmla="*/ 2147483647 w 54"/>
                <a:gd name="T5" fmla="*/ 2147483647 h 39"/>
                <a:gd name="T6" fmla="*/ 2147483647 w 54"/>
                <a:gd name="T7" fmla="*/ 2147483647 h 39"/>
                <a:gd name="T8" fmla="*/ 2147483647 w 54"/>
                <a:gd name="T9" fmla="*/ 2147483647 h 39"/>
                <a:gd name="T10" fmla="*/ 2147483647 w 54"/>
                <a:gd name="T11" fmla="*/ 2147483647 h 39"/>
                <a:gd name="T12" fmla="*/ 0 w 54"/>
                <a:gd name="T13" fmla="*/ 2147483647 h 39"/>
                <a:gd name="T14" fmla="*/ 2147483647 w 54"/>
                <a:gd name="T15" fmla="*/ 2147483647 h 39"/>
                <a:gd name="T16" fmla="*/ 2147483647 w 54"/>
                <a:gd name="T17" fmla="*/ 2147483647 h 39"/>
                <a:gd name="T18" fmla="*/ 2147483647 w 54"/>
                <a:gd name="T19" fmla="*/ 2147483647 h 39"/>
                <a:gd name="T20" fmla="*/ 2147483647 w 54"/>
                <a:gd name="T21" fmla="*/ 2147483647 h 39"/>
                <a:gd name="T22" fmla="*/ 2147483647 w 54"/>
                <a:gd name="T23" fmla="*/ 2147483647 h 39"/>
                <a:gd name="T24" fmla="*/ 2147483647 w 54"/>
                <a:gd name="T25" fmla="*/ 2147483647 h 39"/>
                <a:gd name="T26" fmla="*/ 2147483647 w 54"/>
                <a:gd name="T27" fmla="*/ 2147483647 h 39"/>
                <a:gd name="T28" fmla="*/ 2147483647 w 54"/>
                <a:gd name="T29" fmla="*/ 2147483647 h 39"/>
                <a:gd name="T30" fmla="*/ 2147483647 w 54"/>
                <a:gd name="T31" fmla="*/ 2147483647 h 39"/>
                <a:gd name="T32" fmla="*/ 2147483647 w 54"/>
                <a:gd name="T33" fmla="*/ 2147483647 h 39"/>
                <a:gd name="T34" fmla="*/ 2147483647 w 54"/>
                <a:gd name="T35" fmla="*/ 2147483647 h 39"/>
                <a:gd name="T36" fmla="*/ 2147483647 w 54"/>
                <a:gd name="T37" fmla="*/ 2147483647 h 39"/>
                <a:gd name="T38" fmla="*/ 2147483647 w 54"/>
                <a:gd name="T39" fmla="*/ 2147483647 h 39"/>
                <a:gd name="T40" fmla="*/ 2147483647 w 54"/>
                <a:gd name="T41" fmla="*/ 2147483647 h 39"/>
                <a:gd name="T42" fmla="*/ 2147483647 w 54"/>
                <a:gd name="T43" fmla="*/ 2147483647 h 39"/>
                <a:gd name="T44" fmla="*/ 2147483647 w 54"/>
                <a:gd name="T45" fmla="*/ 2147483647 h 39"/>
                <a:gd name="T46" fmla="*/ 2147483647 w 54"/>
                <a:gd name="T47" fmla="*/ 2147483647 h 39"/>
                <a:gd name="T48" fmla="*/ 2147483647 w 54"/>
                <a:gd name="T49" fmla="*/ 2147483647 h 39"/>
                <a:gd name="T50" fmla="*/ 2147483647 w 54"/>
                <a:gd name="T51" fmla="*/ 2147483647 h 39"/>
                <a:gd name="T52" fmla="*/ 2147483647 w 54"/>
                <a:gd name="T53" fmla="*/ 2147483647 h 39"/>
                <a:gd name="T54" fmla="*/ 2147483647 w 54"/>
                <a:gd name="T55" fmla="*/ 2147483647 h 39"/>
                <a:gd name="T56" fmla="*/ 2147483647 w 54"/>
                <a:gd name="T57" fmla="*/ 2147483647 h 39"/>
                <a:gd name="T58" fmla="*/ 2147483647 w 54"/>
                <a:gd name="T59" fmla="*/ 2147483647 h 39"/>
                <a:gd name="T60" fmla="*/ 2147483647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54"/>
                <a:gd name="T94" fmla="*/ 0 h 39"/>
                <a:gd name="T95" fmla="*/ 54 w 54"/>
                <a:gd name="T96" fmla="*/ 39 h 39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23" name="Freeform 201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2446338" y="5343525"/>
              <a:ext cx="28575" cy="58738"/>
            </a:xfrm>
            <a:custGeom>
              <a:avLst/>
              <a:gdLst>
                <a:gd name="T0" fmla="*/ 0 w 60"/>
                <a:gd name="T1" fmla="*/ 2147483647 h 15"/>
                <a:gd name="T2" fmla="*/ 2147483647 w 60"/>
                <a:gd name="T3" fmla="*/ 2147483647 h 15"/>
                <a:gd name="T4" fmla="*/ 2147483647 w 60"/>
                <a:gd name="T5" fmla="*/ 2147483647 h 15"/>
                <a:gd name="T6" fmla="*/ 2147483647 w 60"/>
                <a:gd name="T7" fmla="*/ 2147483647 h 15"/>
                <a:gd name="T8" fmla="*/ 2147483647 w 60"/>
                <a:gd name="T9" fmla="*/ 2147483647 h 15"/>
                <a:gd name="T10" fmla="*/ 2147483647 w 60"/>
                <a:gd name="T11" fmla="*/ 2147483647 h 15"/>
                <a:gd name="T12" fmla="*/ 2147483647 w 60"/>
                <a:gd name="T13" fmla="*/ 2147483647 h 15"/>
                <a:gd name="T14" fmla="*/ 2147483647 w 60"/>
                <a:gd name="T15" fmla="*/ 2147483647 h 15"/>
                <a:gd name="T16" fmla="*/ 2147483647 w 60"/>
                <a:gd name="T17" fmla="*/ 2147483647 h 15"/>
                <a:gd name="T18" fmla="*/ 2147483647 w 60"/>
                <a:gd name="T19" fmla="*/ 2147483647 h 15"/>
                <a:gd name="T20" fmla="*/ 2147483647 w 60"/>
                <a:gd name="T21" fmla="*/ 0 h 15"/>
                <a:gd name="T22" fmla="*/ 2147483647 w 60"/>
                <a:gd name="T23" fmla="*/ 0 h 15"/>
                <a:gd name="T24" fmla="*/ 2147483647 w 60"/>
                <a:gd name="T25" fmla="*/ 0 h 15"/>
                <a:gd name="T26" fmla="*/ 2147483647 w 60"/>
                <a:gd name="T27" fmla="*/ 0 h 15"/>
                <a:gd name="T28" fmla="*/ 2147483647 w 60"/>
                <a:gd name="T29" fmla="*/ 2147483647 h 15"/>
                <a:gd name="T30" fmla="*/ 2147483647 w 60"/>
                <a:gd name="T31" fmla="*/ 2147483647 h 15"/>
                <a:gd name="T32" fmla="*/ 2147483647 w 60"/>
                <a:gd name="T33" fmla="*/ 2147483647 h 15"/>
                <a:gd name="T34" fmla="*/ 2147483647 w 60"/>
                <a:gd name="T35" fmla="*/ 2147483647 h 15"/>
                <a:gd name="T36" fmla="*/ 0 w 60"/>
                <a:gd name="T37" fmla="*/ 2147483647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0"/>
                <a:gd name="T58" fmla="*/ 0 h 15"/>
                <a:gd name="T59" fmla="*/ 60 w 60"/>
                <a:gd name="T60" fmla="*/ 15 h 1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24" name="Freeform 202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2422525" y="5330825"/>
              <a:ext cx="33338" cy="57150"/>
            </a:xfrm>
            <a:custGeom>
              <a:avLst/>
              <a:gdLst>
                <a:gd name="T0" fmla="*/ 2147483647 w 79"/>
                <a:gd name="T1" fmla="*/ 0 h 32"/>
                <a:gd name="T2" fmla="*/ 2147483647 w 79"/>
                <a:gd name="T3" fmla="*/ 2147483647 h 32"/>
                <a:gd name="T4" fmla="*/ 2147483647 w 79"/>
                <a:gd name="T5" fmla="*/ 2147483647 h 32"/>
                <a:gd name="T6" fmla="*/ 2147483647 w 79"/>
                <a:gd name="T7" fmla="*/ 2147483647 h 32"/>
                <a:gd name="T8" fmla="*/ 2147483647 w 79"/>
                <a:gd name="T9" fmla="*/ 2147483647 h 32"/>
                <a:gd name="T10" fmla="*/ 2147483647 w 79"/>
                <a:gd name="T11" fmla="*/ 2147483647 h 32"/>
                <a:gd name="T12" fmla="*/ 2147483647 w 79"/>
                <a:gd name="T13" fmla="*/ 2147483647 h 32"/>
                <a:gd name="T14" fmla="*/ 2147483647 w 79"/>
                <a:gd name="T15" fmla="*/ 2147483647 h 32"/>
                <a:gd name="T16" fmla="*/ 0 w 79"/>
                <a:gd name="T17" fmla="*/ 2147483647 h 32"/>
                <a:gd name="T18" fmla="*/ 2147483647 w 79"/>
                <a:gd name="T19" fmla="*/ 2147483647 h 32"/>
                <a:gd name="T20" fmla="*/ 2147483647 w 79"/>
                <a:gd name="T21" fmla="*/ 2147483647 h 32"/>
                <a:gd name="T22" fmla="*/ 2147483647 w 79"/>
                <a:gd name="T23" fmla="*/ 2147483647 h 32"/>
                <a:gd name="T24" fmla="*/ 2147483647 w 79"/>
                <a:gd name="T25" fmla="*/ 2147483647 h 32"/>
                <a:gd name="T26" fmla="*/ 2147483647 w 79"/>
                <a:gd name="T27" fmla="*/ 2147483647 h 32"/>
                <a:gd name="T28" fmla="*/ 2147483647 w 79"/>
                <a:gd name="T29" fmla="*/ 2147483647 h 32"/>
                <a:gd name="T30" fmla="*/ 2147483647 w 79"/>
                <a:gd name="T31" fmla="*/ 2147483647 h 32"/>
                <a:gd name="T32" fmla="*/ 2147483647 w 79"/>
                <a:gd name="T33" fmla="*/ 2147483647 h 32"/>
                <a:gd name="T34" fmla="*/ 2147483647 w 79"/>
                <a:gd name="T35" fmla="*/ 2147483647 h 32"/>
                <a:gd name="T36" fmla="*/ 2147483647 w 79"/>
                <a:gd name="T37" fmla="*/ 2147483647 h 32"/>
                <a:gd name="T38" fmla="*/ 2147483647 w 79"/>
                <a:gd name="T39" fmla="*/ 2147483647 h 32"/>
                <a:gd name="T40" fmla="*/ 2147483647 w 79"/>
                <a:gd name="T41" fmla="*/ 2147483647 h 32"/>
                <a:gd name="T42" fmla="*/ 2147483647 w 79"/>
                <a:gd name="T43" fmla="*/ 2147483647 h 32"/>
                <a:gd name="T44" fmla="*/ 2147483647 w 79"/>
                <a:gd name="T45" fmla="*/ 2147483647 h 32"/>
                <a:gd name="T46" fmla="*/ 2147483647 w 79"/>
                <a:gd name="T47" fmla="*/ 2147483647 h 32"/>
                <a:gd name="T48" fmla="*/ 2147483647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9"/>
                <a:gd name="T76" fmla="*/ 0 h 32"/>
                <a:gd name="T77" fmla="*/ 79 w 79"/>
                <a:gd name="T78" fmla="*/ 32 h 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25" name="Freeform 203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2416175" y="5311775"/>
              <a:ext cx="30163" cy="57150"/>
            </a:xfrm>
            <a:custGeom>
              <a:avLst/>
              <a:gdLst>
                <a:gd name="T0" fmla="*/ 2147483647 w 66"/>
                <a:gd name="T1" fmla="*/ 0 h 19"/>
                <a:gd name="T2" fmla="*/ 2147483647 w 66"/>
                <a:gd name="T3" fmla="*/ 2147483647 h 19"/>
                <a:gd name="T4" fmla="*/ 2147483647 w 66"/>
                <a:gd name="T5" fmla="*/ 2147483647 h 19"/>
                <a:gd name="T6" fmla="*/ 2147483647 w 66"/>
                <a:gd name="T7" fmla="*/ 2147483647 h 19"/>
                <a:gd name="T8" fmla="*/ 2147483647 w 66"/>
                <a:gd name="T9" fmla="*/ 2147483647 h 19"/>
                <a:gd name="T10" fmla="*/ 2147483647 w 66"/>
                <a:gd name="T11" fmla="*/ 2147483647 h 19"/>
                <a:gd name="T12" fmla="*/ 2147483647 w 66"/>
                <a:gd name="T13" fmla="*/ 2147483647 h 19"/>
                <a:gd name="T14" fmla="*/ 0 w 66"/>
                <a:gd name="T15" fmla="*/ 2147483647 h 19"/>
                <a:gd name="T16" fmla="*/ 0 w 66"/>
                <a:gd name="T17" fmla="*/ 2147483647 h 19"/>
                <a:gd name="T18" fmla="*/ 2147483647 w 66"/>
                <a:gd name="T19" fmla="*/ 2147483647 h 19"/>
                <a:gd name="T20" fmla="*/ 2147483647 w 66"/>
                <a:gd name="T21" fmla="*/ 2147483647 h 19"/>
                <a:gd name="T22" fmla="*/ 2147483647 w 66"/>
                <a:gd name="T23" fmla="*/ 2147483647 h 19"/>
                <a:gd name="T24" fmla="*/ 2147483647 w 66"/>
                <a:gd name="T25" fmla="*/ 2147483647 h 19"/>
                <a:gd name="T26" fmla="*/ 2147483647 w 66"/>
                <a:gd name="T27" fmla="*/ 2147483647 h 19"/>
                <a:gd name="T28" fmla="*/ 2147483647 w 66"/>
                <a:gd name="T29" fmla="*/ 2147483647 h 19"/>
                <a:gd name="T30" fmla="*/ 2147483647 w 66"/>
                <a:gd name="T31" fmla="*/ 2147483647 h 19"/>
                <a:gd name="T32" fmla="*/ 2147483647 w 66"/>
                <a:gd name="T33" fmla="*/ 2147483647 h 19"/>
                <a:gd name="T34" fmla="*/ 2147483647 w 66"/>
                <a:gd name="T35" fmla="*/ 2147483647 h 19"/>
                <a:gd name="T36" fmla="*/ 2147483647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6"/>
                <a:gd name="T58" fmla="*/ 0 h 19"/>
                <a:gd name="T59" fmla="*/ 66 w 66"/>
                <a:gd name="T60" fmla="*/ 19 h 1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26" name="Freeform 204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2316163" y="5002213"/>
              <a:ext cx="25400" cy="60325"/>
            </a:xfrm>
            <a:custGeom>
              <a:avLst/>
              <a:gdLst>
                <a:gd name="T0" fmla="*/ 2147483647 w 53"/>
                <a:gd name="T1" fmla="*/ 0 h 80"/>
                <a:gd name="T2" fmla="*/ 2147483647 w 53"/>
                <a:gd name="T3" fmla="*/ 2147483647 h 80"/>
                <a:gd name="T4" fmla="*/ 2147483647 w 53"/>
                <a:gd name="T5" fmla="*/ 2147483647 h 80"/>
                <a:gd name="T6" fmla="*/ 2147483647 w 53"/>
                <a:gd name="T7" fmla="*/ 2147483647 h 80"/>
                <a:gd name="T8" fmla="*/ 2147483647 w 53"/>
                <a:gd name="T9" fmla="*/ 2147483647 h 80"/>
                <a:gd name="T10" fmla="*/ 0 w 53"/>
                <a:gd name="T11" fmla="*/ 2147483647 h 80"/>
                <a:gd name="T12" fmla="*/ 0 w 53"/>
                <a:gd name="T13" fmla="*/ 2147483647 h 80"/>
                <a:gd name="T14" fmla="*/ 0 w 53"/>
                <a:gd name="T15" fmla="*/ 2147483647 h 80"/>
                <a:gd name="T16" fmla="*/ 2147483647 w 53"/>
                <a:gd name="T17" fmla="*/ 2147483647 h 80"/>
                <a:gd name="T18" fmla="*/ 2147483647 w 53"/>
                <a:gd name="T19" fmla="*/ 2147483647 h 80"/>
                <a:gd name="T20" fmla="*/ 2147483647 w 53"/>
                <a:gd name="T21" fmla="*/ 2147483647 h 80"/>
                <a:gd name="T22" fmla="*/ 2147483647 w 53"/>
                <a:gd name="T23" fmla="*/ 2147483647 h 80"/>
                <a:gd name="T24" fmla="*/ 2147483647 w 53"/>
                <a:gd name="T25" fmla="*/ 2147483647 h 80"/>
                <a:gd name="T26" fmla="*/ 2147483647 w 53"/>
                <a:gd name="T27" fmla="*/ 2147483647 h 80"/>
                <a:gd name="T28" fmla="*/ 2147483647 w 53"/>
                <a:gd name="T29" fmla="*/ 2147483647 h 80"/>
                <a:gd name="T30" fmla="*/ 2147483647 w 53"/>
                <a:gd name="T31" fmla="*/ 2147483647 h 80"/>
                <a:gd name="T32" fmla="*/ 2147483647 w 53"/>
                <a:gd name="T33" fmla="*/ 2147483647 h 80"/>
                <a:gd name="T34" fmla="*/ 2147483647 w 53"/>
                <a:gd name="T35" fmla="*/ 2147483647 h 80"/>
                <a:gd name="T36" fmla="*/ 2147483647 w 53"/>
                <a:gd name="T37" fmla="*/ 2147483647 h 80"/>
                <a:gd name="T38" fmla="*/ 2147483647 w 53"/>
                <a:gd name="T39" fmla="*/ 2147483647 h 80"/>
                <a:gd name="T40" fmla="*/ 2147483647 w 53"/>
                <a:gd name="T41" fmla="*/ 2147483647 h 80"/>
                <a:gd name="T42" fmla="*/ 2147483647 w 53"/>
                <a:gd name="T43" fmla="*/ 2147483647 h 80"/>
                <a:gd name="T44" fmla="*/ 2147483647 w 53"/>
                <a:gd name="T45" fmla="*/ 2147483647 h 80"/>
                <a:gd name="T46" fmla="*/ 2147483647 w 53"/>
                <a:gd name="T47" fmla="*/ 2147483647 h 80"/>
                <a:gd name="T48" fmla="*/ 2147483647 w 53"/>
                <a:gd name="T49" fmla="*/ 2147483647 h 80"/>
                <a:gd name="T50" fmla="*/ 2147483647 w 53"/>
                <a:gd name="T51" fmla="*/ 2147483647 h 80"/>
                <a:gd name="T52" fmla="*/ 2147483647 w 53"/>
                <a:gd name="T53" fmla="*/ 2147483647 h 80"/>
                <a:gd name="T54" fmla="*/ 2147483647 w 53"/>
                <a:gd name="T55" fmla="*/ 2147483647 h 80"/>
                <a:gd name="T56" fmla="*/ 2147483647 w 53"/>
                <a:gd name="T57" fmla="*/ 2147483647 h 80"/>
                <a:gd name="T58" fmla="*/ 2147483647 w 53"/>
                <a:gd name="T59" fmla="*/ 2147483647 h 80"/>
                <a:gd name="T60" fmla="*/ 2147483647 w 53"/>
                <a:gd name="T61" fmla="*/ 2147483647 h 80"/>
                <a:gd name="T62" fmla="*/ 2147483647 w 53"/>
                <a:gd name="T63" fmla="*/ 2147483647 h 80"/>
                <a:gd name="T64" fmla="*/ 2147483647 w 53"/>
                <a:gd name="T65" fmla="*/ 2147483647 h 80"/>
                <a:gd name="T66" fmla="*/ 2147483647 w 53"/>
                <a:gd name="T67" fmla="*/ 2147483647 h 80"/>
                <a:gd name="T68" fmla="*/ 2147483647 w 53"/>
                <a:gd name="T69" fmla="*/ 2147483647 h 80"/>
                <a:gd name="T70" fmla="*/ 2147483647 w 53"/>
                <a:gd name="T71" fmla="*/ 2147483647 h 80"/>
                <a:gd name="T72" fmla="*/ 2147483647 w 53"/>
                <a:gd name="T73" fmla="*/ 2147483647 h 80"/>
                <a:gd name="T74" fmla="*/ 2147483647 w 53"/>
                <a:gd name="T75" fmla="*/ 2147483647 h 80"/>
                <a:gd name="T76" fmla="*/ 2147483647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53"/>
                <a:gd name="T118" fmla="*/ 0 h 80"/>
                <a:gd name="T119" fmla="*/ 53 w 53"/>
                <a:gd name="T120" fmla="*/ 80 h 8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27" name="Freeform 205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2346325" y="5097463"/>
              <a:ext cx="17463" cy="53975"/>
            </a:xfrm>
            <a:custGeom>
              <a:avLst/>
              <a:gdLst>
                <a:gd name="T0" fmla="*/ 0 w 41"/>
                <a:gd name="T1" fmla="*/ 2147483647 h 43"/>
                <a:gd name="T2" fmla="*/ 2147483647 w 41"/>
                <a:gd name="T3" fmla="*/ 2147483647 h 43"/>
                <a:gd name="T4" fmla="*/ 2147483647 w 41"/>
                <a:gd name="T5" fmla="*/ 2147483647 h 43"/>
                <a:gd name="T6" fmla="*/ 2147483647 w 41"/>
                <a:gd name="T7" fmla="*/ 2147483647 h 43"/>
                <a:gd name="T8" fmla="*/ 2147483647 w 41"/>
                <a:gd name="T9" fmla="*/ 0 h 43"/>
                <a:gd name="T10" fmla="*/ 2147483647 w 41"/>
                <a:gd name="T11" fmla="*/ 2147483647 h 43"/>
                <a:gd name="T12" fmla="*/ 2147483647 w 41"/>
                <a:gd name="T13" fmla="*/ 2147483647 h 43"/>
                <a:gd name="T14" fmla="*/ 2147483647 w 41"/>
                <a:gd name="T15" fmla="*/ 2147483647 h 43"/>
                <a:gd name="T16" fmla="*/ 2147483647 w 41"/>
                <a:gd name="T17" fmla="*/ 2147483647 h 43"/>
                <a:gd name="T18" fmla="*/ 2147483647 w 41"/>
                <a:gd name="T19" fmla="*/ 2147483647 h 43"/>
                <a:gd name="T20" fmla="*/ 2147483647 w 41"/>
                <a:gd name="T21" fmla="*/ 2147483647 h 43"/>
                <a:gd name="T22" fmla="*/ 2147483647 w 41"/>
                <a:gd name="T23" fmla="*/ 2147483647 h 43"/>
                <a:gd name="T24" fmla="*/ 0 w 41"/>
                <a:gd name="T25" fmla="*/ 2147483647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1"/>
                <a:gd name="T40" fmla="*/ 0 h 43"/>
                <a:gd name="T41" fmla="*/ 41 w 41"/>
                <a:gd name="T42" fmla="*/ 43 h 4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28" name="Freeform 206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2351088" y="5119688"/>
              <a:ext cx="7937" cy="58737"/>
            </a:xfrm>
            <a:custGeom>
              <a:avLst/>
              <a:gdLst>
                <a:gd name="T0" fmla="*/ 2147483647 w 20"/>
                <a:gd name="T1" fmla="*/ 0 h 24"/>
                <a:gd name="T2" fmla="*/ 0 w 20"/>
                <a:gd name="T3" fmla="*/ 0 h 24"/>
                <a:gd name="T4" fmla="*/ 2147483647 w 20"/>
                <a:gd name="T5" fmla="*/ 2147483647 h 24"/>
                <a:gd name="T6" fmla="*/ 2147483647 w 20"/>
                <a:gd name="T7" fmla="*/ 2147483647 h 24"/>
                <a:gd name="T8" fmla="*/ 2147483647 w 20"/>
                <a:gd name="T9" fmla="*/ 2147483647 h 24"/>
                <a:gd name="T10" fmla="*/ 2147483647 w 20"/>
                <a:gd name="T11" fmla="*/ 2147483647 h 24"/>
                <a:gd name="T12" fmla="*/ 2147483647 w 20"/>
                <a:gd name="T13" fmla="*/ 2147483647 h 24"/>
                <a:gd name="T14" fmla="*/ 2147483647 w 20"/>
                <a:gd name="T15" fmla="*/ 2147483647 h 24"/>
                <a:gd name="T16" fmla="*/ 2147483647 w 20"/>
                <a:gd name="T17" fmla="*/ 2147483647 h 24"/>
                <a:gd name="T18" fmla="*/ 2147483647 w 20"/>
                <a:gd name="T19" fmla="*/ 2147483647 h 24"/>
                <a:gd name="T20" fmla="*/ 214748364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"/>
                <a:gd name="T34" fmla="*/ 0 h 24"/>
                <a:gd name="T35" fmla="*/ 20 w 20"/>
                <a:gd name="T36" fmla="*/ 24 h 2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29" name="Freeform 207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2365375" y="5181600"/>
              <a:ext cx="17463" cy="60325"/>
            </a:xfrm>
            <a:custGeom>
              <a:avLst/>
              <a:gdLst>
                <a:gd name="T0" fmla="*/ 0 w 39"/>
                <a:gd name="T1" fmla="*/ 2147483647 h 43"/>
                <a:gd name="T2" fmla="*/ 2147483647 w 39"/>
                <a:gd name="T3" fmla="*/ 2147483647 h 43"/>
                <a:gd name="T4" fmla="*/ 2147483647 w 39"/>
                <a:gd name="T5" fmla="*/ 2147483647 h 43"/>
                <a:gd name="T6" fmla="*/ 2147483647 w 39"/>
                <a:gd name="T7" fmla="*/ 2147483647 h 43"/>
                <a:gd name="T8" fmla="*/ 2147483647 w 39"/>
                <a:gd name="T9" fmla="*/ 2147483647 h 43"/>
                <a:gd name="T10" fmla="*/ 2147483647 w 39"/>
                <a:gd name="T11" fmla="*/ 2147483647 h 43"/>
                <a:gd name="T12" fmla="*/ 2147483647 w 39"/>
                <a:gd name="T13" fmla="*/ 2147483647 h 43"/>
                <a:gd name="T14" fmla="*/ 2147483647 w 39"/>
                <a:gd name="T15" fmla="*/ 2147483647 h 43"/>
                <a:gd name="T16" fmla="*/ 2147483647 w 39"/>
                <a:gd name="T17" fmla="*/ 2147483647 h 43"/>
                <a:gd name="T18" fmla="*/ 2147483647 w 39"/>
                <a:gd name="T19" fmla="*/ 2147483647 h 43"/>
                <a:gd name="T20" fmla="*/ 2147483647 w 39"/>
                <a:gd name="T21" fmla="*/ 2147483647 h 43"/>
                <a:gd name="T22" fmla="*/ 2147483647 w 39"/>
                <a:gd name="T23" fmla="*/ 2147483647 h 43"/>
                <a:gd name="T24" fmla="*/ 2147483647 w 39"/>
                <a:gd name="T25" fmla="*/ 0 h 43"/>
                <a:gd name="T26" fmla="*/ 2147483647 w 39"/>
                <a:gd name="T27" fmla="*/ 2147483647 h 43"/>
                <a:gd name="T28" fmla="*/ 2147483647 w 39"/>
                <a:gd name="T29" fmla="*/ 2147483647 h 43"/>
                <a:gd name="T30" fmla="*/ 0 w 39"/>
                <a:gd name="T31" fmla="*/ 2147483647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9"/>
                <a:gd name="T49" fmla="*/ 0 h 43"/>
                <a:gd name="T50" fmla="*/ 39 w 39"/>
                <a:gd name="T51" fmla="*/ 43 h 4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30" name="Freeform 208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2352675" y="5194300"/>
              <a:ext cx="26988" cy="58738"/>
            </a:xfrm>
            <a:custGeom>
              <a:avLst/>
              <a:gdLst>
                <a:gd name="T0" fmla="*/ 2147483647 w 55"/>
                <a:gd name="T1" fmla="*/ 2147483647 h 62"/>
                <a:gd name="T2" fmla="*/ 2147483647 w 55"/>
                <a:gd name="T3" fmla="*/ 0 h 62"/>
                <a:gd name="T4" fmla="*/ 2147483647 w 55"/>
                <a:gd name="T5" fmla="*/ 2147483647 h 62"/>
                <a:gd name="T6" fmla="*/ 2147483647 w 55"/>
                <a:gd name="T7" fmla="*/ 2147483647 h 62"/>
                <a:gd name="T8" fmla="*/ 0 w 55"/>
                <a:gd name="T9" fmla="*/ 2147483647 h 62"/>
                <a:gd name="T10" fmla="*/ 0 w 55"/>
                <a:gd name="T11" fmla="*/ 2147483647 h 62"/>
                <a:gd name="T12" fmla="*/ 2147483647 w 55"/>
                <a:gd name="T13" fmla="*/ 2147483647 h 62"/>
                <a:gd name="T14" fmla="*/ 2147483647 w 55"/>
                <a:gd name="T15" fmla="*/ 2147483647 h 62"/>
                <a:gd name="T16" fmla="*/ 2147483647 w 55"/>
                <a:gd name="T17" fmla="*/ 2147483647 h 62"/>
                <a:gd name="T18" fmla="*/ 2147483647 w 55"/>
                <a:gd name="T19" fmla="*/ 2147483647 h 62"/>
                <a:gd name="T20" fmla="*/ 2147483647 w 55"/>
                <a:gd name="T21" fmla="*/ 2147483647 h 62"/>
                <a:gd name="T22" fmla="*/ 2147483647 w 55"/>
                <a:gd name="T23" fmla="*/ 2147483647 h 62"/>
                <a:gd name="T24" fmla="*/ 2147483647 w 55"/>
                <a:gd name="T25" fmla="*/ 2147483647 h 62"/>
                <a:gd name="T26" fmla="*/ 2147483647 w 55"/>
                <a:gd name="T27" fmla="*/ 2147483647 h 62"/>
                <a:gd name="T28" fmla="*/ 2147483647 w 55"/>
                <a:gd name="T29" fmla="*/ 2147483647 h 62"/>
                <a:gd name="T30" fmla="*/ 2147483647 w 55"/>
                <a:gd name="T31" fmla="*/ 2147483647 h 62"/>
                <a:gd name="T32" fmla="*/ 2147483647 w 55"/>
                <a:gd name="T33" fmla="*/ 2147483647 h 62"/>
                <a:gd name="T34" fmla="*/ 2147483647 w 55"/>
                <a:gd name="T35" fmla="*/ 2147483647 h 62"/>
                <a:gd name="T36" fmla="*/ 2147483647 w 55"/>
                <a:gd name="T37" fmla="*/ 2147483647 h 62"/>
                <a:gd name="T38" fmla="*/ 2147483647 w 55"/>
                <a:gd name="T39" fmla="*/ 2147483647 h 62"/>
                <a:gd name="T40" fmla="*/ 2147483647 w 55"/>
                <a:gd name="T41" fmla="*/ 2147483647 h 62"/>
                <a:gd name="T42" fmla="*/ 2147483647 w 55"/>
                <a:gd name="T43" fmla="*/ 2147483647 h 62"/>
                <a:gd name="T44" fmla="*/ 2147483647 w 55"/>
                <a:gd name="T45" fmla="*/ 2147483647 h 62"/>
                <a:gd name="T46" fmla="*/ 2147483647 w 55"/>
                <a:gd name="T47" fmla="*/ 2147483647 h 62"/>
                <a:gd name="T48" fmla="*/ 2147483647 w 55"/>
                <a:gd name="T49" fmla="*/ 2147483647 h 62"/>
                <a:gd name="T50" fmla="*/ 2147483647 w 55"/>
                <a:gd name="T51" fmla="*/ 2147483647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55"/>
                <a:gd name="T79" fmla="*/ 0 h 62"/>
                <a:gd name="T80" fmla="*/ 55 w 55"/>
                <a:gd name="T81" fmla="*/ 62 h 62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31" name="Freeform 209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2382838" y="5227638"/>
              <a:ext cx="11112" cy="58737"/>
            </a:xfrm>
            <a:custGeom>
              <a:avLst/>
              <a:gdLst>
                <a:gd name="T0" fmla="*/ 2147483647 w 35"/>
                <a:gd name="T1" fmla="*/ 2147483647 h 43"/>
                <a:gd name="T2" fmla="*/ 2147483647 w 35"/>
                <a:gd name="T3" fmla="*/ 0 h 43"/>
                <a:gd name="T4" fmla="*/ 2147483647 w 35"/>
                <a:gd name="T5" fmla="*/ 2147483647 h 43"/>
                <a:gd name="T6" fmla="*/ 0 w 35"/>
                <a:gd name="T7" fmla="*/ 2147483647 h 43"/>
                <a:gd name="T8" fmla="*/ 2147483647 w 35"/>
                <a:gd name="T9" fmla="*/ 2147483647 h 43"/>
                <a:gd name="T10" fmla="*/ 2147483647 w 35"/>
                <a:gd name="T11" fmla="*/ 2147483647 h 43"/>
                <a:gd name="T12" fmla="*/ 2147483647 w 35"/>
                <a:gd name="T13" fmla="*/ 2147483647 h 43"/>
                <a:gd name="T14" fmla="*/ 2147483647 w 35"/>
                <a:gd name="T15" fmla="*/ 2147483647 h 43"/>
                <a:gd name="T16" fmla="*/ 2147483647 w 35"/>
                <a:gd name="T17" fmla="*/ 2147483647 h 43"/>
                <a:gd name="T18" fmla="*/ 2147483647 w 35"/>
                <a:gd name="T19" fmla="*/ 2147483647 h 43"/>
                <a:gd name="T20" fmla="*/ 2147483647 w 35"/>
                <a:gd name="T21" fmla="*/ 2147483647 h 43"/>
                <a:gd name="T22" fmla="*/ 2147483647 w 35"/>
                <a:gd name="T23" fmla="*/ 2147483647 h 43"/>
                <a:gd name="T24" fmla="*/ 2147483647 w 35"/>
                <a:gd name="T25" fmla="*/ 2147483647 h 43"/>
                <a:gd name="T26" fmla="*/ 2147483647 w 35"/>
                <a:gd name="T27" fmla="*/ 2147483647 h 43"/>
                <a:gd name="T28" fmla="*/ 2147483647 w 35"/>
                <a:gd name="T29" fmla="*/ 2147483647 h 43"/>
                <a:gd name="T30" fmla="*/ 2147483647 w 35"/>
                <a:gd name="T31" fmla="*/ 2147483647 h 43"/>
                <a:gd name="T32" fmla="*/ 2147483647 w 35"/>
                <a:gd name="T33" fmla="*/ 2147483647 h 43"/>
                <a:gd name="T34" fmla="*/ 2147483647 w 35"/>
                <a:gd name="T35" fmla="*/ 2147483647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5"/>
                <a:gd name="T55" fmla="*/ 0 h 43"/>
                <a:gd name="T56" fmla="*/ 35 w 35"/>
                <a:gd name="T57" fmla="*/ 43 h 4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32" name="Freeform 210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2379663" y="5260975"/>
              <a:ext cx="20637" cy="55563"/>
            </a:xfrm>
            <a:custGeom>
              <a:avLst/>
              <a:gdLst>
                <a:gd name="T0" fmla="*/ 2147483647 w 53"/>
                <a:gd name="T1" fmla="*/ 0 h 21"/>
                <a:gd name="T2" fmla="*/ 2147483647 w 53"/>
                <a:gd name="T3" fmla="*/ 2147483647 h 21"/>
                <a:gd name="T4" fmla="*/ 2147483647 w 53"/>
                <a:gd name="T5" fmla="*/ 2147483647 h 21"/>
                <a:gd name="T6" fmla="*/ 2147483647 w 53"/>
                <a:gd name="T7" fmla="*/ 2147483647 h 21"/>
                <a:gd name="T8" fmla="*/ 2147483647 w 53"/>
                <a:gd name="T9" fmla="*/ 2147483647 h 21"/>
                <a:gd name="T10" fmla="*/ 2147483647 w 53"/>
                <a:gd name="T11" fmla="*/ 2147483647 h 21"/>
                <a:gd name="T12" fmla="*/ 2147483647 w 53"/>
                <a:gd name="T13" fmla="*/ 2147483647 h 21"/>
                <a:gd name="T14" fmla="*/ 2147483647 w 53"/>
                <a:gd name="T15" fmla="*/ 2147483647 h 21"/>
                <a:gd name="T16" fmla="*/ 0 w 53"/>
                <a:gd name="T17" fmla="*/ 2147483647 h 21"/>
                <a:gd name="T18" fmla="*/ 2147483647 w 53"/>
                <a:gd name="T19" fmla="*/ 2147483647 h 21"/>
                <a:gd name="T20" fmla="*/ 2147483647 w 53"/>
                <a:gd name="T21" fmla="*/ 2147483647 h 21"/>
                <a:gd name="T22" fmla="*/ 2147483647 w 53"/>
                <a:gd name="T23" fmla="*/ 2147483647 h 21"/>
                <a:gd name="T24" fmla="*/ 2147483647 w 53"/>
                <a:gd name="T25" fmla="*/ 2147483647 h 21"/>
                <a:gd name="T26" fmla="*/ 2147483647 w 53"/>
                <a:gd name="T27" fmla="*/ 2147483647 h 21"/>
                <a:gd name="T28" fmla="*/ 2147483647 w 53"/>
                <a:gd name="T29" fmla="*/ 2147483647 h 21"/>
                <a:gd name="T30" fmla="*/ 214748364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3"/>
                <a:gd name="T49" fmla="*/ 0 h 21"/>
                <a:gd name="T50" fmla="*/ 53 w 53"/>
                <a:gd name="T51" fmla="*/ 21 h 2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33" name="Freeform 211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2403475" y="5275263"/>
              <a:ext cx="17463" cy="57150"/>
            </a:xfrm>
            <a:custGeom>
              <a:avLst/>
              <a:gdLst>
                <a:gd name="T0" fmla="*/ 2147483647 w 43"/>
                <a:gd name="T1" fmla="*/ 0 h 38"/>
                <a:gd name="T2" fmla="*/ 2147483647 w 43"/>
                <a:gd name="T3" fmla="*/ 0 h 38"/>
                <a:gd name="T4" fmla="*/ 2147483647 w 43"/>
                <a:gd name="T5" fmla="*/ 0 h 38"/>
                <a:gd name="T6" fmla="*/ 2147483647 w 43"/>
                <a:gd name="T7" fmla="*/ 0 h 38"/>
                <a:gd name="T8" fmla="*/ 0 w 43"/>
                <a:gd name="T9" fmla="*/ 2147483647 h 38"/>
                <a:gd name="T10" fmla="*/ 0 w 43"/>
                <a:gd name="T11" fmla="*/ 2147483647 h 38"/>
                <a:gd name="T12" fmla="*/ 0 w 43"/>
                <a:gd name="T13" fmla="*/ 2147483647 h 38"/>
                <a:gd name="T14" fmla="*/ 2147483647 w 43"/>
                <a:gd name="T15" fmla="*/ 2147483647 h 38"/>
                <a:gd name="T16" fmla="*/ 2147483647 w 43"/>
                <a:gd name="T17" fmla="*/ 2147483647 h 38"/>
                <a:gd name="T18" fmla="*/ 2147483647 w 43"/>
                <a:gd name="T19" fmla="*/ 2147483647 h 38"/>
                <a:gd name="T20" fmla="*/ 2147483647 w 43"/>
                <a:gd name="T21" fmla="*/ 2147483647 h 38"/>
                <a:gd name="T22" fmla="*/ 2147483647 w 43"/>
                <a:gd name="T23" fmla="*/ 2147483647 h 38"/>
                <a:gd name="T24" fmla="*/ 2147483647 w 43"/>
                <a:gd name="T25" fmla="*/ 2147483647 h 38"/>
                <a:gd name="T26" fmla="*/ 2147483647 w 43"/>
                <a:gd name="T27" fmla="*/ 2147483647 h 38"/>
                <a:gd name="T28" fmla="*/ 2147483647 w 43"/>
                <a:gd name="T29" fmla="*/ 2147483647 h 38"/>
                <a:gd name="T30" fmla="*/ 2147483647 w 43"/>
                <a:gd name="T31" fmla="*/ 2147483647 h 38"/>
                <a:gd name="T32" fmla="*/ 2147483647 w 43"/>
                <a:gd name="T33" fmla="*/ 2147483647 h 38"/>
                <a:gd name="T34" fmla="*/ 2147483647 w 43"/>
                <a:gd name="T35" fmla="*/ 2147483647 h 38"/>
                <a:gd name="T36" fmla="*/ 2147483647 w 43"/>
                <a:gd name="T37" fmla="*/ 2147483647 h 38"/>
                <a:gd name="T38" fmla="*/ 2147483647 w 43"/>
                <a:gd name="T39" fmla="*/ 2147483647 h 38"/>
                <a:gd name="T40" fmla="*/ 2147483647 w 43"/>
                <a:gd name="T41" fmla="*/ 2147483647 h 38"/>
                <a:gd name="T42" fmla="*/ 2147483647 w 43"/>
                <a:gd name="T43" fmla="*/ 2147483647 h 38"/>
                <a:gd name="T44" fmla="*/ 2147483647 w 43"/>
                <a:gd name="T45" fmla="*/ 2147483647 h 38"/>
                <a:gd name="T46" fmla="*/ 2147483647 w 43"/>
                <a:gd name="T47" fmla="*/ 2147483647 h 38"/>
                <a:gd name="T48" fmla="*/ 2147483647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3"/>
                <a:gd name="T76" fmla="*/ 0 h 38"/>
                <a:gd name="T77" fmla="*/ 43 w 43"/>
                <a:gd name="T78" fmla="*/ 38 h 3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34" name="Freeform 212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2405063" y="5303838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2147483647 w 20"/>
                <a:gd name="T3" fmla="*/ 2147483647 h 5"/>
                <a:gd name="T4" fmla="*/ 2147483647 w 20"/>
                <a:gd name="T5" fmla="*/ 2147483647 h 5"/>
                <a:gd name="T6" fmla="*/ 2147483647 w 20"/>
                <a:gd name="T7" fmla="*/ 2147483647 h 5"/>
                <a:gd name="T8" fmla="*/ 2147483647 w 20"/>
                <a:gd name="T9" fmla="*/ 2147483647 h 5"/>
                <a:gd name="T10" fmla="*/ 2147483647 w 20"/>
                <a:gd name="T11" fmla="*/ 2147483647 h 5"/>
                <a:gd name="T12" fmla="*/ 2147483647 w 20"/>
                <a:gd name="T13" fmla="*/ 2147483647 h 5"/>
                <a:gd name="T14" fmla="*/ 2147483647 w 20"/>
                <a:gd name="T15" fmla="*/ 2147483647 h 5"/>
                <a:gd name="T16" fmla="*/ 2147483647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5"/>
                <a:gd name="T32" fmla="*/ 20 w 20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35" name="Freeform 213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2479675" y="5373688"/>
              <a:ext cx="34925" cy="57150"/>
            </a:xfrm>
            <a:custGeom>
              <a:avLst/>
              <a:gdLst>
                <a:gd name="T0" fmla="*/ 2147483647 w 73"/>
                <a:gd name="T1" fmla="*/ 0 h 22"/>
                <a:gd name="T2" fmla="*/ 2147483647 w 73"/>
                <a:gd name="T3" fmla="*/ 2147483647 h 22"/>
                <a:gd name="T4" fmla="*/ 2147483647 w 73"/>
                <a:gd name="T5" fmla="*/ 2147483647 h 22"/>
                <a:gd name="T6" fmla="*/ 2147483647 w 73"/>
                <a:gd name="T7" fmla="*/ 2147483647 h 22"/>
                <a:gd name="T8" fmla="*/ 2147483647 w 73"/>
                <a:gd name="T9" fmla="*/ 2147483647 h 22"/>
                <a:gd name="T10" fmla="*/ 2147483647 w 73"/>
                <a:gd name="T11" fmla="*/ 2147483647 h 22"/>
                <a:gd name="T12" fmla="*/ 0 w 73"/>
                <a:gd name="T13" fmla="*/ 2147483647 h 22"/>
                <a:gd name="T14" fmla="*/ 2147483647 w 73"/>
                <a:gd name="T15" fmla="*/ 2147483647 h 22"/>
                <a:gd name="T16" fmla="*/ 2147483647 w 73"/>
                <a:gd name="T17" fmla="*/ 2147483647 h 22"/>
                <a:gd name="T18" fmla="*/ 2147483647 w 73"/>
                <a:gd name="T19" fmla="*/ 2147483647 h 22"/>
                <a:gd name="T20" fmla="*/ 2147483647 w 73"/>
                <a:gd name="T21" fmla="*/ 2147483647 h 22"/>
                <a:gd name="T22" fmla="*/ 2147483647 w 73"/>
                <a:gd name="T23" fmla="*/ 2147483647 h 22"/>
                <a:gd name="T24" fmla="*/ 2147483647 w 73"/>
                <a:gd name="T25" fmla="*/ 2147483647 h 22"/>
                <a:gd name="T26" fmla="*/ 2147483647 w 73"/>
                <a:gd name="T27" fmla="*/ 2147483647 h 22"/>
                <a:gd name="T28" fmla="*/ 2147483647 w 73"/>
                <a:gd name="T29" fmla="*/ 2147483647 h 22"/>
                <a:gd name="T30" fmla="*/ 2147483647 w 73"/>
                <a:gd name="T31" fmla="*/ 2147483647 h 22"/>
                <a:gd name="T32" fmla="*/ 2147483647 w 73"/>
                <a:gd name="T33" fmla="*/ 2147483647 h 22"/>
                <a:gd name="T34" fmla="*/ 2147483647 w 73"/>
                <a:gd name="T35" fmla="*/ 2147483647 h 22"/>
                <a:gd name="T36" fmla="*/ 214748364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73"/>
                <a:gd name="T58" fmla="*/ 0 h 22"/>
                <a:gd name="T59" fmla="*/ 73 w 73"/>
                <a:gd name="T60" fmla="*/ 22 h 2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36" name="Freeform 214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2517775" y="5314950"/>
              <a:ext cx="123825" cy="100013"/>
            </a:xfrm>
            <a:custGeom>
              <a:avLst/>
              <a:gdLst>
                <a:gd name="T0" fmla="*/ 2147483647 w 281"/>
                <a:gd name="T1" fmla="*/ 2147483647 h 193"/>
                <a:gd name="T2" fmla="*/ 2147483647 w 281"/>
                <a:gd name="T3" fmla="*/ 2147483647 h 193"/>
                <a:gd name="T4" fmla="*/ 2147483647 w 281"/>
                <a:gd name="T5" fmla="*/ 2147483647 h 193"/>
                <a:gd name="T6" fmla="*/ 2147483647 w 281"/>
                <a:gd name="T7" fmla="*/ 2147483647 h 193"/>
                <a:gd name="T8" fmla="*/ 2147483647 w 281"/>
                <a:gd name="T9" fmla="*/ 2147483647 h 193"/>
                <a:gd name="T10" fmla="*/ 2147483647 w 281"/>
                <a:gd name="T11" fmla="*/ 2147483647 h 193"/>
                <a:gd name="T12" fmla="*/ 2147483647 w 281"/>
                <a:gd name="T13" fmla="*/ 2147483647 h 193"/>
                <a:gd name="T14" fmla="*/ 2147483647 w 281"/>
                <a:gd name="T15" fmla="*/ 2147483647 h 193"/>
                <a:gd name="T16" fmla="*/ 2147483647 w 281"/>
                <a:gd name="T17" fmla="*/ 2147483647 h 193"/>
                <a:gd name="T18" fmla="*/ 2147483647 w 281"/>
                <a:gd name="T19" fmla="*/ 0 h 193"/>
                <a:gd name="T20" fmla="*/ 2147483647 w 281"/>
                <a:gd name="T21" fmla="*/ 2147483647 h 193"/>
                <a:gd name="T22" fmla="*/ 2147483647 w 281"/>
                <a:gd name="T23" fmla="*/ 2147483647 h 193"/>
                <a:gd name="T24" fmla="*/ 2147483647 w 281"/>
                <a:gd name="T25" fmla="*/ 2147483647 h 193"/>
                <a:gd name="T26" fmla="*/ 0 w 281"/>
                <a:gd name="T27" fmla="*/ 2147483647 h 193"/>
                <a:gd name="T28" fmla="*/ 2147483647 w 281"/>
                <a:gd name="T29" fmla="*/ 2147483647 h 193"/>
                <a:gd name="T30" fmla="*/ 2147483647 w 281"/>
                <a:gd name="T31" fmla="*/ 2147483647 h 193"/>
                <a:gd name="T32" fmla="*/ 2147483647 w 281"/>
                <a:gd name="T33" fmla="*/ 2147483647 h 193"/>
                <a:gd name="T34" fmla="*/ 2147483647 w 281"/>
                <a:gd name="T35" fmla="*/ 2147483647 h 193"/>
                <a:gd name="T36" fmla="*/ 2147483647 w 281"/>
                <a:gd name="T37" fmla="*/ 2147483647 h 193"/>
                <a:gd name="T38" fmla="*/ 2147483647 w 281"/>
                <a:gd name="T39" fmla="*/ 2147483647 h 193"/>
                <a:gd name="T40" fmla="*/ 2147483647 w 281"/>
                <a:gd name="T41" fmla="*/ 2147483647 h 193"/>
                <a:gd name="T42" fmla="*/ 2147483647 w 281"/>
                <a:gd name="T43" fmla="*/ 2147483647 h 193"/>
                <a:gd name="T44" fmla="*/ 2147483647 w 281"/>
                <a:gd name="T45" fmla="*/ 2147483647 h 193"/>
                <a:gd name="T46" fmla="*/ 2147483647 w 281"/>
                <a:gd name="T47" fmla="*/ 2147483647 h 193"/>
                <a:gd name="T48" fmla="*/ 2147483647 w 281"/>
                <a:gd name="T49" fmla="*/ 2147483647 h 193"/>
                <a:gd name="T50" fmla="*/ 2147483647 w 281"/>
                <a:gd name="T51" fmla="*/ 2147483647 h 193"/>
                <a:gd name="T52" fmla="*/ 2147483647 w 281"/>
                <a:gd name="T53" fmla="*/ 2147483647 h 193"/>
                <a:gd name="T54" fmla="*/ 2147483647 w 281"/>
                <a:gd name="T55" fmla="*/ 2147483647 h 193"/>
                <a:gd name="T56" fmla="*/ 2147483647 w 281"/>
                <a:gd name="T57" fmla="*/ 2147483647 h 193"/>
                <a:gd name="T58" fmla="*/ 2147483647 w 281"/>
                <a:gd name="T59" fmla="*/ 2147483647 h 193"/>
                <a:gd name="T60" fmla="*/ 2147483647 w 281"/>
                <a:gd name="T61" fmla="*/ 2147483647 h 193"/>
                <a:gd name="T62" fmla="*/ 2147483647 w 281"/>
                <a:gd name="T63" fmla="*/ 2147483647 h 193"/>
                <a:gd name="T64" fmla="*/ 2147483647 w 281"/>
                <a:gd name="T65" fmla="*/ 2147483647 h 193"/>
                <a:gd name="T66" fmla="*/ 2147483647 w 281"/>
                <a:gd name="T67" fmla="*/ 2147483647 h 193"/>
                <a:gd name="T68" fmla="*/ 2147483647 w 281"/>
                <a:gd name="T69" fmla="*/ 2147483647 h 193"/>
                <a:gd name="T70" fmla="*/ 2147483647 w 281"/>
                <a:gd name="T71" fmla="*/ 2147483647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81"/>
                <a:gd name="T109" fmla="*/ 0 h 193"/>
                <a:gd name="T110" fmla="*/ 281 w 281"/>
                <a:gd name="T111" fmla="*/ 193 h 19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37" name="Freeform 215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2070100" y="3081338"/>
              <a:ext cx="52388" cy="58737"/>
            </a:xfrm>
            <a:custGeom>
              <a:avLst/>
              <a:gdLst>
                <a:gd name="T0" fmla="*/ 0 w 120"/>
                <a:gd name="T1" fmla="*/ 2147483647 h 56"/>
                <a:gd name="T2" fmla="*/ 2147483647 w 120"/>
                <a:gd name="T3" fmla="*/ 2147483647 h 56"/>
                <a:gd name="T4" fmla="*/ 2147483647 w 120"/>
                <a:gd name="T5" fmla="*/ 2147483647 h 56"/>
                <a:gd name="T6" fmla="*/ 2147483647 w 120"/>
                <a:gd name="T7" fmla="*/ 2147483647 h 56"/>
                <a:gd name="T8" fmla="*/ 2147483647 w 120"/>
                <a:gd name="T9" fmla="*/ 2147483647 h 56"/>
                <a:gd name="T10" fmla="*/ 2147483647 w 120"/>
                <a:gd name="T11" fmla="*/ 2147483647 h 56"/>
                <a:gd name="T12" fmla="*/ 2147483647 w 120"/>
                <a:gd name="T13" fmla="*/ 2147483647 h 56"/>
                <a:gd name="T14" fmla="*/ 2147483647 w 120"/>
                <a:gd name="T15" fmla="*/ 2147483647 h 56"/>
                <a:gd name="T16" fmla="*/ 2147483647 w 120"/>
                <a:gd name="T17" fmla="*/ 2147483647 h 56"/>
                <a:gd name="T18" fmla="*/ 2147483647 w 120"/>
                <a:gd name="T19" fmla="*/ 2147483647 h 56"/>
                <a:gd name="T20" fmla="*/ 2147483647 w 120"/>
                <a:gd name="T21" fmla="*/ 2147483647 h 56"/>
                <a:gd name="T22" fmla="*/ 2147483647 w 120"/>
                <a:gd name="T23" fmla="*/ 2147483647 h 56"/>
                <a:gd name="T24" fmla="*/ 2147483647 w 120"/>
                <a:gd name="T25" fmla="*/ 2147483647 h 56"/>
                <a:gd name="T26" fmla="*/ 2147483647 w 120"/>
                <a:gd name="T27" fmla="*/ 2147483647 h 56"/>
                <a:gd name="T28" fmla="*/ 2147483647 w 120"/>
                <a:gd name="T29" fmla="*/ 2147483647 h 56"/>
                <a:gd name="T30" fmla="*/ 2147483647 w 120"/>
                <a:gd name="T31" fmla="*/ 2147483647 h 56"/>
                <a:gd name="T32" fmla="*/ 2147483647 w 120"/>
                <a:gd name="T33" fmla="*/ 2147483647 h 56"/>
                <a:gd name="T34" fmla="*/ 2147483647 w 120"/>
                <a:gd name="T35" fmla="*/ 2147483647 h 56"/>
                <a:gd name="T36" fmla="*/ 2147483647 w 120"/>
                <a:gd name="T37" fmla="*/ 2147483647 h 56"/>
                <a:gd name="T38" fmla="*/ 2147483647 w 120"/>
                <a:gd name="T39" fmla="*/ 2147483647 h 56"/>
                <a:gd name="T40" fmla="*/ 2147483647 w 120"/>
                <a:gd name="T41" fmla="*/ 2147483647 h 56"/>
                <a:gd name="T42" fmla="*/ 2147483647 w 120"/>
                <a:gd name="T43" fmla="*/ 0 h 56"/>
                <a:gd name="T44" fmla="*/ 2147483647 w 120"/>
                <a:gd name="T45" fmla="*/ 2147483647 h 56"/>
                <a:gd name="T46" fmla="*/ 2147483647 w 120"/>
                <a:gd name="T47" fmla="*/ 2147483647 h 56"/>
                <a:gd name="T48" fmla="*/ 2147483647 w 120"/>
                <a:gd name="T49" fmla="*/ 2147483647 h 56"/>
                <a:gd name="T50" fmla="*/ 2147483647 w 120"/>
                <a:gd name="T51" fmla="*/ 2147483647 h 56"/>
                <a:gd name="T52" fmla="*/ 2147483647 w 120"/>
                <a:gd name="T53" fmla="*/ 2147483647 h 56"/>
                <a:gd name="T54" fmla="*/ 2147483647 w 120"/>
                <a:gd name="T55" fmla="*/ 2147483647 h 56"/>
                <a:gd name="T56" fmla="*/ 2147483647 w 120"/>
                <a:gd name="T57" fmla="*/ 2147483647 h 56"/>
                <a:gd name="T58" fmla="*/ 0 w 120"/>
                <a:gd name="T59" fmla="*/ 2147483647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20"/>
                <a:gd name="T91" fmla="*/ 0 h 56"/>
                <a:gd name="T92" fmla="*/ 120 w 120"/>
                <a:gd name="T93" fmla="*/ 56 h 5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38" name="Freeform 216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1927225" y="2943225"/>
              <a:ext cx="250825" cy="109538"/>
            </a:xfrm>
            <a:custGeom>
              <a:avLst/>
              <a:gdLst>
                <a:gd name="T0" fmla="*/ 2147483647 w 574"/>
                <a:gd name="T1" fmla="*/ 2147483647 h 204"/>
                <a:gd name="T2" fmla="*/ 2147483647 w 574"/>
                <a:gd name="T3" fmla="*/ 2147483647 h 204"/>
                <a:gd name="T4" fmla="*/ 2147483647 w 574"/>
                <a:gd name="T5" fmla="*/ 2147483647 h 204"/>
                <a:gd name="T6" fmla="*/ 2147483647 w 574"/>
                <a:gd name="T7" fmla="*/ 2147483647 h 204"/>
                <a:gd name="T8" fmla="*/ 2147483647 w 574"/>
                <a:gd name="T9" fmla="*/ 2147483647 h 204"/>
                <a:gd name="T10" fmla="*/ 2147483647 w 574"/>
                <a:gd name="T11" fmla="*/ 2147483647 h 204"/>
                <a:gd name="T12" fmla="*/ 2147483647 w 574"/>
                <a:gd name="T13" fmla="*/ 2147483647 h 204"/>
                <a:gd name="T14" fmla="*/ 0 w 574"/>
                <a:gd name="T15" fmla="*/ 2147483647 h 204"/>
                <a:gd name="T16" fmla="*/ 2147483647 w 574"/>
                <a:gd name="T17" fmla="*/ 2147483647 h 204"/>
                <a:gd name="T18" fmla="*/ 2147483647 w 574"/>
                <a:gd name="T19" fmla="*/ 2147483647 h 204"/>
                <a:gd name="T20" fmla="*/ 2147483647 w 574"/>
                <a:gd name="T21" fmla="*/ 2147483647 h 204"/>
                <a:gd name="T22" fmla="*/ 2147483647 w 574"/>
                <a:gd name="T23" fmla="*/ 2147483647 h 204"/>
                <a:gd name="T24" fmla="*/ 2147483647 w 574"/>
                <a:gd name="T25" fmla="*/ 2147483647 h 204"/>
                <a:gd name="T26" fmla="*/ 2147483647 w 574"/>
                <a:gd name="T27" fmla="*/ 2147483647 h 204"/>
                <a:gd name="T28" fmla="*/ 2147483647 w 574"/>
                <a:gd name="T29" fmla="*/ 2147483647 h 204"/>
                <a:gd name="T30" fmla="*/ 2147483647 w 574"/>
                <a:gd name="T31" fmla="*/ 2147483647 h 204"/>
                <a:gd name="T32" fmla="*/ 2147483647 w 574"/>
                <a:gd name="T33" fmla="*/ 2147483647 h 204"/>
                <a:gd name="T34" fmla="*/ 2147483647 w 574"/>
                <a:gd name="T35" fmla="*/ 2147483647 h 204"/>
                <a:gd name="T36" fmla="*/ 2147483647 w 574"/>
                <a:gd name="T37" fmla="*/ 2147483647 h 204"/>
                <a:gd name="T38" fmla="*/ 2147483647 w 574"/>
                <a:gd name="T39" fmla="*/ 2147483647 h 204"/>
                <a:gd name="T40" fmla="*/ 2147483647 w 574"/>
                <a:gd name="T41" fmla="*/ 2147483647 h 204"/>
                <a:gd name="T42" fmla="*/ 2147483647 w 574"/>
                <a:gd name="T43" fmla="*/ 2147483647 h 204"/>
                <a:gd name="T44" fmla="*/ 2147483647 w 574"/>
                <a:gd name="T45" fmla="*/ 2147483647 h 204"/>
                <a:gd name="T46" fmla="*/ 2147483647 w 574"/>
                <a:gd name="T47" fmla="*/ 2147483647 h 204"/>
                <a:gd name="T48" fmla="*/ 2147483647 w 574"/>
                <a:gd name="T49" fmla="*/ 2147483647 h 204"/>
                <a:gd name="T50" fmla="*/ 2147483647 w 574"/>
                <a:gd name="T51" fmla="*/ 2147483647 h 204"/>
                <a:gd name="T52" fmla="*/ 2147483647 w 574"/>
                <a:gd name="T53" fmla="*/ 2147483647 h 204"/>
                <a:gd name="T54" fmla="*/ 2147483647 w 574"/>
                <a:gd name="T55" fmla="*/ 2147483647 h 204"/>
                <a:gd name="T56" fmla="*/ 2147483647 w 574"/>
                <a:gd name="T57" fmla="*/ 2147483647 h 204"/>
                <a:gd name="T58" fmla="*/ 2147483647 w 574"/>
                <a:gd name="T59" fmla="*/ 2147483647 h 204"/>
                <a:gd name="T60" fmla="*/ 2147483647 w 574"/>
                <a:gd name="T61" fmla="*/ 2147483647 h 204"/>
                <a:gd name="T62" fmla="*/ 2147483647 w 574"/>
                <a:gd name="T63" fmla="*/ 2147483647 h 204"/>
                <a:gd name="T64" fmla="*/ 2147483647 w 574"/>
                <a:gd name="T65" fmla="*/ 2147483647 h 204"/>
                <a:gd name="T66" fmla="*/ 2147483647 w 574"/>
                <a:gd name="T67" fmla="*/ 2147483647 h 204"/>
                <a:gd name="T68" fmla="*/ 2147483647 w 574"/>
                <a:gd name="T69" fmla="*/ 2147483647 h 204"/>
                <a:gd name="T70" fmla="*/ 2147483647 w 574"/>
                <a:gd name="T71" fmla="*/ 2147483647 h 204"/>
                <a:gd name="T72" fmla="*/ 2147483647 w 574"/>
                <a:gd name="T73" fmla="*/ 2147483647 h 204"/>
                <a:gd name="T74" fmla="*/ 2147483647 w 574"/>
                <a:gd name="T75" fmla="*/ 2147483647 h 204"/>
                <a:gd name="T76" fmla="*/ 2147483647 w 574"/>
                <a:gd name="T77" fmla="*/ 2147483647 h 204"/>
                <a:gd name="T78" fmla="*/ 2147483647 w 574"/>
                <a:gd name="T79" fmla="*/ 2147483647 h 204"/>
                <a:gd name="T80" fmla="*/ 2147483647 w 574"/>
                <a:gd name="T81" fmla="*/ 2147483647 h 204"/>
                <a:gd name="T82" fmla="*/ 2147483647 w 574"/>
                <a:gd name="T83" fmla="*/ 2147483647 h 204"/>
                <a:gd name="T84" fmla="*/ 2147483647 w 574"/>
                <a:gd name="T85" fmla="*/ 2147483647 h 204"/>
                <a:gd name="T86" fmla="*/ 2147483647 w 574"/>
                <a:gd name="T87" fmla="*/ 2147483647 h 204"/>
                <a:gd name="T88" fmla="*/ 2147483647 w 574"/>
                <a:gd name="T89" fmla="*/ 2147483647 h 204"/>
                <a:gd name="T90" fmla="*/ 2147483647 w 574"/>
                <a:gd name="T91" fmla="*/ 2147483647 h 204"/>
                <a:gd name="T92" fmla="*/ 2147483647 w 574"/>
                <a:gd name="T93" fmla="*/ 2147483647 h 204"/>
                <a:gd name="T94" fmla="*/ 2147483647 w 574"/>
                <a:gd name="T95" fmla="*/ 2147483647 h 204"/>
                <a:gd name="T96" fmla="*/ 2147483647 w 574"/>
                <a:gd name="T97" fmla="*/ 2147483647 h 204"/>
                <a:gd name="T98" fmla="*/ 2147483647 w 574"/>
                <a:gd name="T99" fmla="*/ 2147483647 h 204"/>
                <a:gd name="T100" fmla="*/ 2147483647 w 574"/>
                <a:gd name="T101" fmla="*/ 2147483647 h 204"/>
                <a:gd name="T102" fmla="*/ 2147483647 w 574"/>
                <a:gd name="T103" fmla="*/ 2147483647 h 204"/>
                <a:gd name="T104" fmla="*/ 2147483647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74"/>
                <a:gd name="T160" fmla="*/ 0 h 204"/>
                <a:gd name="T161" fmla="*/ 574 w 574"/>
                <a:gd name="T162" fmla="*/ 204 h 20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39" name="Freeform 217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2232025" y="3046413"/>
              <a:ext cx="88900" cy="69850"/>
            </a:xfrm>
            <a:custGeom>
              <a:avLst/>
              <a:gdLst>
                <a:gd name="T0" fmla="*/ 2147483647 w 207"/>
                <a:gd name="T1" fmla="*/ 2147483647 h 129"/>
                <a:gd name="T2" fmla="*/ 2147483647 w 207"/>
                <a:gd name="T3" fmla="*/ 2147483647 h 129"/>
                <a:gd name="T4" fmla="*/ 2147483647 w 207"/>
                <a:gd name="T5" fmla="*/ 2147483647 h 129"/>
                <a:gd name="T6" fmla="*/ 2147483647 w 207"/>
                <a:gd name="T7" fmla="*/ 2147483647 h 129"/>
                <a:gd name="T8" fmla="*/ 2147483647 w 207"/>
                <a:gd name="T9" fmla="*/ 2147483647 h 129"/>
                <a:gd name="T10" fmla="*/ 2147483647 w 207"/>
                <a:gd name="T11" fmla="*/ 2147483647 h 129"/>
                <a:gd name="T12" fmla="*/ 2147483647 w 207"/>
                <a:gd name="T13" fmla="*/ 2147483647 h 129"/>
                <a:gd name="T14" fmla="*/ 2147483647 w 207"/>
                <a:gd name="T15" fmla="*/ 2147483647 h 129"/>
                <a:gd name="T16" fmla="*/ 2147483647 w 207"/>
                <a:gd name="T17" fmla="*/ 2147483647 h 129"/>
                <a:gd name="T18" fmla="*/ 2147483647 w 207"/>
                <a:gd name="T19" fmla="*/ 2147483647 h 129"/>
                <a:gd name="T20" fmla="*/ 2147483647 w 207"/>
                <a:gd name="T21" fmla="*/ 2147483647 h 129"/>
                <a:gd name="T22" fmla="*/ 2147483647 w 207"/>
                <a:gd name="T23" fmla="*/ 2147483647 h 129"/>
                <a:gd name="T24" fmla="*/ 2147483647 w 207"/>
                <a:gd name="T25" fmla="*/ 2147483647 h 129"/>
                <a:gd name="T26" fmla="*/ 2147483647 w 207"/>
                <a:gd name="T27" fmla="*/ 2147483647 h 129"/>
                <a:gd name="T28" fmla="*/ 2147483647 w 207"/>
                <a:gd name="T29" fmla="*/ 2147483647 h 129"/>
                <a:gd name="T30" fmla="*/ 2147483647 w 207"/>
                <a:gd name="T31" fmla="*/ 2147483647 h 129"/>
                <a:gd name="T32" fmla="*/ 2147483647 w 207"/>
                <a:gd name="T33" fmla="*/ 2147483647 h 129"/>
                <a:gd name="T34" fmla="*/ 2147483647 w 207"/>
                <a:gd name="T35" fmla="*/ 2147483647 h 129"/>
                <a:gd name="T36" fmla="*/ 2147483647 w 207"/>
                <a:gd name="T37" fmla="*/ 2147483647 h 129"/>
                <a:gd name="T38" fmla="*/ 2147483647 w 207"/>
                <a:gd name="T39" fmla="*/ 2147483647 h 129"/>
                <a:gd name="T40" fmla="*/ 2147483647 w 207"/>
                <a:gd name="T41" fmla="*/ 2147483647 h 129"/>
                <a:gd name="T42" fmla="*/ 2147483647 w 207"/>
                <a:gd name="T43" fmla="*/ 2147483647 h 129"/>
                <a:gd name="T44" fmla="*/ 2147483647 w 207"/>
                <a:gd name="T45" fmla="*/ 0 h 129"/>
                <a:gd name="T46" fmla="*/ 0 w 207"/>
                <a:gd name="T47" fmla="*/ 0 h 129"/>
                <a:gd name="T48" fmla="*/ 2147483647 w 207"/>
                <a:gd name="T49" fmla="*/ 2147483647 h 129"/>
                <a:gd name="T50" fmla="*/ 2147483647 w 207"/>
                <a:gd name="T51" fmla="*/ 2147483647 h 129"/>
                <a:gd name="T52" fmla="*/ 2147483647 w 207"/>
                <a:gd name="T53" fmla="*/ 2147483647 h 129"/>
                <a:gd name="T54" fmla="*/ 2147483647 w 207"/>
                <a:gd name="T55" fmla="*/ 2147483647 h 129"/>
                <a:gd name="T56" fmla="*/ 2147483647 w 207"/>
                <a:gd name="T57" fmla="*/ 2147483647 h 129"/>
                <a:gd name="T58" fmla="*/ 2147483647 w 207"/>
                <a:gd name="T59" fmla="*/ 2147483647 h 129"/>
                <a:gd name="T60" fmla="*/ 2147483647 w 207"/>
                <a:gd name="T61" fmla="*/ 2147483647 h 129"/>
                <a:gd name="T62" fmla="*/ 2147483647 w 207"/>
                <a:gd name="T63" fmla="*/ 2147483647 h 129"/>
                <a:gd name="T64" fmla="*/ 2147483647 w 207"/>
                <a:gd name="T65" fmla="*/ 2147483647 h 129"/>
                <a:gd name="T66" fmla="*/ 2147483647 w 207"/>
                <a:gd name="T67" fmla="*/ 2147483647 h 129"/>
                <a:gd name="T68" fmla="*/ 2147483647 w 207"/>
                <a:gd name="T69" fmla="*/ 2147483647 h 129"/>
                <a:gd name="T70" fmla="*/ 2147483647 w 207"/>
                <a:gd name="T71" fmla="*/ 2147483647 h 129"/>
                <a:gd name="T72" fmla="*/ 0 w 207"/>
                <a:gd name="T73" fmla="*/ 2147483647 h 129"/>
                <a:gd name="T74" fmla="*/ 2147483647 w 207"/>
                <a:gd name="T75" fmla="*/ 2147483647 h 129"/>
                <a:gd name="T76" fmla="*/ 2147483647 w 207"/>
                <a:gd name="T77" fmla="*/ 2147483647 h 129"/>
                <a:gd name="T78" fmla="*/ 2147483647 w 207"/>
                <a:gd name="T79" fmla="*/ 2147483647 h 129"/>
                <a:gd name="T80" fmla="*/ 2147483647 w 207"/>
                <a:gd name="T81" fmla="*/ 2147483647 h 129"/>
                <a:gd name="T82" fmla="*/ 2147483647 w 207"/>
                <a:gd name="T83" fmla="*/ 2147483647 h 129"/>
                <a:gd name="T84" fmla="*/ 2147483647 w 207"/>
                <a:gd name="T85" fmla="*/ 2147483647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07"/>
                <a:gd name="T130" fmla="*/ 0 h 129"/>
                <a:gd name="T131" fmla="*/ 207 w 207"/>
                <a:gd name="T132" fmla="*/ 129 h 12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40" name="Freeform 218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1800225" y="3106738"/>
              <a:ext cx="33338" cy="84137"/>
            </a:xfrm>
            <a:custGeom>
              <a:avLst/>
              <a:gdLst>
                <a:gd name="T0" fmla="*/ 2147483647 w 72"/>
                <a:gd name="T1" fmla="*/ 0 h 154"/>
                <a:gd name="T2" fmla="*/ 2147483647 w 72"/>
                <a:gd name="T3" fmla="*/ 2147483647 h 154"/>
                <a:gd name="T4" fmla="*/ 2147483647 w 72"/>
                <a:gd name="T5" fmla="*/ 2147483647 h 154"/>
                <a:gd name="T6" fmla="*/ 2147483647 w 72"/>
                <a:gd name="T7" fmla="*/ 2147483647 h 154"/>
                <a:gd name="T8" fmla="*/ 2147483647 w 72"/>
                <a:gd name="T9" fmla="*/ 2147483647 h 154"/>
                <a:gd name="T10" fmla="*/ 2147483647 w 72"/>
                <a:gd name="T11" fmla="*/ 2147483647 h 154"/>
                <a:gd name="T12" fmla="*/ 2147483647 w 72"/>
                <a:gd name="T13" fmla="*/ 2147483647 h 154"/>
                <a:gd name="T14" fmla="*/ 2147483647 w 72"/>
                <a:gd name="T15" fmla="*/ 2147483647 h 154"/>
                <a:gd name="T16" fmla="*/ 2147483647 w 72"/>
                <a:gd name="T17" fmla="*/ 2147483647 h 154"/>
                <a:gd name="T18" fmla="*/ 2147483647 w 72"/>
                <a:gd name="T19" fmla="*/ 2147483647 h 154"/>
                <a:gd name="T20" fmla="*/ 2147483647 w 72"/>
                <a:gd name="T21" fmla="*/ 2147483647 h 154"/>
                <a:gd name="T22" fmla="*/ 2147483647 w 72"/>
                <a:gd name="T23" fmla="*/ 2147483647 h 154"/>
                <a:gd name="T24" fmla="*/ 2147483647 w 72"/>
                <a:gd name="T25" fmla="*/ 2147483647 h 154"/>
                <a:gd name="T26" fmla="*/ 2147483647 w 72"/>
                <a:gd name="T27" fmla="*/ 2147483647 h 154"/>
                <a:gd name="T28" fmla="*/ 2147483647 w 72"/>
                <a:gd name="T29" fmla="*/ 2147483647 h 154"/>
                <a:gd name="T30" fmla="*/ 2147483647 w 72"/>
                <a:gd name="T31" fmla="*/ 2147483647 h 154"/>
                <a:gd name="T32" fmla="*/ 2147483647 w 72"/>
                <a:gd name="T33" fmla="*/ 2147483647 h 154"/>
                <a:gd name="T34" fmla="*/ 2147483647 w 72"/>
                <a:gd name="T35" fmla="*/ 2147483647 h 154"/>
                <a:gd name="T36" fmla="*/ 2147483647 w 72"/>
                <a:gd name="T37" fmla="*/ 2147483647 h 154"/>
                <a:gd name="T38" fmla="*/ 2147483647 w 72"/>
                <a:gd name="T39" fmla="*/ 2147483647 h 154"/>
                <a:gd name="T40" fmla="*/ 2147483647 w 72"/>
                <a:gd name="T41" fmla="*/ 2147483647 h 154"/>
                <a:gd name="T42" fmla="*/ 0 w 72"/>
                <a:gd name="T43" fmla="*/ 2147483647 h 154"/>
                <a:gd name="T44" fmla="*/ 2147483647 w 72"/>
                <a:gd name="T45" fmla="*/ 2147483647 h 154"/>
                <a:gd name="T46" fmla="*/ 2147483647 w 72"/>
                <a:gd name="T47" fmla="*/ 2147483647 h 154"/>
                <a:gd name="T48" fmla="*/ 2147483647 w 72"/>
                <a:gd name="T49" fmla="*/ 2147483647 h 154"/>
                <a:gd name="T50" fmla="*/ 2147483647 w 72"/>
                <a:gd name="T51" fmla="*/ 2147483647 h 154"/>
                <a:gd name="T52" fmla="*/ 2147483647 w 72"/>
                <a:gd name="T53" fmla="*/ 2147483647 h 154"/>
                <a:gd name="T54" fmla="*/ 2147483647 w 72"/>
                <a:gd name="T55" fmla="*/ 2147483647 h 154"/>
                <a:gd name="T56" fmla="*/ 2147483647 w 72"/>
                <a:gd name="T57" fmla="*/ 0 h 154"/>
                <a:gd name="T58" fmla="*/ 2147483647 w 72"/>
                <a:gd name="T59" fmla="*/ 0 h 154"/>
                <a:gd name="T60" fmla="*/ 2147483647 w 72"/>
                <a:gd name="T61" fmla="*/ 0 h 154"/>
                <a:gd name="T62" fmla="*/ 2147483647 w 72"/>
                <a:gd name="T63" fmla="*/ 0 h 154"/>
                <a:gd name="T64" fmla="*/ 2147483647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72"/>
                <a:gd name="T100" fmla="*/ 0 h 154"/>
                <a:gd name="T101" fmla="*/ 72 w 72"/>
                <a:gd name="T102" fmla="*/ 154 h 15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41" name="Freeform 219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1720850" y="3106738"/>
              <a:ext cx="93663" cy="146050"/>
            </a:xfrm>
            <a:custGeom>
              <a:avLst/>
              <a:gdLst>
                <a:gd name="T0" fmla="*/ 2147483647 w 214"/>
                <a:gd name="T1" fmla="*/ 2147483647 h 271"/>
                <a:gd name="T2" fmla="*/ 2147483647 w 214"/>
                <a:gd name="T3" fmla="*/ 2147483647 h 271"/>
                <a:gd name="T4" fmla="*/ 2147483647 w 214"/>
                <a:gd name="T5" fmla="*/ 2147483647 h 271"/>
                <a:gd name="T6" fmla="*/ 2147483647 w 214"/>
                <a:gd name="T7" fmla="*/ 2147483647 h 271"/>
                <a:gd name="T8" fmla="*/ 2147483647 w 214"/>
                <a:gd name="T9" fmla="*/ 2147483647 h 271"/>
                <a:gd name="T10" fmla="*/ 2147483647 w 214"/>
                <a:gd name="T11" fmla="*/ 2147483647 h 271"/>
                <a:gd name="T12" fmla="*/ 2147483647 w 214"/>
                <a:gd name="T13" fmla="*/ 2147483647 h 271"/>
                <a:gd name="T14" fmla="*/ 2147483647 w 214"/>
                <a:gd name="T15" fmla="*/ 2147483647 h 271"/>
                <a:gd name="T16" fmla="*/ 2147483647 w 214"/>
                <a:gd name="T17" fmla="*/ 2147483647 h 271"/>
                <a:gd name="T18" fmla="*/ 2147483647 w 214"/>
                <a:gd name="T19" fmla="*/ 2147483647 h 271"/>
                <a:gd name="T20" fmla="*/ 2147483647 w 214"/>
                <a:gd name="T21" fmla="*/ 2147483647 h 271"/>
                <a:gd name="T22" fmla="*/ 2147483647 w 214"/>
                <a:gd name="T23" fmla="*/ 2147483647 h 271"/>
                <a:gd name="T24" fmla="*/ 2147483647 w 214"/>
                <a:gd name="T25" fmla="*/ 2147483647 h 271"/>
                <a:gd name="T26" fmla="*/ 2147483647 w 214"/>
                <a:gd name="T27" fmla="*/ 2147483647 h 271"/>
                <a:gd name="T28" fmla="*/ 2147483647 w 214"/>
                <a:gd name="T29" fmla="*/ 2147483647 h 271"/>
                <a:gd name="T30" fmla="*/ 2147483647 w 214"/>
                <a:gd name="T31" fmla="*/ 2147483647 h 271"/>
                <a:gd name="T32" fmla="*/ 2147483647 w 214"/>
                <a:gd name="T33" fmla="*/ 2147483647 h 271"/>
                <a:gd name="T34" fmla="*/ 2147483647 w 214"/>
                <a:gd name="T35" fmla="*/ 2147483647 h 271"/>
                <a:gd name="T36" fmla="*/ 2147483647 w 214"/>
                <a:gd name="T37" fmla="*/ 0 h 271"/>
                <a:gd name="T38" fmla="*/ 2147483647 w 214"/>
                <a:gd name="T39" fmla="*/ 0 h 271"/>
                <a:gd name="T40" fmla="*/ 2147483647 w 214"/>
                <a:gd name="T41" fmla="*/ 2147483647 h 271"/>
                <a:gd name="T42" fmla="*/ 2147483647 w 214"/>
                <a:gd name="T43" fmla="*/ 2147483647 h 271"/>
                <a:gd name="T44" fmla="*/ 2147483647 w 214"/>
                <a:gd name="T45" fmla="*/ 2147483647 h 271"/>
                <a:gd name="T46" fmla="*/ 2147483647 w 214"/>
                <a:gd name="T47" fmla="*/ 2147483647 h 271"/>
                <a:gd name="T48" fmla="*/ 2147483647 w 214"/>
                <a:gd name="T49" fmla="*/ 2147483647 h 271"/>
                <a:gd name="T50" fmla="*/ 2147483647 w 214"/>
                <a:gd name="T51" fmla="*/ 2147483647 h 271"/>
                <a:gd name="T52" fmla="*/ 2147483647 w 214"/>
                <a:gd name="T53" fmla="*/ 2147483647 h 271"/>
                <a:gd name="T54" fmla="*/ 2147483647 w 214"/>
                <a:gd name="T55" fmla="*/ 2147483647 h 271"/>
                <a:gd name="T56" fmla="*/ 2147483647 w 214"/>
                <a:gd name="T57" fmla="*/ 2147483647 h 271"/>
                <a:gd name="T58" fmla="*/ 2147483647 w 214"/>
                <a:gd name="T59" fmla="*/ 2147483647 h 271"/>
                <a:gd name="T60" fmla="*/ 2147483647 w 214"/>
                <a:gd name="T61" fmla="*/ 2147483647 h 271"/>
                <a:gd name="T62" fmla="*/ 2147483647 w 214"/>
                <a:gd name="T63" fmla="*/ 2147483647 h 271"/>
                <a:gd name="T64" fmla="*/ 2147483647 w 214"/>
                <a:gd name="T65" fmla="*/ 2147483647 h 271"/>
                <a:gd name="T66" fmla="*/ 2147483647 w 214"/>
                <a:gd name="T67" fmla="*/ 2147483647 h 271"/>
                <a:gd name="T68" fmla="*/ 2147483647 w 214"/>
                <a:gd name="T69" fmla="*/ 2147483647 h 271"/>
                <a:gd name="T70" fmla="*/ 0 w 214"/>
                <a:gd name="T71" fmla="*/ 2147483647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14"/>
                <a:gd name="T109" fmla="*/ 0 h 271"/>
                <a:gd name="T110" fmla="*/ 214 w 214"/>
                <a:gd name="T111" fmla="*/ 271 h 27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42" name="Freeform 220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1768475" y="3217863"/>
              <a:ext cx="71438" cy="57150"/>
            </a:xfrm>
            <a:custGeom>
              <a:avLst/>
              <a:gdLst>
                <a:gd name="T0" fmla="*/ 2147483647 w 153"/>
                <a:gd name="T1" fmla="*/ 0 h 80"/>
                <a:gd name="T2" fmla="*/ 2147483647 w 153"/>
                <a:gd name="T3" fmla="*/ 2147483647 h 80"/>
                <a:gd name="T4" fmla="*/ 2147483647 w 153"/>
                <a:gd name="T5" fmla="*/ 2147483647 h 80"/>
                <a:gd name="T6" fmla="*/ 2147483647 w 153"/>
                <a:gd name="T7" fmla="*/ 2147483647 h 80"/>
                <a:gd name="T8" fmla="*/ 2147483647 w 153"/>
                <a:gd name="T9" fmla="*/ 2147483647 h 80"/>
                <a:gd name="T10" fmla="*/ 2147483647 w 153"/>
                <a:gd name="T11" fmla="*/ 2147483647 h 80"/>
                <a:gd name="T12" fmla="*/ 2147483647 w 153"/>
                <a:gd name="T13" fmla="*/ 2147483647 h 80"/>
                <a:gd name="T14" fmla="*/ 2147483647 w 153"/>
                <a:gd name="T15" fmla="*/ 2147483647 h 80"/>
                <a:gd name="T16" fmla="*/ 2147483647 w 153"/>
                <a:gd name="T17" fmla="*/ 2147483647 h 80"/>
                <a:gd name="T18" fmla="*/ 2147483647 w 153"/>
                <a:gd name="T19" fmla="*/ 2147483647 h 80"/>
                <a:gd name="T20" fmla="*/ 2147483647 w 153"/>
                <a:gd name="T21" fmla="*/ 2147483647 h 80"/>
                <a:gd name="T22" fmla="*/ 2147483647 w 153"/>
                <a:gd name="T23" fmla="*/ 2147483647 h 80"/>
                <a:gd name="T24" fmla="*/ 2147483647 w 153"/>
                <a:gd name="T25" fmla="*/ 2147483647 h 80"/>
                <a:gd name="T26" fmla="*/ 2147483647 w 153"/>
                <a:gd name="T27" fmla="*/ 2147483647 h 80"/>
                <a:gd name="T28" fmla="*/ 2147483647 w 153"/>
                <a:gd name="T29" fmla="*/ 2147483647 h 80"/>
                <a:gd name="T30" fmla="*/ 2147483647 w 153"/>
                <a:gd name="T31" fmla="*/ 2147483647 h 80"/>
                <a:gd name="T32" fmla="*/ 2147483647 w 153"/>
                <a:gd name="T33" fmla="*/ 2147483647 h 80"/>
                <a:gd name="T34" fmla="*/ 2147483647 w 153"/>
                <a:gd name="T35" fmla="*/ 2147483647 h 80"/>
                <a:gd name="T36" fmla="*/ 2147483647 w 153"/>
                <a:gd name="T37" fmla="*/ 2147483647 h 80"/>
                <a:gd name="T38" fmla="*/ 2147483647 w 153"/>
                <a:gd name="T39" fmla="*/ 2147483647 h 80"/>
                <a:gd name="T40" fmla="*/ 2147483647 w 153"/>
                <a:gd name="T41" fmla="*/ 2147483647 h 80"/>
                <a:gd name="T42" fmla="*/ 2147483647 w 153"/>
                <a:gd name="T43" fmla="*/ 2147483647 h 80"/>
                <a:gd name="T44" fmla="*/ 2147483647 w 153"/>
                <a:gd name="T45" fmla="*/ 2147483647 h 80"/>
                <a:gd name="T46" fmla="*/ 2147483647 w 153"/>
                <a:gd name="T47" fmla="*/ 2147483647 h 80"/>
                <a:gd name="T48" fmla="*/ 2147483647 w 153"/>
                <a:gd name="T49" fmla="*/ 2147483647 h 80"/>
                <a:gd name="T50" fmla="*/ 0 w 153"/>
                <a:gd name="T51" fmla="*/ 2147483647 h 80"/>
                <a:gd name="T52" fmla="*/ 2147483647 w 153"/>
                <a:gd name="T53" fmla="*/ 2147483647 h 80"/>
                <a:gd name="T54" fmla="*/ 2147483647 w 153"/>
                <a:gd name="T55" fmla="*/ 2147483647 h 80"/>
                <a:gd name="T56" fmla="*/ 2147483647 w 153"/>
                <a:gd name="T57" fmla="*/ 2147483647 h 80"/>
                <a:gd name="T58" fmla="*/ 2147483647 w 153"/>
                <a:gd name="T59" fmla="*/ 2147483647 h 80"/>
                <a:gd name="T60" fmla="*/ 2147483647 w 153"/>
                <a:gd name="T61" fmla="*/ 2147483647 h 80"/>
                <a:gd name="T62" fmla="*/ 2147483647 w 153"/>
                <a:gd name="T63" fmla="*/ 2147483647 h 80"/>
                <a:gd name="T64" fmla="*/ 2147483647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3"/>
                <a:gd name="T100" fmla="*/ 0 h 80"/>
                <a:gd name="T101" fmla="*/ 153 w 153"/>
                <a:gd name="T102" fmla="*/ 80 h 8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43" name="Freeform 221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1800225" y="3179763"/>
              <a:ext cx="142875" cy="87312"/>
            </a:xfrm>
            <a:custGeom>
              <a:avLst/>
              <a:gdLst>
                <a:gd name="T0" fmla="*/ 0 w 332"/>
                <a:gd name="T1" fmla="*/ 2147483647 h 169"/>
                <a:gd name="T2" fmla="*/ 2147483647 w 332"/>
                <a:gd name="T3" fmla="*/ 2147483647 h 169"/>
                <a:gd name="T4" fmla="*/ 2147483647 w 332"/>
                <a:gd name="T5" fmla="*/ 2147483647 h 169"/>
                <a:gd name="T6" fmla="*/ 2147483647 w 332"/>
                <a:gd name="T7" fmla="*/ 2147483647 h 169"/>
                <a:gd name="T8" fmla="*/ 2147483647 w 332"/>
                <a:gd name="T9" fmla="*/ 2147483647 h 169"/>
                <a:gd name="T10" fmla="*/ 2147483647 w 332"/>
                <a:gd name="T11" fmla="*/ 2147483647 h 169"/>
                <a:gd name="T12" fmla="*/ 2147483647 w 332"/>
                <a:gd name="T13" fmla="*/ 2147483647 h 169"/>
                <a:gd name="T14" fmla="*/ 2147483647 w 332"/>
                <a:gd name="T15" fmla="*/ 2147483647 h 169"/>
                <a:gd name="T16" fmla="*/ 2147483647 w 332"/>
                <a:gd name="T17" fmla="*/ 2147483647 h 169"/>
                <a:gd name="T18" fmla="*/ 2147483647 w 332"/>
                <a:gd name="T19" fmla="*/ 2147483647 h 169"/>
                <a:gd name="T20" fmla="*/ 2147483647 w 332"/>
                <a:gd name="T21" fmla="*/ 2147483647 h 169"/>
                <a:gd name="T22" fmla="*/ 2147483647 w 332"/>
                <a:gd name="T23" fmla="*/ 2147483647 h 169"/>
                <a:gd name="T24" fmla="*/ 2147483647 w 332"/>
                <a:gd name="T25" fmla="*/ 2147483647 h 169"/>
                <a:gd name="T26" fmla="*/ 2147483647 w 332"/>
                <a:gd name="T27" fmla="*/ 2147483647 h 169"/>
                <a:gd name="T28" fmla="*/ 2147483647 w 332"/>
                <a:gd name="T29" fmla="*/ 2147483647 h 169"/>
                <a:gd name="T30" fmla="*/ 2147483647 w 332"/>
                <a:gd name="T31" fmla="*/ 2147483647 h 169"/>
                <a:gd name="T32" fmla="*/ 2147483647 w 332"/>
                <a:gd name="T33" fmla="*/ 2147483647 h 169"/>
                <a:gd name="T34" fmla="*/ 2147483647 w 332"/>
                <a:gd name="T35" fmla="*/ 2147483647 h 169"/>
                <a:gd name="T36" fmla="*/ 2147483647 w 332"/>
                <a:gd name="T37" fmla="*/ 2147483647 h 169"/>
                <a:gd name="T38" fmla="*/ 2147483647 w 332"/>
                <a:gd name="T39" fmla="*/ 2147483647 h 169"/>
                <a:gd name="T40" fmla="*/ 2147483647 w 332"/>
                <a:gd name="T41" fmla="*/ 2147483647 h 169"/>
                <a:gd name="T42" fmla="*/ 2147483647 w 332"/>
                <a:gd name="T43" fmla="*/ 0 h 169"/>
                <a:gd name="T44" fmla="*/ 2147483647 w 332"/>
                <a:gd name="T45" fmla="*/ 2147483647 h 169"/>
                <a:gd name="T46" fmla="*/ 2147483647 w 332"/>
                <a:gd name="T47" fmla="*/ 2147483647 h 169"/>
                <a:gd name="T48" fmla="*/ 2147483647 w 332"/>
                <a:gd name="T49" fmla="*/ 2147483647 h 169"/>
                <a:gd name="T50" fmla="*/ 2147483647 w 332"/>
                <a:gd name="T51" fmla="*/ 2147483647 h 169"/>
                <a:gd name="T52" fmla="*/ 2147483647 w 332"/>
                <a:gd name="T53" fmla="*/ 2147483647 h 169"/>
                <a:gd name="T54" fmla="*/ 2147483647 w 332"/>
                <a:gd name="T55" fmla="*/ 2147483647 h 169"/>
                <a:gd name="T56" fmla="*/ 2147483647 w 332"/>
                <a:gd name="T57" fmla="*/ 2147483647 h 169"/>
                <a:gd name="T58" fmla="*/ 2147483647 w 332"/>
                <a:gd name="T59" fmla="*/ 2147483647 h 169"/>
                <a:gd name="T60" fmla="*/ 2147483647 w 332"/>
                <a:gd name="T61" fmla="*/ 2147483647 h 169"/>
                <a:gd name="T62" fmla="*/ 2147483647 w 332"/>
                <a:gd name="T63" fmla="*/ 2147483647 h 169"/>
                <a:gd name="T64" fmla="*/ 2147483647 w 332"/>
                <a:gd name="T65" fmla="*/ 2147483647 h 169"/>
                <a:gd name="T66" fmla="*/ 2147483647 w 332"/>
                <a:gd name="T67" fmla="*/ 2147483647 h 169"/>
                <a:gd name="T68" fmla="*/ 2147483647 w 332"/>
                <a:gd name="T69" fmla="*/ 2147483647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2"/>
                <a:gd name="T106" fmla="*/ 0 h 169"/>
                <a:gd name="T107" fmla="*/ 332 w 332"/>
                <a:gd name="T108" fmla="*/ 169 h 16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44" name="Freeform 222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1817688" y="3209925"/>
              <a:ext cx="125412" cy="122238"/>
            </a:xfrm>
            <a:custGeom>
              <a:avLst/>
              <a:gdLst>
                <a:gd name="T0" fmla="*/ 2147483647 w 286"/>
                <a:gd name="T1" fmla="*/ 2147483647 h 235"/>
                <a:gd name="T2" fmla="*/ 2147483647 w 286"/>
                <a:gd name="T3" fmla="*/ 2147483647 h 235"/>
                <a:gd name="T4" fmla="*/ 2147483647 w 286"/>
                <a:gd name="T5" fmla="*/ 2147483647 h 235"/>
                <a:gd name="T6" fmla="*/ 2147483647 w 286"/>
                <a:gd name="T7" fmla="*/ 2147483647 h 235"/>
                <a:gd name="T8" fmla="*/ 2147483647 w 286"/>
                <a:gd name="T9" fmla="*/ 2147483647 h 235"/>
                <a:gd name="T10" fmla="*/ 2147483647 w 286"/>
                <a:gd name="T11" fmla="*/ 2147483647 h 235"/>
                <a:gd name="T12" fmla="*/ 2147483647 w 286"/>
                <a:gd name="T13" fmla="*/ 2147483647 h 235"/>
                <a:gd name="T14" fmla="*/ 2147483647 w 286"/>
                <a:gd name="T15" fmla="*/ 2147483647 h 235"/>
                <a:gd name="T16" fmla="*/ 2147483647 w 286"/>
                <a:gd name="T17" fmla="*/ 2147483647 h 235"/>
                <a:gd name="T18" fmla="*/ 2147483647 w 286"/>
                <a:gd name="T19" fmla="*/ 2147483647 h 235"/>
                <a:gd name="T20" fmla="*/ 2147483647 w 286"/>
                <a:gd name="T21" fmla="*/ 2147483647 h 235"/>
                <a:gd name="T22" fmla="*/ 2147483647 w 286"/>
                <a:gd name="T23" fmla="*/ 2147483647 h 235"/>
                <a:gd name="T24" fmla="*/ 2147483647 w 286"/>
                <a:gd name="T25" fmla="*/ 2147483647 h 235"/>
                <a:gd name="T26" fmla="*/ 2147483647 w 286"/>
                <a:gd name="T27" fmla="*/ 2147483647 h 235"/>
                <a:gd name="T28" fmla="*/ 2147483647 w 286"/>
                <a:gd name="T29" fmla="*/ 2147483647 h 235"/>
                <a:gd name="T30" fmla="*/ 2147483647 w 286"/>
                <a:gd name="T31" fmla="*/ 2147483647 h 235"/>
                <a:gd name="T32" fmla="*/ 2147483647 w 286"/>
                <a:gd name="T33" fmla="*/ 2147483647 h 235"/>
                <a:gd name="T34" fmla="*/ 2147483647 w 286"/>
                <a:gd name="T35" fmla="*/ 2147483647 h 235"/>
                <a:gd name="T36" fmla="*/ 2147483647 w 286"/>
                <a:gd name="T37" fmla="*/ 2147483647 h 235"/>
                <a:gd name="T38" fmla="*/ 2147483647 w 286"/>
                <a:gd name="T39" fmla="*/ 2147483647 h 235"/>
                <a:gd name="T40" fmla="*/ 2147483647 w 286"/>
                <a:gd name="T41" fmla="*/ 2147483647 h 235"/>
                <a:gd name="T42" fmla="*/ 2147483647 w 286"/>
                <a:gd name="T43" fmla="*/ 2147483647 h 235"/>
                <a:gd name="T44" fmla="*/ 2147483647 w 286"/>
                <a:gd name="T45" fmla="*/ 2147483647 h 235"/>
                <a:gd name="T46" fmla="*/ 2147483647 w 286"/>
                <a:gd name="T47" fmla="*/ 2147483647 h 235"/>
                <a:gd name="T48" fmla="*/ 2147483647 w 286"/>
                <a:gd name="T49" fmla="*/ 2147483647 h 235"/>
                <a:gd name="T50" fmla="*/ 2147483647 w 286"/>
                <a:gd name="T51" fmla="*/ 2147483647 h 235"/>
                <a:gd name="T52" fmla="*/ 2147483647 w 286"/>
                <a:gd name="T53" fmla="*/ 2147483647 h 235"/>
                <a:gd name="T54" fmla="*/ 2147483647 w 286"/>
                <a:gd name="T55" fmla="*/ 2147483647 h 235"/>
                <a:gd name="T56" fmla="*/ 0 w 286"/>
                <a:gd name="T57" fmla="*/ 2147483647 h 235"/>
                <a:gd name="T58" fmla="*/ 2147483647 w 286"/>
                <a:gd name="T59" fmla="*/ 2147483647 h 235"/>
                <a:gd name="T60" fmla="*/ 2147483647 w 286"/>
                <a:gd name="T61" fmla="*/ 2147483647 h 235"/>
                <a:gd name="T62" fmla="*/ 2147483647 w 286"/>
                <a:gd name="T63" fmla="*/ 2147483647 h 235"/>
                <a:gd name="T64" fmla="*/ 2147483647 w 286"/>
                <a:gd name="T65" fmla="*/ 2147483647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86"/>
                <a:gd name="T100" fmla="*/ 0 h 235"/>
                <a:gd name="T101" fmla="*/ 286 w 286"/>
                <a:gd name="T102" fmla="*/ 235 h 23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45" name="Freeform 223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1868488" y="3322638"/>
              <a:ext cx="84137" cy="100012"/>
            </a:xfrm>
            <a:custGeom>
              <a:avLst/>
              <a:gdLst>
                <a:gd name="T0" fmla="*/ 2147483647 w 205"/>
                <a:gd name="T1" fmla="*/ 2147483647 h 191"/>
                <a:gd name="T2" fmla="*/ 2147483647 w 205"/>
                <a:gd name="T3" fmla="*/ 2147483647 h 191"/>
                <a:gd name="T4" fmla="*/ 2147483647 w 205"/>
                <a:gd name="T5" fmla="*/ 2147483647 h 191"/>
                <a:gd name="T6" fmla="*/ 2147483647 w 205"/>
                <a:gd name="T7" fmla="*/ 2147483647 h 191"/>
                <a:gd name="T8" fmla="*/ 2147483647 w 205"/>
                <a:gd name="T9" fmla="*/ 2147483647 h 191"/>
                <a:gd name="T10" fmla="*/ 2147483647 w 205"/>
                <a:gd name="T11" fmla="*/ 2147483647 h 191"/>
                <a:gd name="T12" fmla="*/ 2147483647 w 205"/>
                <a:gd name="T13" fmla="*/ 2147483647 h 191"/>
                <a:gd name="T14" fmla="*/ 2147483647 w 205"/>
                <a:gd name="T15" fmla="*/ 2147483647 h 191"/>
                <a:gd name="T16" fmla="*/ 2147483647 w 205"/>
                <a:gd name="T17" fmla="*/ 2147483647 h 191"/>
                <a:gd name="T18" fmla="*/ 2147483647 w 205"/>
                <a:gd name="T19" fmla="*/ 2147483647 h 191"/>
                <a:gd name="T20" fmla="*/ 2147483647 w 205"/>
                <a:gd name="T21" fmla="*/ 2147483647 h 191"/>
                <a:gd name="T22" fmla="*/ 2147483647 w 205"/>
                <a:gd name="T23" fmla="*/ 2147483647 h 191"/>
                <a:gd name="T24" fmla="*/ 2147483647 w 205"/>
                <a:gd name="T25" fmla="*/ 2147483647 h 191"/>
                <a:gd name="T26" fmla="*/ 2147483647 w 205"/>
                <a:gd name="T27" fmla="*/ 2147483647 h 191"/>
                <a:gd name="T28" fmla="*/ 2147483647 w 205"/>
                <a:gd name="T29" fmla="*/ 2147483647 h 191"/>
                <a:gd name="T30" fmla="*/ 2147483647 w 205"/>
                <a:gd name="T31" fmla="*/ 2147483647 h 191"/>
                <a:gd name="T32" fmla="*/ 2147483647 w 205"/>
                <a:gd name="T33" fmla="*/ 2147483647 h 191"/>
                <a:gd name="T34" fmla="*/ 2147483647 w 205"/>
                <a:gd name="T35" fmla="*/ 2147483647 h 191"/>
                <a:gd name="T36" fmla="*/ 2147483647 w 205"/>
                <a:gd name="T37" fmla="*/ 2147483647 h 191"/>
                <a:gd name="T38" fmla="*/ 2147483647 w 205"/>
                <a:gd name="T39" fmla="*/ 2147483647 h 191"/>
                <a:gd name="T40" fmla="*/ 2147483647 w 205"/>
                <a:gd name="T41" fmla="*/ 2147483647 h 191"/>
                <a:gd name="T42" fmla="*/ 2147483647 w 205"/>
                <a:gd name="T43" fmla="*/ 2147483647 h 191"/>
                <a:gd name="T44" fmla="*/ 2147483647 w 205"/>
                <a:gd name="T45" fmla="*/ 2147483647 h 191"/>
                <a:gd name="T46" fmla="*/ 0 w 205"/>
                <a:gd name="T47" fmla="*/ 2147483647 h 191"/>
                <a:gd name="T48" fmla="*/ 0 w 205"/>
                <a:gd name="T49" fmla="*/ 2147483647 h 191"/>
                <a:gd name="T50" fmla="*/ 2147483647 w 205"/>
                <a:gd name="T51" fmla="*/ 2147483647 h 191"/>
                <a:gd name="T52" fmla="*/ 2147483647 w 205"/>
                <a:gd name="T53" fmla="*/ 2147483647 h 191"/>
                <a:gd name="T54" fmla="*/ 2147483647 w 205"/>
                <a:gd name="T55" fmla="*/ 2147483647 h 191"/>
                <a:gd name="T56" fmla="*/ 2147483647 w 205"/>
                <a:gd name="T57" fmla="*/ 2147483647 h 191"/>
                <a:gd name="T58" fmla="*/ 2147483647 w 205"/>
                <a:gd name="T59" fmla="*/ 0 h 191"/>
                <a:gd name="T60" fmla="*/ 2147483647 w 205"/>
                <a:gd name="T61" fmla="*/ 2147483647 h 191"/>
                <a:gd name="T62" fmla="*/ 2147483647 w 205"/>
                <a:gd name="T63" fmla="*/ 2147483647 h 191"/>
                <a:gd name="T64" fmla="*/ 2147483647 w 205"/>
                <a:gd name="T65" fmla="*/ 2147483647 h 191"/>
                <a:gd name="T66" fmla="*/ 2147483647 w 205"/>
                <a:gd name="T67" fmla="*/ 2147483647 h 191"/>
                <a:gd name="T68" fmla="*/ 2147483647 w 205"/>
                <a:gd name="T69" fmla="*/ 2147483647 h 191"/>
                <a:gd name="T70" fmla="*/ 2147483647 w 205"/>
                <a:gd name="T71" fmla="*/ 2147483647 h 191"/>
                <a:gd name="T72" fmla="*/ 2147483647 w 205"/>
                <a:gd name="T73" fmla="*/ 2147483647 h 191"/>
                <a:gd name="T74" fmla="*/ 2147483647 w 205"/>
                <a:gd name="T75" fmla="*/ 2147483647 h 191"/>
                <a:gd name="T76" fmla="*/ 2147483647 w 205"/>
                <a:gd name="T77" fmla="*/ 2147483647 h 191"/>
                <a:gd name="T78" fmla="*/ 2147483647 w 205"/>
                <a:gd name="T79" fmla="*/ 2147483647 h 191"/>
                <a:gd name="T80" fmla="*/ 2147483647 w 205"/>
                <a:gd name="T81" fmla="*/ 2147483647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05"/>
                <a:gd name="T124" fmla="*/ 0 h 191"/>
                <a:gd name="T125" fmla="*/ 205 w 205"/>
                <a:gd name="T126" fmla="*/ 191 h 19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46" name="Freeform 224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1949450" y="3376613"/>
              <a:ext cx="142875" cy="79375"/>
            </a:xfrm>
            <a:custGeom>
              <a:avLst/>
              <a:gdLst>
                <a:gd name="T0" fmla="*/ 2147483647 w 329"/>
                <a:gd name="T1" fmla="*/ 2147483647 h 154"/>
                <a:gd name="T2" fmla="*/ 0 w 329"/>
                <a:gd name="T3" fmla="*/ 2147483647 h 154"/>
                <a:gd name="T4" fmla="*/ 2147483647 w 329"/>
                <a:gd name="T5" fmla="*/ 2147483647 h 154"/>
                <a:gd name="T6" fmla="*/ 2147483647 w 329"/>
                <a:gd name="T7" fmla="*/ 2147483647 h 154"/>
                <a:gd name="T8" fmla="*/ 2147483647 w 329"/>
                <a:gd name="T9" fmla="*/ 2147483647 h 154"/>
                <a:gd name="T10" fmla="*/ 2147483647 w 329"/>
                <a:gd name="T11" fmla="*/ 2147483647 h 154"/>
                <a:gd name="T12" fmla="*/ 2147483647 w 329"/>
                <a:gd name="T13" fmla="*/ 2147483647 h 154"/>
                <a:gd name="T14" fmla="*/ 2147483647 w 329"/>
                <a:gd name="T15" fmla="*/ 2147483647 h 154"/>
                <a:gd name="T16" fmla="*/ 2147483647 w 329"/>
                <a:gd name="T17" fmla="*/ 2147483647 h 154"/>
                <a:gd name="T18" fmla="*/ 2147483647 w 329"/>
                <a:gd name="T19" fmla="*/ 2147483647 h 154"/>
                <a:gd name="T20" fmla="*/ 2147483647 w 329"/>
                <a:gd name="T21" fmla="*/ 2147483647 h 154"/>
                <a:gd name="T22" fmla="*/ 2147483647 w 329"/>
                <a:gd name="T23" fmla="*/ 0 h 154"/>
                <a:gd name="T24" fmla="*/ 2147483647 w 329"/>
                <a:gd name="T25" fmla="*/ 0 h 154"/>
                <a:gd name="T26" fmla="*/ 2147483647 w 329"/>
                <a:gd name="T27" fmla="*/ 2147483647 h 154"/>
                <a:gd name="T28" fmla="*/ 2147483647 w 329"/>
                <a:gd name="T29" fmla="*/ 2147483647 h 154"/>
                <a:gd name="T30" fmla="*/ 2147483647 w 329"/>
                <a:gd name="T31" fmla="*/ 2147483647 h 154"/>
                <a:gd name="T32" fmla="*/ 2147483647 w 329"/>
                <a:gd name="T33" fmla="*/ 2147483647 h 154"/>
                <a:gd name="T34" fmla="*/ 2147483647 w 329"/>
                <a:gd name="T35" fmla="*/ 2147483647 h 154"/>
                <a:gd name="T36" fmla="*/ 2147483647 w 329"/>
                <a:gd name="T37" fmla="*/ 2147483647 h 154"/>
                <a:gd name="T38" fmla="*/ 2147483647 w 329"/>
                <a:gd name="T39" fmla="*/ 2147483647 h 154"/>
                <a:gd name="T40" fmla="*/ 2147483647 w 329"/>
                <a:gd name="T41" fmla="*/ 2147483647 h 154"/>
                <a:gd name="T42" fmla="*/ 2147483647 w 329"/>
                <a:gd name="T43" fmla="*/ 2147483647 h 154"/>
                <a:gd name="T44" fmla="*/ 2147483647 w 329"/>
                <a:gd name="T45" fmla="*/ 2147483647 h 154"/>
                <a:gd name="T46" fmla="*/ 2147483647 w 329"/>
                <a:gd name="T47" fmla="*/ 2147483647 h 154"/>
                <a:gd name="T48" fmla="*/ 2147483647 w 329"/>
                <a:gd name="T49" fmla="*/ 2147483647 h 154"/>
                <a:gd name="T50" fmla="*/ 2147483647 w 329"/>
                <a:gd name="T51" fmla="*/ 2147483647 h 154"/>
                <a:gd name="T52" fmla="*/ 2147483647 w 329"/>
                <a:gd name="T53" fmla="*/ 2147483647 h 154"/>
                <a:gd name="T54" fmla="*/ 2147483647 w 329"/>
                <a:gd name="T55" fmla="*/ 2147483647 h 154"/>
                <a:gd name="T56" fmla="*/ 2147483647 w 329"/>
                <a:gd name="T57" fmla="*/ 2147483647 h 154"/>
                <a:gd name="T58" fmla="*/ 2147483647 w 329"/>
                <a:gd name="T59" fmla="*/ 2147483647 h 154"/>
                <a:gd name="T60" fmla="*/ 2147483647 w 329"/>
                <a:gd name="T61" fmla="*/ 2147483647 h 154"/>
                <a:gd name="T62" fmla="*/ 2147483647 w 329"/>
                <a:gd name="T63" fmla="*/ 2147483647 h 154"/>
                <a:gd name="T64" fmla="*/ 2147483647 w 329"/>
                <a:gd name="T65" fmla="*/ 2147483647 h 154"/>
                <a:gd name="T66" fmla="*/ 2147483647 w 329"/>
                <a:gd name="T67" fmla="*/ 2147483647 h 154"/>
                <a:gd name="T68" fmla="*/ 2147483647 w 329"/>
                <a:gd name="T69" fmla="*/ 2147483647 h 154"/>
                <a:gd name="T70" fmla="*/ 2147483647 w 329"/>
                <a:gd name="T71" fmla="*/ 2147483647 h 154"/>
                <a:gd name="T72" fmla="*/ 2147483647 w 329"/>
                <a:gd name="T73" fmla="*/ 2147483647 h 154"/>
                <a:gd name="T74" fmla="*/ 2147483647 w 329"/>
                <a:gd name="T75" fmla="*/ 2147483647 h 154"/>
                <a:gd name="T76" fmla="*/ 2147483647 w 329"/>
                <a:gd name="T77" fmla="*/ 2147483647 h 154"/>
                <a:gd name="T78" fmla="*/ 2147483647 w 329"/>
                <a:gd name="T79" fmla="*/ 2147483647 h 154"/>
                <a:gd name="T80" fmla="*/ 2147483647 w 329"/>
                <a:gd name="T81" fmla="*/ 2147483647 h 154"/>
                <a:gd name="T82" fmla="*/ 2147483647 w 329"/>
                <a:gd name="T83" fmla="*/ 2147483647 h 154"/>
                <a:gd name="T84" fmla="*/ 2147483647 w 329"/>
                <a:gd name="T85" fmla="*/ 2147483647 h 154"/>
                <a:gd name="T86" fmla="*/ 2147483647 w 329"/>
                <a:gd name="T87" fmla="*/ 2147483647 h 154"/>
                <a:gd name="T88" fmla="*/ 2147483647 w 329"/>
                <a:gd name="T89" fmla="*/ 2147483647 h 154"/>
                <a:gd name="T90" fmla="*/ 2147483647 w 329"/>
                <a:gd name="T91" fmla="*/ 2147483647 h 154"/>
                <a:gd name="T92" fmla="*/ 2147483647 w 329"/>
                <a:gd name="T93" fmla="*/ 2147483647 h 154"/>
                <a:gd name="T94" fmla="*/ 2147483647 w 329"/>
                <a:gd name="T95" fmla="*/ 2147483647 h 154"/>
                <a:gd name="T96" fmla="*/ 2147483647 w 329"/>
                <a:gd name="T97" fmla="*/ 2147483647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29"/>
                <a:gd name="T148" fmla="*/ 0 h 154"/>
                <a:gd name="T149" fmla="*/ 329 w 329"/>
                <a:gd name="T150" fmla="*/ 154 h 15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47" name="Freeform 225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2630488" y="4630738"/>
              <a:ext cx="133350" cy="155575"/>
            </a:xfrm>
            <a:custGeom>
              <a:avLst/>
              <a:gdLst>
                <a:gd name="T0" fmla="*/ 2147483647 w 306"/>
                <a:gd name="T1" fmla="*/ 2147483647 h 293"/>
                <a:gd name="T2" fmla="*/ 2147483647 w 306"/>
                <a:gd name="T3" fmla="*/ 2147483647 h 293"/>
                <a:gd name="T4" fmla="*/ 2147483647 w 306"/>
                <a:gd name="T5" fmla="*/ 2147483647 h 293"/>
                <a:gd name="T6" fmla="*/ 2147483647 w 306"/>
                <a:gd name="T7" fmla="*/ 2147483647 h 293"/>
                <a:gd name="T8" fmla="*/ 2147483647 w 306"/>
                <a:gd name="T9" fmla="*/ 2147483647 h 293"/>
                <a:gd name="T10" fmla="*/ 2147483647 w 306"/>
                <a:gd name="T11" fmla="*/ 2147483647 h 293"/>
                <a:gd name="T12" fmla="*/ 2147483647 w 306"/>
                <a:gd name="T13" fmla="*/ 2147483647 h 293"/>
                <a:gd name="T14" fmla="*/ 2147483647 w 306"/>
                <a:gd name="T15" fmla="*/ 2147483647 h 293"/>
                <a:gd name="T16" fmla="*/ 2147483647 w 306"/>
                <a:gd name="T17" fmla="*/ 2147483647 h 293"/>
                <a:gd name="T18" fmla="*/ 2147483647 w 306"/>
                <a:gd name="T19" fmla="*/ 2147483647 h 293"/>
                <a:gd name="T20" fmla="*/ 2147483647 w 306"/>
                <a:gd name="T21" fmla="*/ 2147483647 h 293"/>
                <a:gd name="T22" fmla="*/ 2147483647 w 306"/>
                <a:gd name="T23" fmla="*/ 2147483647 h 293"/>
                <a:gd name="T24" fmla="*/ 2147483647 w 306"/>
                <a:gd name="T25" fmla="*/ 2147483647 h 293"/>
                <a:gd name="T26" fmla="*/ 2147483647 w 306"/>
                <a:gd name="T27" fmla="*/ 2147483647 h 293"/>
                <a:gd name="T28" fmla="*/ 2147483647 w 306"/>
                <a:gd name="T29" fmla="*/ 2147483647 h 293"/>
                <a:gd name="T30" fmla="*/ 2147483647 w 306"/>
                <a:gd name="T31" fmla="*/ 2147483647 h 293"/>
                <a:gd name="T32" fmla="*/ 2147483647 w 306"/>
                <a:gd name="T33" fmla="*/ 2147483647 h 293"/>
                <a:gd name="T34" fmla="*/ 2147483647 w 306"/>
                <a:gd name="T35" fmla="*/ 2147483647 h 293"/>
                <a:gd name="T36" fmla="*/ 2147483647 w 306"/>
                <a:gd name="T37" fmla="*/ 2147483647 h 293"/>
                <a:gd name="T38" fmla="*/ 0 w 306"/>
                <a:gd name="T39" fmla="*/ 2147483647 h 293"/>
                <a:gd name="T40" fmla="*/ 2147483647 w 306"/>
                <a:gd name="T41" fmla="*/ 2147483647 h 293"/>
                <a:gd name="T42" fmla="*/ 2147483647 w 306"/>
                <a:gd name="T43" fmla="*/ 2147483647 h 293"/>
                <a:gd name="T44" fmla="*/ 2147483647 w 306"/>
                <a:gd name="T45" fmla="*/ 2147483647 h 293"/>
                <a:gd name="T46" fmla="*/ 2147483647 w 306"/>
                <a:gd name="T47" fmla="*/ 2147483647 h 293"/>
                <a:gd name="T48" fmla="*/ 2147483647 w 306"/>
                <a:gd name="T49" fmla="*/ 2147483647 h 293"/>
                <a:gd name="T50" fmla="*/ 2147483647 w 306"/>
                <a:gd name="T51" fmla="*/ 0 h 293"/>
                <a:gd name="T52" fmla="*/ 2147483647 w 306"/>
                <a:gd name="T53" fmla="*/ 2147483647 h 293"/>
                <a:gd name="T54" fmla="*/ 2147483647 w 306"/>
                <a:gd name="T55" fmla="*/ 2147483647 h 293"/>
                <a:gd name="T56" fmla="*/ 2147483647 w 306"/>
                <a:gd name="T57" fmla="*/ 2147483647 h 293"/>
                <a:gd name="T58" fmla="*/ 2147483647 w 306"/>
                <a:gd name="T59" fmla="*/ 2147483647 h 293"/>
                <a:gd name="T60" fmla="*/ 2147483647 w 306"/>
                <a:gd name="T61" fmla="*/ 2147483647 h 293"/>
                <a:gd name="T62" fmla="*/ 2147483647 w 306"/>
                <a:gd name="T63" fmla="*/ 2147483647 h 293"/>
                <a:gd name="T64" fmla="*/ 2147483647 w 306"/>
                <a:gd name="T65" fmla="*/ 2147483647 h 293"/>
                <a:gd name="T66" fmla="*/ 2147483647 w 306"/>
                <a:gd name="T67" fmla="*/ 2147483647 h 293"/>
                <a:gd name="T68" fmla="*/ 2147483647 w 306"/>
                <a:gd name="T69" fmla="*/ 2147483647 h 293"/>
                <a:gd name="T70" fmla="*/ 2147483647 w 306"/>
                <a:gd name="T71" fmla="*/ 2147483647 h 293"/>
                <a:gd name="T72" fmla="*/ 2147483647 w 306"/>
                <a:gd name="T73" fmla="*/ 2147483647 h 293"/>
                <a:gd name="T74" fmla="*/ 2147483647 w 306"/>
                <a:gd name="T75" fmla="*/ 2147483647 h 293"/>
                <a:gd name="T76" fmla="*/ 2147483647 w 306"/>
                <a:gd name="T77" fmla="*/ 2147483647 h 293"/>
                <a:gd name="T78" fmla="*/ 2147483647 w 306"/>
                <a:gd name="T79" fmla="*/ 2147483647 h 293"/>
                <a:gd name="T80" fmla="*/ 2147483647 w 306"/>
                <a:gd name="T81" fmla="*/ 2147483647 h 293"/>
                <a:gd name="T82" fmla="*/ 2147483647 w 306"/>
                <a:gd name="T83" fmla="*/ 2147483647 h 293"/>
                <a:gd name="T84" fmla="*/ 2147483647 w 306"/>
                <a:gd name="T85" fmla="*/ 2147483647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06"/>
                <a:gd name="T130" fmla="*/ 0 h 293"/>
                <a:gd name="T131" fmla="*/ 306 w 306"/>
                <a:gd name="T132" fmla="*/ 293 h 29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48" name="Freeform 226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4176713" y="1247775"/>
              <a:ext cx="236537" cy="92075"/>
            </a:xfrm>
            <a:custGeom>
              <a:avLst/>
              <a:gdLst>
                <a:gd name="T0" fmla="*/ 2147483647 w 546"/>
                <a:gd name="T1" fmla="*/ 2147483647 h 173"/>
                <a:gd name="T2" fmla="*/ 2147483647 w 546"/>
                <a:gd name="T3" fmla="*/ 2147483647 h 173"/>
                <a:gd name="T4" fmla="*/ 2147483647 w 546"/>
                <a:gd name="T5" fmla="*/ 2147483647 h 173"/>
                <a:gd name="T6" fmla="*/ 2147483647 w 546"/>
                <a:gd name="T7" fmla="*/ 2147483647 h 173"/>
                <a:gd name="T8" fmla="*/ 2147483647 w 546"/>
                <a:gd name="T9" fmla="*/ 2147483647 h 173"/>
                <a:gd name="T10" fmla="*/ 2147483647 w 546"/>
                <a:gd name="T11" fmla="*/ 2147483647 h 173"/>
                <a:gd name="T12" fmla="*/ 2147483647 w 546"/>
                <a:gd name="T13" fmla="*/ 2147483647 h 173"/>
                <a:gd name="T14" fmla="*/ 2147483647 w 546"/>
                <a:gd name="T15" fmla="*/ 2147483647 h 173"/>
                <a:gd name="T16" fmla="*/ 2147483647 w 546"/>
                <a:gd name="T17" fmla="*/ 2147483647 h 173"/>
                <a:gd name="T18" fmla="*/ 2147483647 w 546"/>
                <a:gd name="T19" fmla="*/ 2147483647 h 173"/>
                <a:gd name="T20" fmla="*/ 2147483647 w 546"/>
                <a:gd name="T21" fmla="*/ 2147483647 h 173"/>
                <a:gd name="T22" fmla="*/ 2147483647 w 546"/>
                <a:gd name="T23" fmla="*/ 2147483647 h 173"/>
                <a:gd name="T24" fmla="*/ 2147483647 w 546"/>
                <a:gd name="T25" fmla="*/ 2147483647 h 173"/>
                <a:gd name="T26" fmla="*/ 2147483647 w 546"/>
                <a:gd name="T27" fmla="*/ 2147483647 h 173"/>
                <a:gd name="T28" fmla="*/ 2147483647 w 546"/>
                <a:gd name="T29" fmla="*/ 0 h 173"/>
                <a:gd name="T30" fmla="*/ 2147483647 w 546"/>
                <a:gd name="T31" fmla="*/ 2147483647 h 173"/>
                <a:gd name="T32" fmla="*/ 2147483647 w 546"/>
                <a:gd name="T33" fmla="*/ 2147483647 h 173"/>
                <a:gd name="T34" fmla="*/ 2147483647 w 546"/>
                <a:gd name="T35" fmla="*/ 2147483647 h 173"/>
                <a:gd name="T36" fmla="*/ 2147483647 w 546"/>
                <a:gd name="T37" fmla="*/ 2147483647 h 173"/>
                <a:gd name="T38" fmla="*/ 2147483647 w 546"/>
                <a:gd name="T39" fmla="*/ 2147483647 h 173"/>
                <a:gd name="T40" fmla="*/ 2147483647 w 546"/>
                <a:gd name="T41" fmla="*/ 2147483647 h 173"/>
                <a:gd name="T42" fmla="*/ 2147483647 w 546"/>
                <a:gd name="T43" fmla="*/ 2147483647 h 173"/>
                <a:gd name="T44" fmla="*/ 2147483647 w 546"/>
                <a:gd name="T45" fmla="*/ 2147483647 h 173"/>
                <a:gd name="T46" fmla="*/ 2147483647 w 546"/>
                <a:gd name="T47" fmla="*/ 2147483647 h 173"/>
                <a:gd name="T48" fmla="*/ 2147483647 w 546"/>
                <a:gd name="T49" fmla="*/ 2147483647 h 173"/>
                <a:gd name="T50" fmla="*/ 2147483647 w 546"/>
                <a:gd name="T51" fmla="*/ 2147483647 h 173"/>
                <a:gd name="T52" fmla="*/ 2147483647 w 546"/>
                <a:gd name="T53" fmla="*/ 2147483647 h 173"/>
                <a:gd name="T54" fmla="*/ 2147483647 w 546"/>
                <a:gd name="T55" fmla="*/ 2147483647 h 173"/>
                <a:gd name="T56" fmla="*/ 2147483647 w 546"/>
                <a:gd name="T57" fmla="*/ 2147483647 h 173"/>
                <a:gd name="T58" fmla="*/ 2147483647 w 546"/>
                <a:gd name="T59" fmla="*/ 2147483647 h 173"/>
                <a:gd name="T60" fmla="*/ 2147483647 w 546"/>
                <a:gd name="T61" fmla="*/ 2147483647 h 173"/>
                <a:gd name="T62" fmla="*/ 2147483647 w 546"/>
                <a:gd name="T63" fmla="*/ 2147483647 h 173"/>
                <a:gd name="T64" fmla="*/ 2147483647 w 546"/>
                <a:gd name="T65" fmla="*/ 2147483647 h 173"/>
                <a:gd name="T66" fmla="*/ 2147483647 w 546"/>
                <a:gd name="T67" fmla="*/ 2147483647 h 173"/>
                <a:gd name="T68" fmla="*/ 2147483647 w 546"/>
                <a:gd name="T69" fmla="*/ 2147483647 h 173"/>
                <a:gd name="T70" fmla="*/ 2147483647 w 546"/>
                <a:gd name="T71" fmla="*/ 2147483647 h 173"/>
                <a:gd name="T72" fmla="*/ 2147483647 w 546"/>
                <a:gd name="T73" fmla="*/ 2147483647 h 173"/>
                <a:gd name="T74" fmla="*/ 2147483647 w 546"/>
                <a:gd name="T75" fmla="*/ 2147483647 h 173"/>
                <a:gd name="T76" fmla="*/ 2147483647 w 546"/>
                <a:gd name="T77" fmla="*/ 2147483647 h 173"/>
                <a:gd name="T78" fmla="*/ 2147483647 w 546"/>
                <a:gd name="T79" fmla="*/ 2147483647 h 173"/>
                <a:gd name="T80" fmla="*/ 2147483647 w 546"/>
                <a:gd name="T81" fmla="*/ 2147483647 h 173"/>
                <a:gd name="T82" fmla="*/ 2147483647 w 546"/>
                <a:gd name="T83" fmla="*/ 2147483647 h 173"/>
                <a:gd name="T84" fmla="*/ 2147483647 w 546"/>
                <a:gd name="T85" fmla="*/ 2147483647 h 173"/>
                <a:gd name="T86" fmla="*/ 2147483647 w 546"/>
                <a:gd name="T87" fmla="*/ 2147483647 h 173"/>
                <a:gd name="T88" fmla="*/ 2147483647 w 546"/>
                <a:gd name="T89" fmla="*/ 2147483647 h 173"/>
                <a:gd name="T90" fmla="*/ 2147483647 w 546"/>
                <a:gd name="T91" fmla="*/ 2147483647 h 173"/>
                <a:gd name="T92" fmla="*/ 2147483647 w 546"/>
                <a:gd name="T93" fmla="*/ 2147483647 h 173"/>
                <a:gd name="T94" fmla="*/ 2147483647 w 546"/>
                <a:gd name="T95" fmla="*/ 2147483647 h 173"/>
                <a:gd name="T96" fmla="*/ 2147483647 w 546"/>
                <a:gd name="T97" fmla="*/ 2147483647 h 173"/>
                <a:gd name="T98" fmla="*/ 2147483647 w 546"/>
                <a:gd name="T99" fmla="*/ 2147483647 h 173"/>
                <a:gd name="T100" fmla="*/ 2147483647 w 546"/>
                <a:gd name="T101" fmla="*/ 214748364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46"/>
                <a:gd name="T154" fmla="*/ 0 h 173"/>
                <a:gd name="T155" fmla="*/ 546 w 546"/>
                <a:gd name="T156" fmla="*/ 173 h 17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49" name="Freeform 227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4103688" y="1477963"/>
              <a:ext cx="449262" cy="361950"/>
            </a:xfrm>
            <a:custGeom>
              <a:avLst/>
              <a:gdLst>
                <a:gd name="T0" fmla="*/ 2147483647 w 1037"/>
                <a:gd name="T1" fmla="*/ 2147483647 h 690"/>
                <a:gd name="T2" fmla="*/ 2147483647 w 1037"/>
                <a:gd name="T3" fmla="*/ 2147483647 h 690"/>
                <a:gd name="T4" fmla="*/ 2147483647 w 1037"/>
                <a:gd name="T5" fmla="*/ 2147483647 h 690"/>
                <a:gd name="T6" fmla="*/ 2147483647 w 1037"/>
                <a:gd name="T7" fmla="*/ 2147483647 h 690"/>
                <a:gd name="T8" fmla="*/ 2147483647 w 1037"/>
                <a:gd name="T9" fmla="*/ 2147483647 h 690"/>
                <a:gd name="T10" fmla="*/ 2147483647 w 1037"/>
                <a:gd name="T11" fmla="*/ 2147483647 h 690"/>
                <a:gd name="T12" fmla="*/ 2147483647 w 1037"/>
                <a:gd name="T13" fmla="*/ 2147483647 h 690"/>
                <a:gd name="T14" fmla="*/ 2147483647 w 1037"/>
                <a:gd name="T15" fmla="*/ 2147483647 h 690"/>
                <a:gd name="T16" fmla="*/ 2147483647 w 1037"/>
                <a:gd name="T17" fmla="*/ 2147483647 h 690"/>
                <a:gd name="T18" fmla="*/ 0 w 1037"/>
                <a:gd name="T19" fmla="*/ 2147483647 h 690"/>
                <a:gd name="T20" fmla="*/ 2147483647 w 1037"/>
                <a:gd name="T21" fmla="*/ 2147483647 h 690"/>
                <a:gd name="T22" fmla="*/ 2147483647 w 1037"/>
                <a:gd name="T23" fmla="*/ 2147483647 h 690"/>
                <a:gd name="T24" fmla="*/ 2147483647 w 1037"/>
                <a:gd name="T25" fmla="*/ 2147483647 h 690"/>
                <a:gd name="T26" fmla="*/ 2147483647 w 1037"/>
                <a:gd name="T27" fmla="*/ 2147483647 h 690"/>
                <a:gd name="T28" fmla="*/ 2147483647 w 1037"/>
                <a:gd name="T29" fmla="*/ 2147483647 h 690"/>
                <a:gd name="T30" fmla="*/ 2147483647 w 1037"/>
                <a:gd name="T31" fmla="*/ 2147483647 h 690"/>
                <a:gd name="T32" fmla="*/ 2147483647 w 1037"/>
                <a:gd name="T33" fmla="*/ 2147483647 h 690"/>
                <a:gd name="T34" fmla="*/ 2147483647 w 1037"/>
                <a:gd name="T35" fmla="*/ 2147483647 h 690"/>
                <a:gd name="T36" fmla="*/ 2147483647 w 1037"/>
                <a:gd name="T37" fmla="*/ 2147483647 h 690"/>
                <a:gd name="T38" fmla="*/ 2147483647 w 1037"/>
                <a:gd name="T39" fmla="*/ 2147483647 h 690"/>
                <a:gd name="T40" fmla="*/ 2147483647 w 1037"/>
                <a:gd name="T41" fmla="*/ 2147483647 h 690"/>
                <a:gd name="T42" fmla="*/ 2147483647 w 1037"/>
                <a:gd name="T43" fmla="*/ 2147483647 h 690"/>
                <a:gd name="T44" fmla="*/ 2147483647 w 1037"/>
                <a:gd name="T45" fmla="*/ 2147483647 h 690"/>
                <a:gd name="T46" fmla="*/ 2147483647 w 1037"/>
                <a:gd name="T47" fmla="*/ 2147483647 h 690"/>
                <a:gd name="T48" fmla="*/ 2147483647 w 1037"/>
                <a:gd name="T49" fmla="*/ 2147483647 h 690"/>
                <a:gd name="T50" fmla="*/ 2147483647 w 1037"/>
                <a:gd name="T51" fmla="*/ 2147483647 h 690"/>
                <a:gd name="T52" fmla="*/ 2147483647 w 1037"/>
                <a:gd name="T53" fmla="*/ 2147483647 h 690"/>
                <a:gd name="T54" fmla="*/ 2147483647 w 1037"/>
                <a:gd name="T55" fmla="*/ 2147483647 h 690"/>
                <a:gd name="T56" fmla="*/ 2147483647 w 1037"/>
                <a:gd name="T57" fmla="*/ 2147483647 h 690"/>
                <a:gd name="T58" fmla="*/ 2147483647 w 1037"/>
                <a:gd name="T59" fmla="*/ 2147483647 h 690"/>
                <a:gd name="T60" fmla="*/ 2147483647 w 1037"/>
                <a:gd name="T61" fmla="*/ 2147483647 h 690"/>
                <a:gd name="T62" fmla="*/ 2147483647 w 1037"/>
                <a:gd name="T63" fmla="*/ 2147483647 h 690"/>
                <a:gd name="T64" fmla="*/ 2147483647 w 1037"/>
                <a:gd name="T65" fmla="*/ 2147483647 h 690"/>
                <a:gd name="T66" fmla="*/ 2147483647 w 1037"/>
                <a:gd name="T67" fmla="*/ 2147483647 h 690"/>
                <a:gd name="T68" fmla="*/ 2147483647 w 1037"/>
                <a:gd name="T69" fmla="*/ 2147483647 h 690"/>
                <a:gd name="T70" fmla="*/ 2147483647 w 1037"/>
                <a:gd name="T71" fmla="*/ 2147483647 h 690"/>
                <a:gd name="T72" fmla="*/ 2147483647 w 1037"/>
                <a:gd name="T73" fmla="*/ 2147483647 h 690"/>
                <a:gd name="T74" fmla="*/ 2147483647 w 1037"/>
                <a:gd name="T75" fmla="*/ 2147483647 h 690"/>
                <a:gd name="T76" fmla="*/ 2147483647 w 1037"/>
                <a:gd name="T77" fmla="*/ 2147483647 h 690"/>
                <a:gd name="T78" fmla="*/ 2147483647 w 1037"/>
                <a:gd name="T79" fmla="*/ 2147483647 h 690"/>
                <a:gd name="T80" fmla="*/ 2147483647 w 1037"/>
                <a:gd name="T81" fmla="*/ 2147483647 h 690"/>
                <a:gd name="T82" fmla="*/ 2147483647 w 1037"/>
                <a:gd name="T83" fmla="*/ 2147483647 h 690"/>
                <a:gd name="T84" fmla="*/ 2147483647 w 1037"/>
                <a:gd name="T85" fmla="*/ 2147483647 h 690"/>
                <a:gd name="T86" fmla="*/ 2147483647 w 1037"/>
                <a:gd name="T87" fmla="*/ 2147483647 h 690"/>
                <a:gd name="T88" fmla="*/ 2147483647 w 1037"/>
                <a:gd name="T89" fmla="*/ 2147483647 h 690"/>
                <a:gd name="T90" fmla="*/ 2147483647 w 1037"/>
                <a:gd name="T91" fmla="*/ 2147483647 h 690"/>
                <a:gd name="T92" fmla="*/ 2147483647 w 1037"/>
                <a:gd name="T93" fmla="*/ 2147483647 h 690"/>
                <a:gd name="T94" fmla="*/ 2147483647 w 1037"/>
                <a:gd name="T95" fmla="*/ 2147483647 h 690"/>
                <a:gd name="T96" fmla="*/ 2147483647 w 1037"/>
                <a:gd name="T97" fmla="*/ 2147483647 h 690"/>
                <a:gd name="T98" fmla="*/ 2147483647 w 1037"/>
                <a:gd name="T99" fmla="*/ 2147483647 h 690"/>
                <a:gd name="T100" fmla="*/ 2147483647 w 1037"/>
                <a:gd name="T101" fmla="*/ 2147483647 h 690"/>
                <a:gd name="T102" fmla="*/ 2147483647 w 1037"/>
                <a:gd name="T103" fmla="*/ 2147483647 h 690"/>
                <a:gd name="T104" fmla="*/ 2147483647 w 1037"/>
                <a:gd name="T105" fmla="*/ 2147483647 h 690"/>
                <a:gd name="T106" fmla="*/ 2147483647 w 1037"/>
                <a:gd name="T107" fmla="*/ 2147483647 h 690"/>
                <a:gd name="T108" fmla="*/ 2147483647 w 1037"/>
                <a:gd name="T109" fmla="*/ 2147483647 h 690"/>
                <a:gd name="T110" fmla="*/ 2147483647 w 1037"/>
                <a:gd name="T111" fmla="*/ 2147483647 h 690"/>
                <a:gd name="T112" fmla="*/ 2147483647 w 1037"/>
                <a:gd name="T113" fmla="*/ 2147483647 h 690"/>
                <a:gd name="T114" fmla="*/ 2147483647 w 1037"/>
                <a:gd name="T115" fmla="*/ 2147483647 h 690"/>
                <a:gd name="T116" fmla="*/ 2147483647 w 1037"/>
                <a:gd name="T117" fmla="*/ 2147483647 h 690"/>
                <a:gd name="T118" fmla="*/ 2147483647 w 1037"/>
                <a:gd name="T119" fmla="*/ 2147483647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037"/>
                <a:gd name="T181" fmla="*/ 0 h 690"/>
                <a:gd name="T182" fmla="*/ 1037 w 1037"/>
                <a:gd name="T183" fmla="*/ 690 h 69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50" name="Freeform 228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4443413" y="2319338"/>
              <a:ext cx="49212" cy="90487"/>
            </a:xfrm>
            <a:custGeom>
              <a:avLst/>
              <a:gdLst>
                <a:gd name="T0" fmla="*/ 2147483647 w 120"/>
                <a:gd name="T1" fmla="*/ 2147483647 h 173"/>
                <a:gd name="T2" fmla="*/ 2147483647 w 120"/>
                <a:gd name="T3" fmla="*/ 2147483647 h 173"/>
                <a:gd name="T4" fmla="*/ 2147483647 w 120"/>
                <a:gd name="T5" fmla="*/ 2147483647 h 173"/>
                <a:gd name="T6" fmla="*/ 2147483647 w 120"/>
                <a:gd name="T7" fmla="*/ 2147483647 h 173"/>
                <a:gd name="T8" fmla="*/ 2147483647 w 120"/>
                <a:gd name="T9" fmla="*/ 2147483647 h 173"/>
                <a:gd name="T10" fmla="*/ 2147483647 w 120"/>
                <a:gd name="T11" fmla="*/ 2147483647 h 173"/>
                <a:gd name="T12" fmla="*/ 2147483647 w 120"/>
                <a:gd name="T13" fmla="*/ 2147483647 h 173"/>
                <a:gd name="T14" fmla="*/ 2147483647 w 120"/>
                <a:gd name="T15" fmla="*/ 2147483647 h 173"/>
                <a:gd name="T16" fmla="*/ 2147483647 w 120"/>
                <a:gd name="T17" fmla="*/ 0 h 173"/>
                <a:gd name="T18" fmla="*/ 2147483647 w 120"/>
                <a:gd name="T19" fmla="*/ 0 h 173"/>
                <a:gd name="T20" fmla="*/ 2147483647 w 120"/>
                <a:gd name="T21" fmla="*/ 2147483647 h 173"/>
                <a:gd name="T22" fmla="*/ 2147483647 w 120"/>
                <a:gd name="T23" fmla="*/ 2147483647 h 173"/>
                <a:gd name="T24" fmla="*/ 2147483647 w 120"/>
                <a:gd name="T25" fmla="*/ 2147483647 h 173"/>
                <a:gd name="T26" fmla="*/ 2147483647 w 120"/>
                <a:gd name="T27" fmla="*/ 2147483647 h 173"/>
                <a:gd name="T28" fmla="*/ 2147483647 w 120"/>
                <a:gd name="T29" fmla="*/ 2147483647 h 173"/>
                <a:gd name="T30" fmla="*/ 2147483647 w 120"/>
                <a:gd name="T31" fmla="*/ 2147483647 h 173"/>
                <a:gd name="T32" fmla="*/ 2147483647 w 120"/>
                <a:gd name="T33" fmla="*/ 2147483647 h 173"/>
                <a:gd name="T34" fmla="*/ 2147483647 w 120"/>
                <a:gd name="T35" fmla="*/ 2147483647 h 173"/>
                <a:gd name="T36" fmla="*/ 2147483647 w 120"/>
                <a:gd name="T37" fmla="*/ 2147483647 h 173"/>
                <a:gd name="T38" fmla="*/ 2147483647 w 120"/>
                <a:gd name="T39" fmla="*/ 2147483647 h 173"/>
                <a:gd name="T40" fmla="*/ 2147483647 w 120"/>
                <a:gd name="T41" fmla="*/ 2147483647 h 173"/>
                <a:gd name="T42" fmla="*/ 2147483647 w 120"/>
                <a:gd name="T43" fmla="*/ 2147483647 h 173"/>
                <a:gd name="T44" fmla="*/ 0 w 120"/>
                <a:gd name="T45" fmla="*/ 2147483647 h 173"/>
                <a:gd name="T46" fmla="*/ 2147483647 w 120"/>
                <a:gd name="T47" fmla="*/ 2147483647 h 173"/>
                <a:gd name="T48" fmla="*/ 2147483647 w 120"/>
                <a:gd name="T49" fmla="*/ 2147483647 h 173"/>
                <a:gd name="T50" fmla="*/ 2147483647 w 120"/>
                <a:gd name="T51" fmla="*/ 2147483647 h 173"/>
                <a:gd name="T52" fmla="*/ 2147483647 w 120"/>
                <a:gd name="T53" fmla="*/ 2147483647 h 173"/>
                <a:gd name="T54" fmla="*/ 2147483647 w 120"/>
                <a:gd name="T55" fmla="*/ 2147483647 h 173"/>
                <a:gd name="T56" fmla="*/ 2147483647 w 120"/>
                <a:gd name="T57" fmla="*/ 2147483647 h 173"/>
                <a:gd name="T58" fmla="*/ 2147483647 w 120"/>
                <a:gd name="T59" fmla="*/ 2147483647 h 173"/>
                <a:gd name="T60" fmla="*/ 2147483647 w 120"/>
                <a:gd name="T61" fmla="*/ 2147483647 h 173"/>
                <a:gd name="T62" fmla="*/ 2147483647 w 120"/>
                <a:gd name="T63" fmla="*/ 2147483647 h 173"/>
                <a:gd name="T64" fmla="*/ 2147483647 w 120"/>
                <a:gd name="T65" fmla="*/ 2147483647 h 173"/>
                <a:gd name="T66" fmla="*/ 2147483647 w 120"/>
                <a:gd name="T67" fmla="*/ 2147483647 h 173"/>
                <a:gd name="T68" fmla="*/ 2147483647 w 120"/>
                <a:gd name="T69" fmla="*/ 2147483647 h 173"/>
                <a:gd name="T70" fmla="*/ 2147483647 w 120"/>
                <a:gd name="T71" fmla="*/ 2147483647 h 173"/>
                <a:gd name="T72" fmla="*/ 2147483647 w 120"/>
                <a:gd name="T73" fmla="*/ 2147483647 h 173"/>
                <a:gd name="T74" fmla="*/ 2147483647 w 120"/>
                <a:gd name="T75" fmla="*/ 2147483647 h 173"/>
                <a:gd name="T76" fmla="*/ 2147483647 w 120"/>
                <a:gd name="T77" fmla="*/ 2147483647 h 173"/>
                <a:gd name="T78" fmla="*/ 2147483647 w 120"/>
                <a:gd name="T79" fmla="*/ 2147483647 h 173"/>
                <a:gd name="T80" fmla="*/ 2147483647 w 120"/>
                <a:gd name="T81" fmla="*/ 2147483647 h 173"/>
                <a:gd name="T82" fmla="*/ 2147483647 w 120"/>
                <a:gd name="T83" fmla="*/ 2147483647 h 173"/>
                <a:gd name="T84" fmla="*/ 2147483647 w 120"/>
                <a:gd name="T85" fmla="*/ 2147483647 h 173"/>
                <a:gd name="T86" fmla="*/ 2147483647 w 120"/>
                <a:gd name="T87" fmla="*/ 2147483647 h 173"/>
                <a:gd name="T88" fmla="*/ 2147483647 w 120"/>
                <a:gd name="T89" fmla="*/ 2147483647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20"/>
                <a:gd name="T136" fmla="*/ 0 h 173"/>
                <a:gd name="T137" fmla="*/ 120 w 120"/>
                <a:gd name="T138" fmla="*/ 173 h 17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51" name="Freeform 229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4151313" y="2159000"/>
              <a:ext cx="84137" cy="58738"/>
            </a:xfrm>
            <a:custGeom>
              <a:avLst/>
              <a:gdLst>
                <a:gd name="T0" fmla="*/ 2147483647 w 200"/>
                <a:gd name="T1" fmla="*/ 2147483647 h 98"/>
                <a:gd name="T2" fmla="*/ 2147483647 w 200"/>
                <a:gd name="T3" fmla="*/ 2147483647 h 98"/>
                <a:gd name="T4" fmla="*/ 2147483647 w 200"/>
                <a:gd name="T5" fmla="*/ 2147483647 h 98"/>
                <a:gd name="T6" fmla="*/ 2147483647 w 200"/>
                <a:gd name="T7" fmla="*/ 2147483647 h 98"/>
                <a:gd name="T8" fmla="*/ 2147483647 w 200"/>
                <a:gd name="T9" fmla="*/ 2147483647 h 98"/>
                <a:gd name="T10" fmla="*/ 2147483647 w 200"/>
                <a:gd name="T11" fmla="*/ 2147483647 h 98"/>
                <a:gd name="T12" fmla="*/ 2147483647 w 200"/>
                <a:gd name="T13" fmla="*/ 2147483647 h 98"/>
                <a:gd name="T14" fmla="*/ 2147483647 w 200"/>
                <a:gd name="T15" fmla="*/ 2147483647 h 98"/>
                <a:gd name="T16" fmla="*/ 2147483647 w 200"/>
                <a:gd name="T17" fmla="*/ 2147483647 h 98"/>
                <a:gd name="T18" fmla="*/ 2147483647 w 200"/>
                <a:gd name="T19" fmla="*/ 2147483647 h 98"/>
                <a:gd name="T20" fmla="*/ 2147483647 w 200"/>
                <a:gd name="T21" fmla="*/ 2147483647 h 98"/>
                <a:gd name="T22" fmla="*/ 2147483647 w 200"/>
                <a:gd name="T23" fmla="*/ 2147483647 h 98"/>
                <a:gd name="T24" fmla="*/ 2147483647 w 200"/>
                <a:gd name="T25" fmla="*/ 2147483647 h 98"/>
                <a:gd name="T26" fmla="*/ 2147483647 w 200"/>
                <a:gd name="T27" fmla="*/ 2147483647 h 98"/>
                <a:gd name="T28" fmla="*/ 2147483647 w 200"/>
                <a:gd name="T29" fmla="*/ 2147483647 h 98"/>
                <a:gd name="T30" fmla="*/ 2147483647 w 200"/>
                <a:gd name="T31" fmla="*/ 2147483647 h 98"/>
                <a:gd name="T32" fmla="*/ 2147483647 w 200"/>
                <a:gd name="T33" fmla="*/ 2147483647 h 98"/>
                <a:gd name="T34" fmla="*/ 2147483647 w 200"/>
                <a:gd name="T35" fmla="*/ 2147483647 h 98"/>
                <a:gd name="T36" fmla="*/ 2147483647 w 200"/>
                <a:gd name="T37" fmla="*/ 2147483647 h 98"/>
                <a:gd name="T38" fmla="*/ 2147483647 w 200"/>
                <a:gd name="T39" fmla="*/ 2147483647 h 98"/>
                <a:gd name="T40" fmla="*/ 2147483647 w 200"/>
                <a:gd name="T41" fmla="*/ 2147483647 h 98"/>
                <a:gd name="T42" fmla="*/ 2147483647 w 200"/>
                <a:gd name="T43" fmla="*/ 2147483647 h 98"/>
                <a:gd name="T44" fmla="*/ 2147483647 w 200"/>
                <a:gd name="T45" fmla="*/ 2147483647 h 98"/>
                <a:gd name="T46" fmla="*/ 2147483647 w 200"/>
                <a:gd name="T47" fmla="*/ 2147483647 h 98"/>
                <a:gd name="T48" fmla="*/ 2147483647 w 200"/>
                <a:gd name="T49" fmla="*/ 2147483647 h 98"/>
                <a:gd name="T50" fmla="*/ 2147483647 w 200"/>
                <a:gd name="T51" fmla="*/ 2147483647 h 98"/>
                <a:gd name="T52" fmla="*/ 2147483647 w 200"/>
                <a:gd name="T53" fmla="*/ 2147483647 h 98"/>
                <a:gd name="T54" fmla="*/ 2147483647 w 200"/>
                <a:gd name="T55" fmla="*/ 2147483647 h 98"/>
                <a:gd name="T56" fmla="*/ 2147483647 w 200"/>
                <a:gd name="T57" fmla="*/ 2147483647 h 98"/>
                <a:gd name="T58" fmla="*/ 2147483647 w 200"/>
                <a:gd name="T59" fmla="*/ 2147483647 h 98"/>
                <a:gd name="T60" fmla="*/ 2147483647 w 200"/>
                <a:gd name="T61" fmla="*/ 2147483647 h 98"/>
                <a:gd name="T62" fmla="*/ 0 w 200"/>
                <a:gd name="T63" fmla="*/ 2147483647 h 98"/>
                <a:gd name="T64" fmla="*/ 2147483647 w 200"/>
                <a:gd name="T65" fmla="*/ 2147483647 h 98"/>
                <a:gd name="T66" fmla="*/ 2147483647 w 200"/>
                <a:gd name="T67" fmla="*/ 2147483647 h 98"/>
                <a:gd name="T68" fmla="*/ 2147483647 w 200"/>
                <a:gd name="T69" fmla="*/ 2147483647 h 98"/>
                <a:gd name="T70" fmla="*/ 2147483647 w 200"/>
                <a:gd name="T71" fmla="*/ 2147483647 h 98"/>
                <a:gd name="T72" fmla="*/ 2147483647 w 200"/>
                <a:gd name="T73" fmla="*/ 2147483647 h 98"/>
                <a:gd name="T74" fmla="*/ 2147483647 w 200"/>
                <a:gd name="T75" fmla="*/ 2147483647 h 98"/>
                <a:gd name="T76" fmla="*/ 2147483647 w 200"/>
                <a:gd name="T77" fmla="*/ 2147483647 h 98"/>
                <a:gd name="T78" fmla="*/ 2147483647 w 200"/>
                <a:gd name="T79" fmla="*/ 2147483647 h 98"/>
                <a:gd name="T80" fmla="*/ 2147483647 w 200"/>
                <a:gd name="T81" fmla="*/ 2147483647 h 98"/>
                <a:gd name="T82" fmla="*/ 2147483647 w 200"/>
                <a:gd name="T83" fmla="*/ 2147483647 h 98"/>
                <a:gd name="T84" fmla="*/ 2147483647 w 200"/>
                <a:gd name="T85" fmla="*/ 2147483647 h 98"/>
                <a:gd name="T86" fmla="*/ 2147483647 w 200"/>
                <a:gd name="T87" fmla="*/ 0 h 98"/>
                <a:gd name="T88" fmla="*/ 2147483647 w 200"/>
                <a:gd name="T89" fmla="*/ 2147483647 h 98"/>
                <a:gd name="T90" fmla="*/ 2147483647 w 200"/>
                <a:gd name="T91" fmla="*/ 2147483647 h 98"/>
                <a:gd name="T92" fmla="*/ 2147483647 w 200"/>
                <a:gd name="T93" fmla="*/ 2147483647 h 98"/>
                <a:gd name="T94" fmla="*/ 2147483647 w 200"/>
                <a:gd name="T95" fmla="*/ 2147483647 h 98"/>
                <a:gd name="T96" fmla="*/ 2147483647 w 200"/>
                <a:gd name="T97" fmla="*/ 2147483647 h 98"/>
                <a:gd name="T98" fmla="*/ 2147483647 w 200"/>
                <a:gd name="T99" fmla="*/ 2147483647 h 98"/>
                <a:gd name="T100" fmla="*/ 2147483647 w 200"/>
                <a:gd name="T101" fmla="*/ 2147483647 h 98"/>
                <a:gd name="T102" fmla="*/ 2147483647 w 200"/>
                <a:gd name="T103" fmla="*/ 2147483647 h 98"/>
                <a:gd name="T104" fmla="*/ 2147483647 w 200"/>
                <a:gd name="T105" fmla="*/ 2147483647 h 98"/>
                <a:gd name="T106" fmla="*/ 2147483647 w 200"/>
                <a:gd name="T107" fmla="*/ 2147483647 h 98"/>
                <a:gd name="T108" fmla="*/ 2147483647 w 200"/>
                <a:gd name="T109" fmla="*/ 2147483647 h 98"/>
                <a:gd name="T110" fmla="*/ 2147483647 w 200"/>
                <a:gd name="T111" fmla="*/ 2147483647 h 98"/>
                <a:gd name="T112" fmla="*/ 2147483647 w 200"/>
                <a:gd name="T113" fmla="*/ 2147483647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00"/>
                <a:gd name="T172" fmla="*/ 0 h 98"/>
                <a:gd name="T173" fmla="*/ 200 w 200"/>
                <a:gd name="T174" fmla="*/ 98 h 9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52" name="Freeform 230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4089400" y="1978025"/>
              <a:ext cx="84138" cy="73025"/>
            </a:xfrm>
            <a:custGeom>
              <a:avLst/>
              <a:gdLst>
                <a:gd name="T0" fmla="*/ 0 w 186"/>
                <a:gd name="T1" fmla="*/ 2147483647 h 142"/>
                <a:gd name="T2" fmla="*/ 2147483647 w 186"/>
                <a:gd name="T3" fmla="*/ 2147483647 h 142"/>
                <a:gd name="T4" fmla="*/ 2147483647 w 186"/>
                <a:gd name="T5" fmla="*/ 2147483647 h 142"/>
                <a:gd name="T6" fmla="*/ 2147483647 w 186"/>
                <a:gd name="T7" fmla="*/ 2147483647 h 142"/>
                <a:gd name="T8" fmla="*/ 2147483647 w 186"/>
                <a:gd name="T9" fmla="*/ 2147483647 h 142"/>
                <a:gd name="T10" fmla="*/ 2147483647 w 186"/>
                <a:gd name="T11" fmla="*/ 2147483647 h 142"/>
                <a:gd name="T12" fmla="*/ 2147483647 w 186"/>
                <a:gd name="T13" fmla="*/ 2147483647 h 142"/>
                <a:gd name="T14" fmla="*/ 2147483647 w 186"/>
                <a:gd name="T15" fmla="*/ 2147483647 h 142"/>
                <a:gd name="T16" fmla="*/ 2147483647 w 186"/>
                <a:gd name="T17" fmla="*/ 2147483647 h 142"/>
                <a:gd name="T18" fmla="*/ 2147483647 w 186"/>
                <a:gd name="T19" fmla="*/ 2147483647 h 142"/>
                <a:gd name="T20" fmla="*/ 2147483647 w 186"/>
                <a:gd name="T21" fmla="*/ 2147483647 h 142"/>
                <a:gd name="T22" fmla="*/ 2147483647 w 186"/>
                <a:gd name="T23" fmla="*/ 2147483647 h 142"/>
                <a:gd name="T24" fmla="*/ 2147483647 w 186"/>
                <a:gd name="T25" fmla="*/ 2147483647 h 142"/>
                <a:gd name="T26" fmla="*/ 2147483647 w 186"/>
                <a:gd name="T27" fmla="*/ 2147483647 h 142"/>
                <a:gd name="T28" fmla="*/ 2147483647 w 186"/>
                <a:gd name="T29" fmla="*/ 2147483647 h 142"/>
                <a:gd name="T30" fmla="*/ 2147483647 w 186"/>
                <a:gd name="T31" fmla="*/ 2147483647 h 142"/>
                <a:gd name="T32" fmla="*/ 2147483647 w 186"/>
                <a:gd name="T33" fmla="*/ 2147483647 h 142"/>
                <a:gd name="T34" fmla="*/ 2147483647 w 186"/>
                <a:gd name="T35" fmla="*/ 2147483647 h 142"/>
                <a:gd name="T36" fmla="*/ 2147483647 w 186"/>
                <a:gd name="T37" fmla="*/ 2147483647 h 142"/>
                <a:gd name="T38" fmla="*/ 2147483647 w 186"/>
                <a:gd name="T39" fmla="*/ 2147483647 h 142"/>
                <a:gd name="T40" fmla="*/ 2147483647 w 186"/>
                <a:gd name="T41" fmla="*/ 2147483647 h 142"/>
                <a:gd name="T42" fmla="*/ 2147483647 w 186"/>
                <a:gd name="T43" fmla="*/ 2147483647 h 142"/>
                <a:gd name="T44" fmla="*/ 2147483647 w 186"/>
                <a:gd name="T45" fmla="*/ 2147483647 h 142"/>
                <a:gd name="T46" fmla="*/ 2147483647 w 186"/>
                <a:gd name="T47" fmla="*/ 2147483647 h 142"/>
                <a:gd name="T48" fmla="*/ 2147483647 w 186"/>
                <a:gd name="T49" fmla="*/ 2147483647 h 142"/>
                <a:gd name="T50" fmla="*/ 2147483647 w 186"/>
                <a:gd name="T51" fmla="*/ 2147483647 h 142"/>
                <a:gd name="T52" fmla="*/ 2147483647 w 186"/>
                <a:gd name="T53" fmla="*/ 2147483647 h 142"/>
                <a:gd name="T54" fmla="*/ 2147483647 w 186"/>
                <a:gd name="T55" fmla="*/ 2147483647 h 142"/>
                <a:gd name="T56" fmla="*/ 2147483647 w 186"/>
                <a:gd name="T57" fmla="*/ 2147483647 h 142"/>
                <a:gd name="T58" fmla="*/ 2147483647 w 186"/>
                <a:gd name="T59" fmla="*/ 2147483647 h 142"/>
                <a:gd name="T60" fmla="*/ 2147483647 w 186"/>
                <a:gd name="T61" fmla="*/ 2147483647 h 142"/>
                <a:gd name="T62" fmla="*/ 2147483647 w 186"/>
                <a:gd name="T63" fmla="*/ 2147483647 h 142"/>
                <a:gd name="T64" fmla="*/ 2147483647 w 186"/>
                <a:gd name="T65" fmla="*/ 2147483647 h 142"/>
                <a:gd name="T66" fmla="*/ 2147483647 w 186"/>
                <a:gd name="T67" fmla="*/ 2147483647 h 142"/>
                <a:gd name="T68" fmla="*/ 2147483647 w 186"/>
                <a:gd name="T69" fmla="*/ 2147483647 h 142"/>
                <a:gd name="T70" fmla="*/ 2147483647 w 186"/>
                <a:gd name="T71" fmla="*/ 2147483647 h 142"/>
                <a:gd name="T72" fmla="*/ 2147483647 w 186"/>
                <a:gd name="T73" fmla="*/ 2147483647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42"/>
                <a:gd name="T113" fmla="*/ 186 w 186"/>
                <a:gd name="T114" fmla="*/ 142 h 14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53" name="Freeform 231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4070350" y="2041525"/>
              <a:ext cx="84138" cy="57150"/>
            </a:xfrm>
            <a:custGeom>
              <a:avLst/>
              <a:gdLst>
                <a:gd name="T0" fmla="*/ 2147483647 w 192"/>
                <a:gd name="T1" fmla="*/ 2147483647 h 105"/>
                <a:gd name="T2" fmla="*/ 2147483647 w 192"/>
                <a:gd name="T3" fmla="*/ 2147483647 h 105"/>
                <a:gd name="T4" fmla="*/ 2147483647 w 192"/>
                <a:gd name="T5" fmla="*/ 2147483647 h 105"/>
                <a:gd name="T6" fmla="*/ 2147483647 w 192"/>
                <a:gd name="T7" fmla="*/ 2147483647 h 105"/>
                <a:gd name="T8" fmla="*/ 2147483647 w 192"/>
                <a:gd name="T9" fmla="*/ 2147483647 h 105"/>
                <a:gd name="T10" fmla="*/ 2147483647 w 192"/>
                <a:gd name="T11" fmla="*/ 2147483647 h 105"/>
                <a:gd name="T12" fmla="*/ 2147483647 w 192"/>
                <a:gd name="T13" fmla="*/ 2147483647 h 105"/>
                <a:gd name="T14" fmla="*/ 2147483647 w 192"/>
                <a:gd name="T15" fmla="*/ 2147483647 h 105"/>
                <a:gd name="T16" fmla="*/ 2147483647 w 192"/>
                <a:gd name="T17" fmla="*/ 2147483647 h 105"/>
                <a:gd name="T18" fmla="*/ 2147483647 w 192"/>
                <a:gd name="T19" fmla="*/ 2147483647 h 105"/>
                <a:gd name="T20" fmla="*/ 2147483647 w 192"/>
                <a:gd name="T21" fmla="*/ 2147483647 h 105"/>
                <a:gd name="T22" fmla="*/ 2147483647 w 192"/>
                <a:gd name="T23" fmla="*/ 2147483647 h 105"/>
                <a:gd name="T24" fmla="*/ 2147483647 w 192"/>
                <a:gd name="T25" fmla="*/ 2147483647 h 105"/>
                <a:gd name="T26" fmla="*/ 2147483647 w 192"/>
                <a:gd name="T27" fmla="*/ 2147483647 h 105"/>
                <a:gd name="T28" fmla="*/ 2147483647 w 192"/>
                <a:gd name="T29" fmla="*/ 2147483647 h 105"/>
                <a:gd name="T30" fmla="*/ 2147483647 w 192"/>
                <a:gd name="T31" fmla="*/ 2147483647 h 105"/>
                <a:gd name="T32" fmla="*/ 2147483647 w 192"/>
                <a:gd name="T33" fmla="*/ 2147483647 h 105"/>
                <a:gd name="T34" fmla="*/ 2147483647 w 192"/>
                <a:gd name="T35" fmla="*/ 2147483647 h 105"/>
                <a:gd name="T36" fmla="*/ 0 w 192"/>
                <a:gd name="T37" fmla="*/ 2147483647 h 105"/>
                <a:gd name="T38" fmla="*/ 0 w 192"/>
                <a:gd name="T39" fmla="*/ 2147483647 h 105"/>
                <a:gd name="T40" fmla="*/ 2147483647 w 192"/>
                <a:gd name="T41" fmla="*/ 2147483647 h 105"/>
                <a:gd name="T42" fmla="*/ 2147483647 w 192"/>
                <a:gd name="T43" fmla="*/ 2147483647 h 105"/>
                <a:gd name="T44" fmla="*/ 2147483647 w 192"/>
                <a:gd name="T45" fmla="*/ 2147483647 h 105"/>
                <a:gd name="T46" fmla="*/ 2147483647 w 192"/>
                <a:gd name="T47" fmla="*/ 0 h 105"/>
                <a:gd name="T48" fmla="*/ 2147483647 w 192"/>
                <a:gd name="T49" fmla="*/ 2147483647 h 105"/>
                <a:gd name="T50" fmla="*/ 2147483647 w 192"/>
                <a:gd name="T51" fmla="*/ 2147483647 h 105"/>
                <a:gd name="T52" fmla="*/ 2147483647 w 192"/>
                <a:gd name="T53" fmla="*/ 2147483647 h 105"/>
                <a:gd name="T54" fmla="*/ 2147483647 w 192"/>
                <a:gd name="T55" fmla="*/ 2147483647 h 105"/>
                <a:gd name="T56" fmla="*/ 2147483647 w 192"/>
                <a:gd name="T57" fmla="*/ 2147483647 h 105"/>
                <a:gd name="T58" fmla="*/ 2147483647 w 192"/>
                <a:gd name="T59" fmla="*/ 2147483647 h 105"/>
                <a:gd name="T60" fmla="*/ 2147483647 w 192"/>
                <a:gd name="T61" fmla="*/ 2147483647 h 105"/>
                <a:gd name="T62" fmla="*/ 2147483647 w 192"/>
                <a:gd name="T63" fmla="*/ 2147483647 h 105"/>
                <a:gd name="T64" fmla="*/ 2147483647 w 192"/>
                <a:gd name="T65" fmla="*/ 2147483647 h 105"/>
                <a:gd name="T66" fmla="*/ 2147483647 w 192"/>
                <a:gd name="T67" fmla="*/ 2147483647 h 105"/>
                <a:gd name="T68" fmla="*/ 2147483647 w 192"/>
                <a:gd name="T69" fmla="*/ 2147483647 h 105"/>
                <a:gd name="T70" fmla="*/ 2147483647 w 192"/>
                <a:gd name="T71" fmla="*/ 2147483647 h 105"/>
                <a:gd name="T72" fmla="*/ 2147483647 w 192"/>
                <a:gd name="T73" fmla="*/ 2147483647 h 105"/>
                <a:gd name="T74" fmla="*/ 2147483647 w 192"/>
                <a:gd name="T75" fmla="*/ 2147483647 h 105"/>
                <a:gd name="T76" fmla="*/ 2147483647 w 192"/>
                <a:gd name="T77" fmla="*/ 2147483647 h 105"/>
                <a:gd name="T78" fmla="*/ 2147483647 w 192"/>
                <a:gd name="T79" fmla="*/ 2147483647 h 105"/>
                <a:gd name="T80" fmla="*/ 2147483647 w 192"/>
                <a:gd name="T81" fmla="*/ 2147483647 h 105"/>
                <a:gd name="T82" fmla="*/ 2147483647 w 192"/>
                <a:gd name="T83" fmla="*/ 2147483647 h 105"/>
                <a:gd name="T84" fmla="*/ 2147483647 w 192"/>
                <a:gd name="T85" fmla="*/ 2147483647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92"/>
                <a:gd name="T130" fmla="*/ 0 h 105"/>
                <a:gd name="T131" fmla="*/ 192 w 192"/>
                <a:gd name="T132" fmla="*/ 105 h 10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56" name="Freeform 232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4831420" y="2596201"/>
              <a:ext cx="32261" cy="131723"/>
            </a:xfrm>
            <a:custGeom>
              <a:avLst/>
              <a:gdLst>
                <a:gd name="T0" fmla="*/ 2147483647 w 80"/>
                <a:gd name="T1" fmla="*/ 0 h 254"/>
                <a:gd name="T2" fmla="*/ 2147483647 w 80"/>
                <a:gd name="T3" fmla="*/ 279056416 h 254"/>
                <a:gd name="T4" fmla="*/ 2147483647 w 80"/>
                <a:gd name="T5" fmla="*/ 558381544 h 254"/>
                <a:gd name="T6" fmla="*/ 2147483647 w 80"/>
                <a:gd name="T7" fmla="*/ 977100329 h 254"/>
                <a:gd name="T8" fmla="*/ 2147483647 w 80"/>
                <a:gd name="T9" fmla="*/ 1395819374 h 254"/>
                <a:gd name="T10" fmla="*/ 2147483647 w 80"/>
                <a:gd name="T11" fmla="*/ 2147483647 h 254"/>
                <a:gd name="T12" fmla="*/ 2147483647 w 80"/>
                <a:gd name="T13" fmla="*/ 2147483647 h 254"/>
                <a:gd name="T14" fmla="*/ 2147483647 w 80"/>
                <a:gd name="T15" fmla="*/ 2147483647 h 254"/>
                <a:gd name="T16" fmla="*/ 2147483647 w 80"/>
                <a:gd name="T17" fmla="*/ 2147483647 h 254"/>
                <a:gd name="T18" fmla="*/ 2147483647 w 80"/>
                <a:gd name="T19" fmla="*/ 2147483647 h 254"/>
                <a:gd name="T20" fmla="*/ 2147483647 w 80"/>
                <a:gd name="T21" fmla="*/ 2147483647 h 254"/>
                <a:gd name="T22" fmla="*/ 2147483647 w 80"/>
                <a:gd name="T23" fmla="*/ 2147483647 h 254"/>
                <a:gd name="T24" fmla="*/ 2147483647 w 80"/>
                <a:gd name="T25" fmla="*/ 2147483647 h 254"/>
                <a:gd name="T26" fmla="*/ 2147483647 w 80"/>
                <a:gd name="T27" fmla="*/ 2147483647 h 254"/>
                <a:gd name="T28" fmla="*/ 2147483647 w 80"/>
                <a:gd name="T29" fmla="*/ 2147483647 h 254"/>
                <a:gd name="T30" fmla="*/ 2147483647 w 80"/>
                <a:gd name="T31" fmla="*/ 2147483647 h 254"/>
                <a:gd name="T32" fmla="*/ 0 w 80"/>
                <a:gd name="T33" fmla="*/ 2147483647 h 254"/>
                <a:gd name="T34" fmla="*/ 289473499 w 80"/>
                <a:gd name="T35" fmla="*/ 2147483647 h 254"/>
                <a:gd name="T36" fmla="*/ 796008289 w 80"/>
                <a:gd name="T37" fmla="*/ 2147483647 h 254"/>
                <a:gd name="T38" fmla="*/ 1230131080 w 80"/>
                <a:gd name="T39" fmla="*/ 2147483647 h 254"/>
                <a:gd name="T40" fmla="*/ 1592016579 w 80"/>
                <a:gd name="T41" fmla="*/ 2147483647 h 254"/>
                <a:gd name="T42" fmla="*/ 2026139578 w 80"/>
                <a:gd name="T43" fmla="*/ 2147483647 h 254"/>
                <a:gd name="T44" fmla="*/ 2147483647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80"/>
                <a:gd name="T70" fmla="*/ 0 h 254"/>
                <a:gd name="T71" fmla="*/ 80 w 80"/>
                <a:gd name="T72" fmla="*/ 254 h 25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US" altLang="en-US" sz="1800" baseline="-25000" smtClean="0"/>
            </a:p>
          </p:txBody>
        </p:sp>
        <p:sp>
          <p:nvSpPr>
            <p:cNvPr id="15555" name="Freeform 233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4779963" y="2647950"/>
              <a:ext cx="69850" cy="130175"/>
            </a:xfrm>
            <a:custGeom>
              <a:avLst/>
              <a:gdLst>
                <a:gd name="T0" fmla="*/ 2147483647 w 167"/>
                <a:gd name="T1" fmla="*/ 0 h 259"/>
                <a:gd name="T2" fmla="*/ 2147483647 w 167"/>
                <a:gd name="T3" fmla="*/ 2147483647 h 259"/>
                <a:gd name="T4" fmla="*/ 2147483647 w 167"/>
                <a:gd name="T5" fmla="*/ 2147483647 h 259"/>
                <a:gd name="T6" fmla="*/ 2147483647 w 167"/>
                <a:gd name="T7" fmla="*/ 2147483647 h 259"/>
                <a:gd name="T8" fmla="*/ 2147483647 w 167"/>
                <a:gd name="T9" fmla="*/ 2147483647 h 259"/>
                <a:gd name="T10" fmla="*/ 2147483647 w 167"/>
                <a:gd name="T11" fmla="*/ 2147483647 h 259"/>
                <a:gd name="T12" fmla="*/ 2147483647 w 167"/>
                <a:gd name="T13" fmla="*/ 2147483647 h 259"/>
                <a:gd name="T14" fmla="*/ 2147483647 w 167"/>
                <a:gd name="T15" fmla="*/ 2147483647 h 259"/>
                <a:gd name="T16" fmla="*/ 2147483647 w 167"/>
                <a:gd name="T17" fmla="*/ 2147483647 h 259"/>
                <a:gd name="T18" fmla="*/ 2147483647 w 167"/>
                <a:gd name="T19" fmla="*/ 2147483647 h 259"/>
                <a:gd name="T20" fmla="*/ 2147483647 w 167"/>
                <a:gd name="T21" fmla="*/ 2147483647 h 259"/>
                <a:gd name="T22" fmla="*/ 2147483647 w 167"/>
                <a:gd name="T23" fmla="*/ 2147483647 h 259"/>
                <a:gd name="T24" fmla="*/ 2147483647 w 167"/>
                <a:gd name="T25" fmla="*/ 2147483647 h 259"/>
                <a:gd name="T26" fmla="*/ 2147483647 w 167"/>
                <a:gd name="T27" fmla="*/ 2147483647 h 259"/>
                <a:gd name="T28" fmla="*/ 2147483647 w 167"/>
                <a:gd name="T29" fmla="*/ 2147483647 h 259"/>
                <a:gd name="T30" fmla="*/ 2147483647 w 167"/>
                <a:gd name="T31" fmla="*/ 2147483647 h 259"/>
                <a:gd name="T32" fmla="*/ 2147483647 w 167"/>
                <a:gd name="T33" fmla="*/ 2147483647 h 259"/>
                <a:gd name="T34" fmla="*/ 2147483647 w 167"/>
                <a:gd name="T35" fmla="*/ 2147483647 h 259"/>
                <a:gd name="T36" fmla="*/ 2147483647 w 167"/>
                <a:gd name="T37" fmla="*/ 2147483647 h 259"/>
                <a:gd name="T38" fmla="*/ 2147483647 w 167"/>
                <a:gd name="T39" fmla="*/ 2147483647 h 259"/>
                <a:gd name="T40" fmla="*/ 2147483647 w 167"/>
                <a:gd name="T41" fmla="*/ 2147483647 h 259"/>
                <a:gd name="T42" fmla="*/ 2147483647 w 167"/>
                <a:gd name="T43" fmla="*/ 2147483647 h 259"/>
                <a:gd name="T44" fmla="*/ 2147483647 w 167"/>
                <a:gd name="T45" fmla="*/ 2147483647 h 259"/>
                <a:gd name="T46" fmla="*/ 2147483647 w 167"/>
                <a:gd name="T47" fmla="*/ 2147483647 h 259"/>
                <a:gd name="T48" fmla="*/ 2147483647 w 167"/>
                <a:gd name="T49" fmla="*/ 2147483647 h 259"/>
                <a:gd name="T50" fmla="*/ 2147483647 w 167"/>
                <a:gd name="T51" fmla="*/ 2147483647 h 259"/>
                <a:gd name="T52" fmla="*/ 2147483647 w 167"/>
                <a:gd name="T53" fmla="*/ 2147483647 h 259"/>
                <a:gd name="T54" fmla="*/ 2147483647 w 167"/>
                <a:gd name="T55" fmla="*/ 2147483647 h 259"/>
                <a:gd name="T56" fmla="*/ 2147483647 w 167"/>
                <a:gd name="T57" fmla="*/ 2147483647 h 259"/>
                <a:gd name="T58" fmla="*/ 2147483647 w 167"/>
                <a:gd name="T59" fmla="*/ 2147483647 h 259"/>
                <a:gd name="T60" fmla="*/ 2147483647 w 167"/>
                <a:gd name="T61" fmla="*/ 2147483647 h 259"/>
                <a:gd name="T62" fmla="*/ 2147483647 w 167"/>
                <a:gd name="T63" fmla="*/ 2147483647 h 259"/>
                <a:gd name="T64" fmla="*/ 2147483647 w 167"/>
                <a:gd name="T65" fmla="*/ 2147483647 h 259"/>
                <a:gd name="T66" fmla="*/ 0 w 167"/>
                <a:gd name="T67" fmla="*/ 2147483647 h 259"/>
                <a:gd name="T68" fmla="*/ 0 w 167"/>
                <a:gd name="T69" fmla="*/ 2147483647 h 259"/>
                <a:gd name="T70" fmla="*/ 0 w 167"/>
                <a:gd name="T71" fmla="*/ 2147483647 h 259"/>
                <a:gd name="T72" fmla="*/ 2147483647 w 167"/>
                <a:gd name="T73" fmla="*/ 2147483647 h 259"/>
                <a:gd name="T74" fmla="*/ 2147483647 w 167"/>
                <a:gd name="T75" fmla="*/ 2147483647 h 259"/>
                <a:gd name="T76" fmla="*/ 2147483647 w 167"/>
                <a:gd name="T77" fmla="*/ 2147483647 h 259"/>
                <a:gd name="T78" fmla="*/ 2147483647 w 167"/>
                <a:gd name="T79" fmla="*/ 2147483647 h 259"/>
                <a:gd name="T80" fmla="*/ 2147483647 w 167"/>
                <a:gd name="T81" fmla="*/ 2147483647 h 259"/>
                <a:gd name="T82" fmla="*/ 2147483647 w 167"/>
                <a:gd name="T83" fmla="*/ 2147483647 h 259"/>
                <a:gd name="T84" fmla="*/ 2147483647 w 167"/>
                <a:gd name="T85" fmla="*/ 2147483647 h 259"/>
                <a:gd name="T86" fmla="*/ 2147483647 w 167"/>
                <a:gd name="T87" fmla="*/ 2147483647 h 259"/>
                <a:gd name="T88" fmla="*/ 2147483647 w 167"/>
                <a:gd name="T89" fmla="*/ 2147483647 h 259"/>
                <a:gd name="T90" fmla="*/ 2147483647 w 167"/>
                <a:gd name="T91" fmla="*/ 2147483647 h 259"/>
                <a:gd name="T92" fmla="*/ 2147483647 w 167"/>
                <a:gd name="T93" fmla="*/ 2147483647 h 259"/>
                <a:gd name="T94" fmla="*/ 2147483647 w 167"/>
                <a:gd name="T95" fmla="*/ 2147483647 h 259"/>
                <a:gd name="T96" fmla="*/ 2147483647 w 167"/>
                <a:gd name="T97" fmla="*/ 2147483647 h 259"/>
                <a:gd name="T98" fmla="*/ 2147483647 w 167"/>
                <a:gd name="T99" fmla="*/ 2147483647 h 259"/>
                <a:gd name="T100" fmla="*/ 2147483647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67"/>
                <a:gd name="T154" fmla="*/ 0 h 259"/>
                <a:gd name="T155" fmla="*/ 167 w 167"/>
                <a:gd name="T156" fmla="*/ 259 h 2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56" name="Freeform 234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3781425" y="1901825"/>
              <a:ext cx="96838" cy="144463"/>
            </a:xfrm>
            <a:custGeom>
              <a:avLst/>
              <a:gdLst>
                <a:gd name="T0" fmla="*/ 2147483647 w 225"/>
                <a:gd name="T1" fmla="*/ 2147483647 h 273"/>
                <a:gd name="T2" fmla="*/ 2147483647 w 225"/>
                <a:gd name="T3" fmla="*/ 2147483647 h 273"/>
                <a:gd name="T4" fmla="*/ 2147483647 w 225"/>
                <a:gd name="T5" fmla="*/ 2147483647 h 273"/>
                <a:gd name="T6" fmla="*/ 2147483647 w 225"/>
                <a:gd name="T7" fmla="*/ 2147483647 h 273"/>
                <a:gd name="T8" fmla="*/ 2147483647 w 225"/>
                <a:gd name="T9" fmla="*/ 2147483647 h 273"/>
                <a:gd name="T10" fmla="*/ 2147483647 w 225"/>
                <a:gd name="T11" fmla="*/ 2147483647 h 273"/>
                <a:gd name="T12" fmla="*/ 2147483647 w 225"/>
                <a:gd name="T13" fmla="*/ 2147483647 h 273"/>
                <a:gd name="T14" fmla="*/ 2147483647 w 225"/>
                <a:gd name="T15" fmla="*/ 2147483647 h 273"/>
                <a:gd name="T16" fmla="*/ 2147483647 w 225"/>
                <a:gd name="T17" fmla="*/ 2147483647 h 273"/>
                <a:gd name="T18" fmla="*/ 2147483647 w 225"/>
                <a:gd name="T19" fmla="*/ 2147483647 h 273"/>
                <a:gd name="T20" fmla="*/ 2147483647 w 225"/>
                <a:gd name="T21" fmla="*/ 2147483647 h 273"/>
                <a:gd name="T22" fmla="*/ 2147483647 w 225"/>
                <a:gd name="T23" fmla="*/ 2147483647 h 273"/>
                <a:gd name="T24" fmla="*/ 2147483647 w 225"/>
                <a:gd name="T25" fmla="*/ 2147483647 h 273"/>
                <a:gd name="T26" fmla="*/ 2147483647 w 225"/>
                <a:gd name="T27" fmla="*/ 2147483647 h 273"/>
                <a:gd name="T28" fmla="*/ 2147483647 w 225"/>
                <a:gd name="T29" fmla="*/ 2147483647 h 273"/>
                <a:gd name="T30" fmla="*/ 2147483647 w 225"/>
                <a:gd name="T31" fmla="*/ 2147483647 h 273"/>
                <a:gd name="T32" fmla="*/ 2147483647 w 225"/>
                <a:gd name="T33" fmla="*/ 2147483647 h 273"/>
                <a:gd name="T34" fmla="*/ 2147483647 w 225"/>
                <a:gd name="T35" fmla="*/ 2147483647 h 273"/>
                <a:gd name="T36" fmla="*/ 2147483647 w 225"/>
                <a:gd name="T37" fmla="*/ 2147483647 h 273"/>
                <a:gd name="T38" fmla="*/ 2147483647 w 225"/>
                <a:gd name="T39" fmla="*/ 2147483647 h 273"/>
                <a:gd name="T40" fmla="*/ 0 w 225"/>
                <a:gd name="T41" fmla="*/ 2147483647 h 273"/>
                <a:gd name="T42" fmla="*/ 2147483647 w 225"/>
                <a:gd name="T43" fmla="*/ 2147483647 h 273"/>
                <a:gd name="T44" fmla="*/ 2147483647 w 225"/>
                <a:gd name="T45" fmla="*/ 2147483647 h 273"/>
                <a:gd name="T46" fmla="*/ 2147483647 w 225"/>
                <a:gd name="T47" fmla="*/ 2147483647 h 273"/>
                <a:gd name="T48" fmla="*/ 2147483647 w 225"/>
                <a:gd name="T49" fmla="*/ 2147483647 h 273"/>
                <a:gd name="T50" fmla="*/ 2147483647 w 225"/>
                <a:gd name="T51" fmla="*/ 2147483647 h 273"/>
                <a:gd name="T52" fmla="*/ 2147483647 w 225"/>
                <a:gd name="T53" fmla="*/ 2147483647 h 273"/>
                <a:gd name="T54" fmla="*/ 2147483647 w 225"/>
                <a:gd name="T55" fmla="*/ 2147483647 h 273"/>
                <a:gd name="T56" fmla="*/ 2147483647 w 225"/>
                <a:gd name="T57" fmla="*/ 2147483647 h 273"/>
                <a:gd name="T58" fmla="*/ 2147483647 w 225"/>
                <a:gd name="T59" fmla="*/ 2147483647 h 273"/>
                <a:gd name="T60" fmla="*/ 2147483647 w 225"/>
                <a:gd name="T61" fmla="*/ 2147483647 h 273"/>
                <a:gd name="T62" fmla="*/ 2147483647 w 225"/>
                <a:gd name="T63" fmla="*/ 2147483647 h 273"/>
                <a:gd name="T64" fmla="*/ 2147483647 w 225"/>
                <a:gd name="T65" fmla="*/ 2147483647 h 273"/>
                <a:gd name="T66" fmla="*/ 2147483647 w 225"/>
                <a:gd name="T67" fmla="*/ 2147483647 h 273"/>
                <a:gd name="T68" fmla="*/ 2147483647 w 225"/>
                <a:gd name="T69" fmla="*/ 2147483647 h 273"/>
                <a:gd name="T70" fmla="*/ 2147483647 w 225"/>
                <a:gd name="T71" fmla="*/ 2147483647 h 273"/>
                <a:gd name="T72" fmla="*/ 2147483647 w 225"/>
                <a:gd name="T73" fmla="*/ 2147483647 h 273"/>
                <a:gd name="T74" fmla="*/ 2147483647 w 225"/>
                <a:gd name="T75" fmla="*/ 2147483647 h 273"/>
                <a:gd name="T76" fmla="*/ 2147483647 w 225"/>
                <a:gd name="T77" fmla="*/ 2147483647 h 273"/>
                <a:gd name="T78" fmla="*/ 2147483647 w 225"/>
                <a:gd name="T79" fmla="*/ 2147483647 h 273"/>
                <a:gd name="T80" fmla="*/ 2147483647 w 225"/>
                <a:gd name="T81" fmla="*/ 2147483647 h 273"/>
                <a:gd name="T82" fmla="*/ 2147483647 w 225"/>
                <a:gd name="T83" fmla="*/ 2147483647 h 273"/>
                <a:gd name="T84" fmla="*/ 2147483647 w 225"/>
                <a:gd name="T85" fmla="*/ 2147483647 h 273"/>
                <a:gd name="T86" fmla="*/ 2147483647 w 225"/>
                <a:gd name="T87" fmla="*/ 2147483647 h 273"/>
                <a:gd name="T88" fmla="*/ 2147483647 w 225"/>
                <a:gd name="T89" fmla="*/ 2147483647 h 273"/>
                <a:gd name="T90" fmla="*/ 2147483647 w 225"/>
                <a:gd name="T91" fmla="*/ 2147483647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25"/>
                <a:gd name="T139" fmla="*/ 0 h 273"/>
                <a:gd name="T140" fmla="*/ 225 w 225"/>
                <a:gd name="T141" fmla="*/ 273 h 27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57" name="Freeform 235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3594100" y="2813050"/>
              <a:ext cx="306388" cy="390525"/>
            </a:xfrm>
            <a:custGeom>
              <a:avLst/>
              <a:gdLst>
                <a:gd name="T0" fmla="*/ 2147483647 w 232"/>
                <a:gd name="T1" fmla="*/ 2147483647 h 248"/>
                <a:gd name="T2" fmla="*/ 2147483647 w 232"/>
                <a:gd name="T3" fmla="*/ 2147483647 h 248"/>
                <a:gd name="T4" fmla="*/ 2147483647 w 232"/>
                <a:gd name="T5" fmla="*/ 2147483647 h 248"/>
                <a:gd name="T6" fmla="*/ 2147483647 w 232"/>
                <a:gd name="T7" fmla="*/ 2147483647 h 248"/>
                <a:gd name="T8" fmla="*/ 2147483647 w 232"/>
                <a:gd name="T9" fmla="*/ 2147483647 h 248"/>
                <a:gd name="T10" fmla="*/ 2147483647 w 232"/>
                <a:gd name="T11" fmla="*/ 2147483647 h 248"/>
                <a:gd name="T12" fmla="*/ 2147483647 w 232"/>
                <a:gd name="T13" fmla="*/ 2147483647 h 248"/>
                <a:gd name="T14" fmla="*/ 2147483647 w 232"/>
                <a:gd name="T15" fmla="*/ 2147483647 h 248"/>
                <a:gd name="T16" fmla="*/ 2147483647 w 232"/>
                <a:gd name="T17" fmla="*/ 2147483647 h 248"/>
                <a:gd name="T18" fmla="*/ 2147483647 w 232"/>
                <a:gd name="T19" fmla="*/ 2147483647 h 248"/>
                <a:gd name="T20" fmla="*/ 2147483647 w 232"/>
                <a:gd name="T21" fmla="*/ 2147483647 h 248"/>
                <a:gd name="T22" fmla="*/ 2147483647 w 232"/>
                <a:gd name="T23" fmla="*/ 2147483647 h 248"/>
                <a:gd name="T24" fmla="*/ 2147483647 w 232"/>
                <a:gd name="T25" fmla="*/ 2147483647 h 248"/>
                <a:gd name="T26" fmla="*/ 2147483647 w 232"/>
                <a:gd name="T27" fmla="*/ 2147483647 h 248"/>
                <a:gd name="T28" fmla="*/ 2147483647 w 232"/>
                <a:gd name="T29" fmla="*/ 2147483647 h 248"/>
                <a:gd name="T30" fmla="*/ 2147483647 w 232"/>
                <a:gd name="T31" fmla="*/ 2147483647 h 248"/>
                <a:gd name="T32" fmla="*/ 2147483647 w 232"/>
                <a:gd name="T33" fmla="*/ 2147483647 h 248"/>
                <a:gd name="T34" fmla="*/ 2147483647 w 232"/>
                <a:gd name="T35" fmla="*/ 2147483647 h 248"/>
                <a:gd name="T36" fmla="*/ 2147483647 w 232"/>
                <a:gd name="T37" fmla="*/ 2147483647 h 248"/>
                <a:gd name="T38" fmla="*/ 2147483647 w 232"/>
                <a:gd name="T39" fmla="*/ 2147483647 h 248"/>
                <a:gd name="T40" fmla="*/ 2147483647 w 232"/>
                <a:gd name="T41" fmla="*/ 2147483647 h 248"/>
                <a:gd name="T42" fmla="*/ 2147483647 w 232"/>
                <a:gd name="T43" fmla="*/ 2147483647 h 248"/>
                <a:gd name="T44" fmla="*/ 2147483647 w 232"/>
                <a:gd name="T45" fmla="*/ 2147483647 h 248"/>
                <a:gd name="T46" fmla="*/ 2147483647 w 232"/>
                <a:gd name="T47" fmla="*/ 2147483647 h 248"/>
                <a:gd name="T48" fmla="*/ 2147483647 w 232"/>
                <a:gd name="T49" fmla="*/ 2147483647 h 248"/>
                <a:gd name="T50" fmla="*/ 2147483647 w 232"/>
                <a:gd name="T51" fmla="*/ 2147483647 h 248"/>
                <a:gd name="T52" fmla="*/ 2147483647 w 232"/>
                <a:gd name="T53" fmla="*/ 2147483647 h 248"/>
                <a:gd name="T54" fmla="*/ 2147483647 w 232"/>
                <a:gd name="T55" fmla="*/ 2147483647 h 248"/>
                <a:gd name="T56" fmla="*/ 2147483647 w 232"/>
                <a:gd name="T57" fmla="*/ 2147483647 h 248"/>
                <a:gd name="T58" fmla="*/ 2147483647 w 232"/>
                <a:gd name="T59" fmla="*/ 2147483647 h 248"/>
                <a:gd name="T60" fmla="*/ 2147483647 w 232"/>
                <a:gd name="T61" fmla="*/ 2147483647 h 248"/>
                <a:gd name="T62" fmla="*/ 2147483647 w 232"/>
                <a:gd name="T63" fmla="*/ 2147483647 h 248"/>
                <a:gd name="T64" fmla="*/ 2147483647 w 232"/>
                <a:gd name="T65" fmla="*/ 2147483647 h 248"/>
                <a:gd name="T66" fmla="*/ 2147483647 w 232"/>
                <a:gd name="T67" fmla="*/ 2147483647 h 248"/>
                <a:gd name="T68" fmla="*/ 2147483647 w 232"/>
                <a:gd name="T69" fmla="*/ 2147483647 h 248"/>
                <a:gd name="T70" fmla="*/ 2147483647 w 232"/>
                <a:gd name="T71" fmla="*/ 2147483647 h 248"/>
                <a:gd name="T72" fmla="*/ 2147483647 w 232"/>
                <a:gd name="T73" fmla="*/ 2147483647 h 248"/>
                <a:gd name="T74" fmla="*/ 2147483647 w 232"/>
                <a:gd name="T75" fmla="*/ 2147483647 h 248"/>
                <a:gd name="T76" fmla="*/ 2147483647 w 232"/>
                <a:gd name="T77" fmla="*/ 2147483647 h 248"/>
                <a:gd name="T78" fmla="*/ 2147483647 w 232"/>
                <a:gd name="T79" fmla="*/ 2147483647 h 248"/>
                <a:gd name="T80" fmla="*/ 2147483647 w 232"/>
                <a:gd name="T81" fmla="*/ 2147483647 h 248"/>
                <a:gd name="T82" fmla="*/ 2147483647 w 232"/>
                <a:gd name="T83" fmla="*/ 2147483647 h 248"/>
                <a:gd name="T84" fmla="*/ 2147483647 w 232"/>
                <a:gd name="T85" fmla="*/ 2147483647 h 248"/>
                <a:gd name="T86" fmla="*/ 2147483647 w 232"/>
                <a:gd name="T87" fmla="*/ 2147483647 h 248"/>
                <a:gd name="T88" fmla="*/ 2147483647 w 232"/>
                <a:gd name="T89" fmla="*/ 2147483647 h 248"/>
                <a:gd name="T90" fmla="*/ 2147483647 w 232"/>
                <a:gd name="T91" fmla="*/ 2147483647 h 248"/>
                <a:gd name="T92" fmla="*/ 2147483647 w 232"/>
                <a:gd name="T93" fmla="*/ 2147483647 h 248"/>
                <a:gd name="T94" fmla="*/ 2147483647 w 232"/>
                <a:gd name="T95" fmla="*/ 2147483647 h 248"/>
                <a:gd name="T96" fmla="*/ 2147483647 w 232"/>
                <a:gd name="T97" fmla="*/ 2147483647 h 248"/>
                <a:gd name="T98" fmla="*/ 2147483647 w 232"/>
                <a:gd name="T99" fmla="*/ 2147483647 h 248"/>
                <a:gd name="T100" fmla="*/ 2147483647 w 232"/>
                <a:gd name="T101" fmla="*/ 2147483647 h 248"/>
                <a:gd name="T102" fmla="*/ 2147483647 w 232"/>
                <a:gd name="T103" fmla="*/ 2147483647 h 248"/>
                <a:gd name="T104" fmla="*/ 2147483647 w 232"/>
                <a:gd name="T105" fmla="*/ 2147483647 h 248"/>
                <a:gd name="T106" fmla="*/ 2147483647 w 232"/>
                <a:gd name="T107" fmla="*/ 2147483647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32"/>
                <a:gd name="T163" fmla="*/ 0 h 248"/>
                <a:gd name="T164" fmla="*/ 232 w 232"/>
                <a:gd name="T165" fmla="*/ 248 h 24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58" name="Freeform 236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3709988" y="2873375"/>
              <a:ext cx="414337" cy="468313"/>
            </a:xfrm>
            <a:custGeom>
              <a:avLst/>
              <a:gdLst>
                <a:gd name="T0" fmla="*/ 2147483647 w 948"/>
                <a:gd name="T1" fmla="*/ 2147483647 h 893"/>
                <a:gd name="T2" fmla="*/ 2147483647 w 948"/>
                <a:gd name="T3" fmla="*/ 2147483647 h 893"/>
                <a:gd name="T4" fmla="*/ 2147483647 w 948"/>
                <a:gd name="T5" fmla="*/ 2147483647 h 893"/>
                <a:gd name="T6" fmla="*/ 2147483647 w 948"/>
                <a:gd name="T7" fmla="*/ 2147483647 h 893"/>
                <a:gd name="T8" fmla="*/ 2147483647 w 948"/>
                <a:gd name="T9" fmla="*/ 2147483647 h 893"/>
                <a:gd name="T10" fmla="*/ 2147483647 w 948"/>
                <a:gd name="T11" fmla="*/ 2147483647 h 893"/>
                <a:gd name="T12" fmla="*/ 2147483647 w 948"/>
                <a:gd name="T13" fmla="*/ 2147483647 h 893"/>
                <a:gd name="T14" fmla="*/ 2147483647 w 948"/>
                <a:gd name="T15" fmla="*/ 2147483647 h 893"/>
                <a:gd name="T16" fmla="*/ 2147483647 w 948"/>
                <a:gd name="T17" fmla="*/ 2147483647 h 893"/>
                <a:gd name="T18" fmla="*/ 2147483647 w 948"/>
                <a:gd name="T19" fmla="*/ 2147483647 h 893"/>
                <a:gd name="T20" fmla="*/ 2147483647 w 948"/>
                <a:gd name="T21" fmla="*/ 2147483647 h 893"/>
                <a:gd name="T22" fmla="*/ 2147483647 w 948"/>
                <a:gd name="T23" fmla="*/ 2147483647 h 893"/>
                <a:gd name="T24" fmla="*/ 2147483647 w 948"/>
                <a:gd name="T25" fmla="*/ 2147483647 h 893"/>
                <a:gd name="T26" fmla="*/ 2147483647 w 948"/>
                <a:gd name="T27" fmla="*/ 2147483647 h 893"/>
                <a:gd name="T28" fmla="*/ 2147483647 w 948"/>
                <a:gd name="T29" fmla="*/ 2147483647 h 893"/>
                <a:gd name="T30" fmla="*/ 2147483647 w 948"/>
                <a:gd name="T31" fmla="*/ 2147483647 h 893"/>
                <a:gd name="T32" fmla="*/ 2147483647 w 948"/>
                <a:gd name="T33" fmla="*/ 2147483647 h 893"/>
                <a:gd name="T34" fmla="*/ 2147483647 w 948"/>
                <a:gd name="T35" fmla="*/ 2147483647 h 893"/>
                <a:gd name="T36" fmla="*/ 2147483647 w 948"/>
                <a:gd name="T37" fmla="*/ 2147483647 h 893"/>
                <a:gd name="T38" fmla="*/ 2147483647 w 948"/>
                <a:gd name="T39" fmla="*/ 2147483647 h 893"/>
                <a:gd name="T40" fmla="*/ 2147483647 w 948"/>
                <a:gd name="T41" fmla="*/ 2147483647 h 893"/>
                <a:gd name="T42" fmla="*/ 2147483647 w 948"/>
                <a:gd name="T43" fmla="*/ 2147483647 h 893"/>
                <a:gd name="T44" fmla="*/ 2147483647 w 948"/>
                <a:gd name="T45" fmla="*/ 2147483647 h 893"/>
                <a:gd name="T46" fmla="*/ 2147483647 w 948"/>
                <a:gd name="T47" fmla="*/ 2147483647 h 893"/>
                <a:gd name="T48" fmla="*/ 2147483647 w 948"/>
                <a:gd name="T49" fmla="*/ 2147483647 h 893"/>
                <a:gd name="T50" fmla="*/ 2147483647 w 948"/>
                <a:gd name="T51" fmla="*/ 2147483647 h 893"/>
                <a:gd name="T52" fmla="*/ 2147483647 w 948"/>
                <a:gd name="T53" fmla="*/ 2147483647 h 893"/>
                <a:gd name="T54" fmla="*/ 2147483647 w 948"/>
                <a:gd name="T55" fmla="*/ 2147483647 h 893"/>
                <a:gd name="T56" fmla="*/ 2147483647 w 948"/>
                <a:gd name="T57" fmla="*/ 2147483647 h 893"/>
                <a:gd name="T58" fmla="*/ 2147483647 w 948"/>
                <a:gd name="T59" fmla="*/ 2147483647 h 893"/>
                <a:gd name="T60" fmla="*/ 2147483647 w 948"/>
                <a:gd name="T61" fmla="*/ 2147483647 h 893"/>
                <a:gd name="T62" fmla="*/ 2147483647 w 948"/>
                <a:gd name="T63" fmla="*/ 2147483647 h 893"/>
                <a:gd name="T64" fmla="*/ 2147483647 w 948"/>
                <a:gd name="T65" fmla="*/ 2147483647 h 893"/>
                <a:gd name="T66" fmla="*/ 2147483647 w 948"/>
                <a:gd name="T67" fmla="*/ 2147483647 h 893"/>
                <a:gd name="T68" fmla="*/ 2147483647 w 948"/>
                <a:gd name="T69" fmla="*/ 2147483647 h 893"/>
                <a:gd name="T70" fmla="*/ 2147483647 w 948"/>
                <a:gd name="T71" fmla="*/ 2147483647 h 893"/>
                <a:gd name="T72" fmla="*/ 2147483647 w 948"/>
                <a:gd name="T73" fmla="*/ 2147483647 h 893"/>
                <a:gd name="T74" fmla="*/ 2147483647 w 948"/>
                <a:gd name="T75" fmla="*/ 2147483647 h 893"/>
                <a:gd name="T76" fmla="*/ 2147483647 w 948"/>
                <a:gd name="T77" fmla="*/ 2147483647 h 893"/>
                <a:gd name="T78" fmla="*/ 2147483647 w 948"/>
                <a:gd name="T79" fmla="*/ 2147483647 h 893"/>
                <a:gd name="T80" fmla="*/ 2147483647 w 948"/>
                <a:gd name="T81" fmla="*/ 2147483647 h 893"/>
                <a:gd name="T82" fmla="*/ 2147483647 w 948"/>
                <a:gd name="T83" fmla="*/ 2147483647 h 893"/>
                <a:gd name="T84" fmla="*/ 2147483647 w 948"/>
                <a:gd name="T85" fmla="*/ 2147483647 h 893"/>
                <a:gd name="T86" fmla="*/ 2147483647 w 948"/>
                <a:gd name="T87" fmla="*/ 2147483647 h 893"/>
                <a:gd name="T88" fmla="*/ 2147483647 w 948"/>
                <a:gd name="T89" fmla="*/ 2147483647 h 893"/>
                <a:gd name="T90" fmla="*/ 2147483647 w 948"/>
                <a:gd name="T91" fmla="*/ 2147483647 h 893"/>
                <a:gd name="T92" fmla="*/ 2147483647 w 948"/>
                <a:gd name="T93" fmla="*/ 2147483647 h 893"/>
                <a:gd name="T94" fmla="*/ 2147483647 w 948"/>
                <a:gd name="T95" fmla="*/ 2147483647 h 893"/>
                <a:gd name="T96" fmla="*/ 2147483647 w 948"/>
                <a:gd name="T97" fmla="*/ 2147483647 h 893"/>
                <a:gd name="T98" fmla="*/ 2147483647 w 948"/>
                <a:gd name="T99" fmla="*/ 2147483647 h 893"/>
                <a:gd name="T100" fmla="*/ 2147483647 w 948"/>
                <a:gd name="T101" fmla="*/ 2147483647 h 893"/>
                <a:gd name="T102" fmla="*/ 2147483647 w 948"/>
                <a:gd name="T103" fmla="*/ 2147483647 h 893"/>
                <a:gd name="T104" fmla="*/ 2147483647 w 948"/>
                <a:gd name="T105" fmla="*/ 2147483647 h 893"/>
                <a:gd name="T106" fmla="*/ 2147483647 w 948"/>
                <a:gd name="T107" fmla="*/ 2147483647 h 893"/>
                <a:gd name="T108" fmla="*/ 2147483647 w 948"/>
                <a:gd name="T109" fmla="*/ 2147483647 h 893"/>
                <a:gd name="T110" fmla="*/ 2147483647 w 948"/>
                <a:gd name="T111" fmla="*/ 2147483647 h 893"/>
                <a:gd name="T112" fmla="*/ 2147483647 w 948"/>
                <a:gd name="T113" fmla="*/ 2147483647 h 893"/>
                <a:gd name="T114" fmla="*/ 2147483647 w 948"/>
                <a:gd name="T115" fmla="*/ 2147483647 h 893"/>
                <a:gd name="T116" fmla="*/ 2147483647 w 948"/>
                <a:gd name="T117" fmla="*/ 2147483647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48"/>
                <a:gd name="T178" fmla="*/ 0 h 893"/>
                <a:gd name="T179" fmla="*/ 948 w 948"/>
                <a:gd name="T180" fmla="*/ 893 h 89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59" name="Freeform 237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3808413" y="2479675"/>
              <a:ext cx="493712" cy="579438"/>
            </a:xfrm>
            <a:custGeom>
              <a:avLst/>
              <a:gdLst>
                <a:gd name="T0" fmla="*/ 2147483647 w 373"/>
                <a:gd name="T1" fmla="*/ 2147483647 h 370"/>
                <a:gd name="T2" fmla="*/ 2147483647 w 373"/>
                <a:gd name="T3" fmla="*/ 2147483647 h 370"/>
                <a:gd name="T4" fmla="*/ 2147483647 w 373"/>
                <a:gd name="T5" fmla="*/ 2147483647 h 370"/>
                <a:gd name="T6" fmla="*/ 2147483647 w 373"/>
                <a:gd name="T7" fmla="*/ 2147483647 h 370"/>
                <a:gd name="T8" fmla="*/ 2147483647 w 373"/>
                <a:gd name="T9" fmla="*/ 2147483647 h 370"/>
                <a:gd name="T10" fmla="*/ 2147483647 w 373"/>
                <a:gd name="T11" fmla="*/ 2147483647 h 370"/>
                <a:gd name="T12" fmla="*/ 2147483647 w 373"/>
                <a:gd name="T13" fmla="*/ 2147483647 h 370"/>
                <a:gd name="T14" fmla="*/ 2147483647 w 373"/>
                <a:gd name="T15" fmla="*/ 2147483647 h 370"/>
                <a:gd name="T16" fmla="*/ 2147483647 w 373"/>
                <a:gd name="T17" fmla="*/ 2147483647 h 370"/>
                <a:gd name="T18" fmla="*/ 2147483647 w 373"/>
                <a:gd name="T19" fmla="*/ 2147483647 h 370"/>
                <a:gd name="T20" fmla="*/ 2147483647 w 373"/>
                <a:gd name="T21" fmla="*/ 2147483647 h 370"/>
                <a:gd name="T22" fmla="*/ 2147483647 w 373"/>
                <a:gd name="T23" fmla="*/ 2147483647 h 370"/>
                <a:gd name="T24" fmla="*/ 2147483647 w 373"/>
                <a:gd name="T25" fmla="*/ 2147483647 h 370"/>
                <a:gd name="T26" fmla="*/ 2147483647 w 373"/>
                <a:gd name="T27" fmla="*/ 2147483647 h 370"/>
                <a:gd name="T28" fmla="*/ 2147483647 w 373"/>
                <a:gd name="T29" fmla="*/ 2147483647 h 370"/>
                <a:gd name="T30" fmla="*/ 2147483647 w 373"/>
                <a:gd name="T31" fmla="*/ 2147483647 h 370"/>
                <a:gd name="T32" fmla="*/ 2147483647 w 373"/>
                <a:gd name="T33" fmla="*/ 2147483647 h 370"/>
                <a:gd name="T34" fmla="*/ 2147483647 w 373"/>
                <a:gd name="T35" fmla="*/ 2147483647 h 370"/>
                <a:gd name="T36" fmla="*/ 2147483647 w 373"/>
                <a:gd name="T37" fmla="*/ 2147483647 h 370"/>
                <a:gd name="T38" fmla="*/ 2147483647 w 373"/>
                <a:gd name="T39" fmla="*/ 2147483647 h 370"/>
                <a:gd name="T40" fmla="*/ 2147483647 w 373"/>
                <a:gd name="T41" fmla="*/ 2147483647 h 370"/>
                <a:gd name="T42" fmla="*/ 2147483647 w 373"/>
                <a:gd name="T43" fmla="*/ 2147483647 h 370"/>
                <a:gd name="T44" fmla="*/ 2147483647 w 373"/>
                <a:gd name="T45" fmla="*/ 2147483647 h 370"/>
                <a:gd name="T46" fmla="*/ 2147483647 w 373"/>
                <a:gd name="T47" fmla="*/ 2147483647 h 370"/>
                <a:gd name="T48" fmla="*/ 2147483647 w 373"/>
                <a:gd name="T49" fmla="*/ 2147483647 h 370"/>
                <a:gd name="T50" fmla="*/ 2147483647 w 373"/>
                <a:gd name="T51" fmla="*/ 2147483647 h 370"/>
                <a:gd name="T52" fmla="*/ 2147483647 w 373"/>
                <a:gd name="T53" fmla="*/ 2147483647 h 370"/>
                <a:gd name="T54" fmla="*/ 2147483647 w 373"/>
                <a:gd name="T55" fmla="*/ 2147483647 h 370"/>
                <a:gd name="T56" fmla="*/ 2147483647 w 373"/>
                <a:gd name="T57" fmla="*/ 2147483647 h 370"/>
                <a:gd name="T58" fmla="*/ 2147483647 w 373"/>
                <a:gd name="T59" fmla="*/ 2147483647 h 370"/>
                <a:gd name="T60" fmla="*/ 2147483647 w 373"/>
                <a:gd name="T61" fmla="*/ 2147483647 h 370"/>
                <a:gd name="T62" fmla="*/ 2147483647 w 373"/>
                <a:gd name="T63" fmla="*/ 2147483647 h 370"/>
                <a:gd name="T64" fmla="*/ 2147483647 w 373"/>
                <a:gd name="T65" fmla="*/ 2147483647 h 370"/>
                <a:gd name="T66" fmla="*/ 2147483647 w 373"/>
                <a:gd name="T67" fmla="*/ 2147483647 h 370"/>
                <a:gd name="T68" fmla="*/ 2147483647 w 373"/>
                <a:gd name="T69" fmla="*/ 2147483647 h 370"/>
                <a:gd name="T70" fmla="*/ 2147483647 w 373"/>
                <a:gd name="T71" fmla="*/ 2147483647 h 370"/>
                <a:gd name="T72" fmla="*/ 2147483647 w 373"/>
                <a:gd name="T73" fmla="*/ 2147483647 h 370"/>
                <a:gd name="T74" fmla="*/ 2147483647 w 373"/>
                <a:gd name="T75" fmla="*/ 2147483647 h 370"/>
                <a:gd name="T76" fmla="*/ 2147483647 w 373"/>
                <a:gd name="T77" fmla="*/ 2147483647 h 370"/>
                <a:gd name="T78" fmla="*/ 2147483647 w 373"/>
                <a:gd name="T79" fmla="*/ 2147483647 h 370"/>
                <a:gd name="T80" fmla="*/ 2147483647 w 373"/>
                <a:gd name="T81" fmla="*/ 2147483647 h 370"/>
                <a:gd name="T82" fmla="*/ 2147483647 w 373"/>
                <a:gd name="T83" fmla="*/ 2147483647 h 370"/>
                <a:gd name="T84" fmla="*/ 2147483647 w 373"/>
                <a:gd name="T85" fmla="*/ 2147483647 h 370"/>
                <a:gd name="T86" fmla="*/ 2147483647 w 373"/>
                <a:gd name="T87" fmla="*/ 2147483647 h 370"/>
                <a:gd name="T88" fmla="*/ 0 w 373"/>
                <a:gd name="T89" fmla="*/ 2147483647 h 370"/>
                <a:gd name="T90" fmla="*/ 2147483647 w 373"/>
                <a:gd name="T91" fmla="*/ 2147483647 h 370"/>
                <a:gd name="T92" fmla="*/ 2147483647 w 373"/>
                <a:gd name="T93" fmla="*/ 2147483647 h 370"/>
                <a:gd name="T94" fmla="*/ 2147483647 w 373"/>
                <a:gd name="T95" fmla="*/ 2147483647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3"/>
                <a:gd name="T145" fmla="*/ 0 h 370"/>
                <a:gd name="T146" fmla="*/ 373 w 373"/>
                <a:gd name="T147" fmla="*/ 370 h 3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60" name="Freeform 238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4244975" y="2614613"/>
              <a:ext cx="384175" cy="436562"/>
            </a:xfrm>
            <a:custGeom>
              <a:avLst/>
              <a:gdLst>
                <a:gd name="T0" fmla="*/ 2147483647 w 877"/>
                <a:gd name="T1" fmla="*/ 2147483647 h 826"/>
                <a:gd name="T2" fmla="*/ 2147483647 w 877"/>
                <a:gd name="T3" fmla="*/ 2147483647 h 826"/>
                <a:gd name="T4" fmla="*/ 2147483647 w 877"/>
                <a:gd name="T5" fmla="*/ 2147483647 h 826"/>
                <a:gd name="T6" fmla="*/ 2147483647 w 877"/>
                <a:gd name="T7" fmla="*/ 2147483647 h 826"/>
                <a:gd name="T8" fmla="*/ 2147483647 w 877"/>
                <a:gd name="T9" fmla="*/ 2147483647 h 826"/>
                <a:gd name="T10" fmla="*/ 2147483647 w 877"/>
                <a:gd name="T11" fmla="*/ 2147483647 h 826"/>
                <a:gd name="T12" fmla="*/ 2147483647 w 877"/>
                <a:gd name="T13" fmla="*/ 2147483647 h 826"/>
                <a:gd name="T14" fmla="*/ 2147483647 w 877"/>
                <a:gd name="T15" fmla="*/ 2147483647 h 826"/>
                <a:gd name="T16" fmla="*/ 2147483647 w 877"/>
                <a:gd name="T17" fmla="*/ 2147483647 h 826"/>
                <a:gd name="T18" fmla="*/ 2147483647 w 877"/>
                <a:gd name="T19" fmla="*/ 2147483647 h 826"/>
                <a:gd name="T20" fmla="*/ 2147483647 w 877"/>
                <a:gd name="T21" fmla="*/ 2147483647 h 826"/>
                <a:gd name="T22" fmla="*/ 2147483647 w 877"/>
                <a:gd name="T23" fmla="*/ 2147483647 h 826"/>
                <a:gd name="T24" fmla="*/ 2147483647 w 877"/>
                <a:gd name="T25" fmla="*/ 2147483647 h 826"/>
                <a:gd name="T26" fmla="*/ 2147483647 w 877"/>
                <a:gd name="T27" fmla="*/ 2147483647 h 826"/>
                <a:gd name="T28" fmla="*/ 2147483647 w 877"/>
                <a:gd name="T29" fmla="*/ 2147483647 h 826"/>
                <a:gd name="T30" fmla="*/ 2147483647 w 877"/>
                <a:gd name="T31" fmla="*/ 2147483647 h 826"/>
                <a:gd name="T32" fmla="*/ 2147483647 w 877"/>
                <a:gd name="T33" fmla="*/ 2147483647 h 826"/>
                <a:gd name="T34" fmla="*/ 2147483647 w 877"/>
                <a:gd name="T35" fmla="*/ 2147483647 h 826"/>
                <a:gd name="T36" fmla="*/ 2147483647 w 877"/>
                <a:gd name="T37" fmla="*/ 2147483647 h 826"/>
                <a:gd name="T38" fmla="*/ 2147483647 w 877"/>
                <a:gd name="T39" fmla="*/ 2147483647 h 826"/>
                <a:gd name="T40" fmla="*/ 2147483647 w 877"/>
                <a:gd name="T41" fmla="*/ 2147483647 h 826"/>
                <a:gd name="T42" fmla="*/ 2147483647 w 877"/>
                <a:gd name="T43" fmla="*/ 2147483647 h 826"/>
                <a:gd name="T44" fmla="*/ 2147483647 w 877"/>
                <a:gd name="T45" fmla="*/ 2147483647 h 826"/>
                <a:gd name="T46" fmla="*/ 2147483647 w 877"/>
                <a:gd name="T47" fmla="*/ 0 h 826"/>
                <a:gd name="T48" fmla="*/ 2147483647 w 877"/>
                <a:gd name="T49" fmla="*/ 2147483647 h 826"/>
                <a:gd name="T50" fmla="*/ 2147483647 w 877"/>
                <a:gd name="T51" fmla="*/ 2147483647 h 826"/>
                <a:gd name="T52" fmla="*/ 2147483647 w 877"/>
                <a:gd name="T53" fmla="*/ 2147483647 h 826"/>
                <a:gd name="T54" fmla="*/ 2147483647 w 877"/>
                <a:gd name="T55" fmla="*/ 2147483647 h 826"/>
                <a:gd name="T56" fmla="*/ 2147483647 w 877"/>
                <a:gd name="T57" fmla="*/ 2147483647 h 826"/>
                <a:gd name="T58" fmla="*/ 2147483647 w 877"/>
                <a:gd name="T59" fmla="*/ 2147483647 h 826"/>
                <a:gd name="T60" fmla="*/ 2147483647 w 877"/>
                <a:gd name="T61" fmla="*/ 2147483647 h 826"/>
                <a:gd name="T62" fmla="*/ 2147483647 w 877"/>
                <a:gd name="T63" fmla="*/ 2147483647 h 826"/>
                <a:gd name="T64" fmla="*/ 2147483647 w 877"/>
                <a:gd name="T65" fmla="*/ 2147483647 h 826"/>
                <a:gd name="T66" fmla="*/ 2147483647 w 877"/>
                <a:gd name="T67" fmla="*/ 2147483647 h 826"/>
                <a:gd name="T68" fmla="*/ 2147483647 w 877"/>
                <a:gd name="T69" fmla="*/ 2147483647 h 826"/>
                <a:gd name="T70" fmla="*/ 2147483647 w 877"/>
                <a:gd name="T71" fmla="*/ 2147483647 h 826"/>
                <a:gd name="T72" fmla="*/ 2147483647 w 877"/>
                <a:gd name="T73" fmla="*/ 2147483647 h 826"/>
                <a:gd name="T74" fmla="*/ 2147483647 w 877"/>
                <a:gd name="T75" fmla="*/ 2147483647 h 826"/>
                <a:gd name="T76" fmla="*/ 2147483647 w 877"/>
                <a:gd name="T77" fmla="*/ 2147483647 h 826"/>
                <a:gd name="T78" fmla="*/ 2147483647 w 877"/>
                <a:gd name="T79" fmla="*/ 2147483647 h 826"/>
                <a:gd name="T80" fmla="*/ 2147483647 w 877"/>
                <a:gd name="T81" fmla="*/ 2147483647 h 826"/>
                <a:gd name="T82" fmla="*/ 2147483647 w 877"/>
                <a:gd name="T83" fmla="*/ 2147483647 h 826"/>
                <a:gd name="T84" fmla="*/ 2147483647 w 877"/>
                <a:gd name="T85" fmla="*/ 2147483647 h 826"/>
                <a:gd name="T86" fmla="*/ 2147483647 w 877"/>
                <a:gd name="T87" fmla="*/ 2147483647 h 826"/>
                <a:gd name="T88" fmla="*/ 2147483647 w 877"/>
                <a:gd name="T89" fmla="*/ 2147483647 h 826"/>
                <a:gd name="T90" fmla="*/ 2147483647 w 877"/>
                <a:gd name="T91" fmla="*/ 2147483647 h 826"/>
                <a:gd name="T92" fmla="*/ 2147483647 w 877"/>
                <a:gd name="T93" fmla="*/ 2147483647 h 826"/>
                <a:gd name="T94" fmla="*/ 2147483647 w 877"/>
                <a:gd name="T95" fmla="*/ 2147483647 h 826"/>
                <a:gd name="T96" fmla="*/ 2147483647 w 877"/>
                <a:gd name="T97" fmla="*/ 2147483647 h 826"/>
                <a:gd name="T98" fmla="*/ 2147483647 w 877"/>
                <a:gd name="T99" fmla="*/ 2147483647 h 826"/>
                <a:gd name="T100" fmla="*/ 2147483647 w 877"/>
                <a:gd name="T101" fmla="*/ 2147483647 h 826"/>
                <a:gd name="T102" fmla="*/ 2147483647 w 877"/>
                <a:gd name="T103" fmla="*/ 2147483647 h 826"/>
                <a:gd name="T104" fmla="*/ 2147483647 w 877"/>
                <a:gd name="T105" fmla="*/ 2147483647 h 826"/>
                <a:gd name="T106" fmla="*/ 2147483647 w 877"/>
                <a:gd name="T107" fmla="*/ 2147483647 h 826"/>
                <a:gd name="T108" fmla="*/ 2147483647 w 877"/>
                <a:gd name="T109" fmla="*/ 2147483647 h 826"/>
                <a:gd name="T110" fmla="*/ 2147483647 w 877"/>
                <a:gd name="T111" fmla="*/ 2147483647 h 826"/>
                <a:gd name="T112" fmla="*/ 2147483647 w 877"/>
                <a:gd name="T113" fmla="*/ 2147483647 h 826"/>
                <a:gd name="T114" fmla="*/ 2147483647 w 877"/>
                <a:gd name="T115" fmla="*/ 2147483647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77"/>
                <a:gd name="T175" fmla="*/ 0 h 826"/>
                <a:gd name="T176" fmla="*/ 877 w 877"/>
                <a:gd name="T177" fmla="*/ 826 h 8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61" name="Freeform 239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4197350" y="2479675"/>
              <a:ext cx="93663" cy="236538"/>
            </a:xfrm>
            <a:custGeom>
              <a:avLst/>
              <a:gdLst>
                <a:gd name="T0" fmla="*/ 2147483647 w 206"/>
                <a:gd name="T1" fmla="*/ 2147483647 h 455"/>
                <a:gd name="T2" fmla="*/ 2147483647 w 206"/>
                <a:gd name="T3" fmla="*/ 2147483647 h 455"/>
                <a:gd name="T4" fmla="*/ 2147483647 w 206"/>
                <a:gd name="T5" fmla="*/ 2147483647 h 455"/>
                <a:gd name="T6" fmla="*/ 2147483647 w 206"/>
                <a:gd name="T7" fmla="*/ 2147483647 h 455"/>
                <a:gd name="T8" fmla="*/ 2147483647 w 206"/>
                <a:gd name="T9" fmla="*/ 2147483647 h 455"/>
                <a:gd name="T10" fmla="*/ 2147483647 w 206"/>
                <a:gd name="T11" fmla="*/ 2147483647 h 455"/>
                <a:gd name="T12" fmla="*/ 2147483647 w 206"/>
                <a:gd name="T13" fmla="*/ 2147483647 h 455"/>
                <a:gd name="T14" fmla="*/ 2147483647 w 206"/>
                <a:gd name="T15" fmla="*/ 2147483647 h 455"/>
                <a:gd name="T16" fmla="*/ 2147483647 w 206"/>
                <a:gd name="T17" fmla="*/ 2147483647 h 455"/>
                <a:gd name="T18" fmla="*/ 2147483647 w 206"/>
                <a:gd name="T19" fmla="*/ 2147483647 h 455"/>
                <a:gd name="T20" fmla="*/ 2147483647 w 206"/>
                <a:gd name="T21" fmla="*/ 2147483647 h 455"/>
                <a:gd name="T22" fmla="*/ 2147483647 w 206"/>
                <a:gd name="T23" fmla="*/ 2147483647 h 455"/>
                <a:gd name="T24" fmla="*/ 2147483647 w 206"/>
                <a:gd name="T25" fmla="*/ 2147483647 h 455"/>
                <a:gd name="T26" fmla="*/ 2147483647 w 206"/>
                <a:gd name="T27" fmla="*/ 2147483647 h 455"/>
                <a:gd name="T28" fmla="*/ 2147483647 w 206"/>
                <a:gd name="T29" fmla="*/ 2147483647 h 455"/>
                <a:gd name="T30" fmla="*/ 2147483647 w 206"/>
                <a:gd name="T31" fmla="*/ 2147483647 h 455"/>
                <a:gd name="T32" fmla="*/ 2147483647 w 206"/>
                <a:gd name="T33" fmla="*/ 2147483647 h 455"/>
                <a:gd name="T34" fmla="*/ 2147483647 w 206"/>
                <a:gd name="T35" fmla="*/ 2147483647 h 455"/>
                <a:gd name="T36" fmla="*/ 2147483647 w 206"/>
                <a:gd name="T37" fmla="*/ 2147483647 h 455"/>
                <a:gd name="T38" fmla="*/ 2147483647 w 206"/>
                <a:gd name="T39" fmla="*/ 2147483647 h 455"/>
                <a:gd name="T40" fmla="*/ 2147483647 w 206"/>
                <a:gd name="T41" fmla="*/ 2147483647 h 455"/>
                <a:gd name="T42" fmla="*/ 2147483647 w 206"/>
                <a:gd name="T43" fmla="*/ 2147483647 h 455"/>
                <a:gd name="T44" fmla="*/ 2147483647 w 206"/>
                <a:gd name="T45" fmla="*/ 2147483647 h 455"/>
                <a:gd name="T46" fmla="*/ 2147483647 w 206"/>
                <a:gd name="T47" fmla="*/ 2147483647 h 455"/>
                <a:gd name="T48" fmla="*/ 2147483647 w 206"/>
                <a:gd name="T49" fmla="*/ 2147483647 h 455"/>
                <a:gd name="T50" fmla="*/ 2147483647 w 206"/>
                <a:gd name="T51" fmla="*/ 2147483647 h 455"/>
                <a:gd name="T52" fmla="*/ 2147483647 w 206"/>
                <a:gd name="T53" fmla="*/ 2147483647 h 455"/>
                <a:gd name="T54" fmla="*/ 2147483647 w 206"/>
                <a:gd name="T55" fmla="*/ 2147483647 h 455"/>
                <a:gd name="T56" fmla="*/ 2147483647 w 206"/>
                <a:gd name="T57" fmla="*/ 2147483647 h 455"/>
                <a:gd name="T58" fmla="*/ 2147483647 w 206"/>
                <a:gd name="T59" fmla="*/ 2147483647 h 455"/>
                <a:gd name="T60" fmla="*/ 2147483647 w 206"/>
                <a:gd name="T61" fmla="*/ 2147483647 h 455"/>
                <a:gd name="T62" fmla="*/ 2147483647 w 206"/>
                <a:gd name="T63" fmla="*/ 2147483647 h 455"/>
                <a:gd name="T64" fmla="*/ 2147483647 w 206"/>
                <a:gd name="T65" fmla="*/ 2147483647 h 455"/>
                <a:gd name="T66" fmla="*/ 2147483647 w 206"/>
                <a:gd name="T67" fmla="*/ 2147483647 h 455"/>
                <a:gd name="T68" fmla="*/ 2147483647 w 206"/>
                <a:gd name="T69" fmla="*/ 2147483647 h 455"/>
                <a:gd name="T70" fmla="*/ 2147483647 w 206"/>
                <a:gd name="T71" fmla="*/ 2147483647 h 455"/>
                <a:gd name="T72" fmla="*/ 2147483647 w 206"/>
                <a:gd name="T73" fmla="*/ 2147483647 h 455"/>
                <a:gd name="T74" fmla="*/ 2147483647 w 206"/>
                <a:gd name="T75" fmla="*/ 0 h 455"/>
                <a:gd name="T76" fmla="*/ 2147483647 w 206"/>
                <a:gd name="T77" fmla="*/ 2147483647 h 455"/>
                <a:gd name="T78" fmla="*/ 2147483647 w 206"/>
                <a:gd name="T79" fmla="*/ 2147483647 h 455"/>
                <a:gd name="T80" fmla="*/ 2147483647 w 206"/>
                <a:gd name="T81" fmla="*/ 2147483647 h 455"/>
                <a:gd name="T82" fmla="*/ 2147483647 w 206"/>
                <a:gd name="T83" fmla="*/ 2147483647 h 455"/>
                <a:gd name="T84" fmla="*/ 2147483647 w 206"/>
                <a:gd name="T85" fmla="*/ 2147483647 h 455"/>
                <a:gd name="T86" fmla="*/ 2147483647 w 206"/>
                <a:gd name="T87" fmla="*/ 2147483647 h 455"/>
                <a:gd name="T88" fmla="*/ 2147483647 w 206"/>
                <a:gd name="T89" fmla="*/ 2147483647 h 455"/>
                <a:gd name="T90" fmla="*/ 2147483647 w 206"/>
                <a:gd name="T91" fmla="*/ 2147483647 h 455"/>
                <a:gd name="T92" fmla="*/ 0 w 206"/>
                <a:gd name="T93" fmla="*/ 2147483647 h 455"/>
                <a:gd name="T94" fmla="*/ 2147483647 w 206"/>
                <a:gd name="T95" fmla="*/ 2147483647 h 455"/>
                <a:gd name="T96" fmla="*/ 2147483647 w 206"/>
                <a:gd name="T97" fmla="*/ 2147483647 h 455"/>
                <a:gd name="T98" fmla="*/ 2147483647 w 206"/>
                <a:gd name="T99" fmla="*/ 2147483647 h 455"/>
                <a:gd name="T100" fmla="*/ 2147483647 w 206"/>
                <a:gd name="T101" fmla="*/ 2147483647 h 455"/>
                <a:gd name="T102" fmla="*/ 2147483647 w 206"/>
                <a:gd name="T103" fmla="*/ 2147483647 h 455"/>
                <a:gd name="T104" fmla="*/ 2147483647 w 206"/>
                <a:gd name="T105" fmla="*/ 2147483647 h 455"/>
                <a:gd name="T106" fmla="*/ 2147483647 w 206"/>
                <a:gd name="T107" fmla="*/ 2147483647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06"/>
                <a:gd name="T163" fmla="*/ 0 h 455"/>
                <a:gd name="T164" fmla="*/ 206 w 206"/>
                <a:gd name="T165" fmla="*/ 455 h 45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62" name="Freeform 240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3579813" y="2790825"/>
              <a:ext cx="231775" cy="215900"/>
            </a:xfrm>
            <a:custGeom>
              <a:avLst/>
              <a:gdLst>
                <a:gd name="T0" fmla="*/ 2147483647 w 518"/>
                <a:gd name="T1" fmla="*/ 2147483647 h 406"/>
                <a:gd name="T2" fmla="*/ 2147483647 w 518"/>
                <a:gd name="T3" fmla="*/ 2147483647 h 406"/>
                <a:gd name="T4" fmla="*/ 2147483647 w 518"/>
                <a:gd name="T5" fmla="*/ 2147483647 h 406"/>
                <a:gd name="T6" fmla="*/ 2147483647 w 518"/>
                <a:gd name="T7" fmla="*/ 2147483647 h 406"/>
                <a:gd name="T8" fmla="*/ 2147483647 w 518"/>
                <a:gd name="T9" fmla="*/ 2147483647 h 406"/>
                <a:gd name="T10" fmla="*/ 2147483647 w 518"/>
                <a:gd name="T11" fmla="*/ 2147483647 h 406"/>
                <a:gd name="T12" fmla="*/ 2147483647 w 518"/>
                <a:gd name="T13" fmla="*/ 2147483647 h 406"/>
                <a:gd name="T14" fmla="*/ 2147483647 w 518"/>
                <a:gd name="T15" fmla="*/ 2147483647 h 406"/>
                <a:gd name="T16" fmla="*/ 2147483647 w 518"/>
                <a:gd name="T17" fmla="*/ 2147483647 h 406"/>
                <a:gd name="T18" fmla="*/ 2147483647 w 518"/>
                <a:gd name="T19" fmla="*/ 2147483647 h 406"/>
                <a:gd name="T20" fmla="*/ 2147483647 w 518"/>
                <a:gd name="T21" fmla="*/ 2147483647 h 406"/>
                <a:gd name="T22" fmla="*/ 2147483647 w 518"/>
                <a:gd name="T23" fmla="*/ 2147483647 h 406"/>
                <a:gd name="T24" fmla="*/ 2147483647 w 518"/>
                <a:gd name="T25" fmla="*/ 2147483647 h 406"/>
                <a:gd name="T26" fmla="*/ 2147483647 w 518"/>
                <a:gd name="T27" fmla="*/ 2147483647 h 406"/>
                <a:gd name="T28" fmla="*/ 2147483647 w 518"/>
                <a:gd name="T29" fmla="*/ 2147483647 h 406"/>
                <a:gd name="T30" fmla="*/ 2147483647 w 518"/>
                <a:gd name="T31" fmla="*/ 2147483647 h 406"/>
                <a:gd name="T32" fmla="*/ 2147483647 w 518"/>
                <a:gd name="T33" fmla="*/ 2147483647 h 406"/>
                <a:gd name="T34" fmla="*/ 2147483647 w 518"/>
                <a:gd name="T35" fmla="*/ 2147483647 h 406"/>
                <a:gd name="T36" fmla="*/ 2147483647 w 518"/>
                <a:gd name="T37" fmla="*/ 2147483647 h 406"/>
                <a:gd name="T38" fmla="*/ 2147483647 w 518"/>
                <a:gd name="T39" fmla="*/ 2147483647 h 406"/>
                <a:gd name="T40" fmla="*/ 2147483647 w 518"/>
                <a:gd name="T41" fmla="*/ 2147483647 h 406"/>
                <a:gd name="T42" fmla="*/ 2147483647 w 518"/>
                <a:gd name="T43" fmla="*/ 2147483647 h 406"/>
                <a:gd name="T44" fmla="*/ 2147483647 w 518"/>
                <a:gd name="T45" fmla="*/ 2147483647 h 406"/>
                <a:gd name="T46" fmla="*/ 2147483647 w 518"/>
                <a:gd name="T47" fmla="*/ 2147483647 h 406"/>
                <a:gd name="T48" fmla="*/ 2147483647 w 518"/>
                <a:gd name="T49" fmla="*/ 2147483647 h 406"/>
                <a:gd name="T50" fmla="*/ 2147483647 w 518"/>
                <a:gd name="T51" fmla="*/ 2147483647 h 406"/>
                <a:gd name="T52" fmla="*/ 2147483647 w 518"/>
                <a:gd name="T53" fmla="*/ 2147483647 h 406"/>
                <a:gd name="T54" fmla="*/ 2147483647 w 518"/>
                <a:gd name="T55" fmla="*/ 2147483647 h 406"/>
                <a:gd name="T56" fmla="*/ 2147483647 w 518"/>
                <a:gd name="T57" fmla="*/ 2147483647 h 406"/>
                <a:gd name="T58" fmla="*/ 2147483647 w 518"/>
                <a:gd name="T59" fmla="*/ 2147483647 h 406"/>
                <a:gd name="T60" fmla="*/ 2147483647 w 518"/>
                <a:gd name="T61" fmla="*/ 2147483647 h 406"/>
                <a:gd name="T62" fmla="*/ 2147483647 w 518"/>
                <a:gd name="T63" fmla="*/ 2147483647 h 406"/>
                <a:gd name="T64" fmla="*/ 2147483647 w 518"/>
                <a:gd name="T65" fmla="*/ 2147483647 h 406"/>
                <a:gd name="T66" fmla="*/ 2147483647 w 518"/>
                <a:gd name="T67" fmla="*/ 2147483647 h 406"/>
                <a:gd name="T68" fmla="*/ 2147483647 w 518"/>
                <a:gd name="T69" fmla="*/ 2147483647 h 406"/>
                <a:gd name="T70" fmla="*/ 2147483647 w 518"/>
                <a:gd name="T71" fmla="*/ 2147483647 h 406"/>
                <a:gd name="T72" fmla="*/ 2147483647 w 518"/>
                <a:gd name="T73" fmla="*/ 2147483647 h 406"/>
                <a:gd name="T74" fmla="*/ 2147483647 w 518"/>
                <a:gd name="T75" fmla="*/ 2147483647 h 406"/>
                <a:gd name="T76" fmla="*/ 2147483647 w 518"/>
                <a:gd name="T77" fmla="*/ 0 h 406"/>
                <a:gd name="T78" fmla="*/ 2147483647 w 518"/>
                <a:gd name="T79" fmla="*/ 2147483647 h 406"/>
                <a:gd name="T80" fmla="*/ 2147483647 w 518"/>
                <a:gd name="T81" fmla="*/ 2147483647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18"/>
                <a:gd name="T124" fmla="*/ 0 h 406"/>
                <a:gd name="T125" fmla="*/ 518 w 518"/>
                <a:gd name="T126" fmla="*/ 406 h 40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63" name="Freeform 241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3548063" y="1598613"/>
              <a:ext cx="190500" cy="93662"/>
            </a:xfrm>
            <a:custGeom>
              <a:avLst/>
              <a:gdLst>
                <a:gd name="T0" fmla="*/ 2147483647 w 446"/>
                <a:gd name="T1" fmla="*/ 2147483647 h 178"/>
                <a:gd name="T2" fmla="*/ 2147483647 w 446"/>
                <a:gd name="T3" fmla="*/ 2147483647 h 178"/>
                <a:gd name="T4" fmla="*/ 2147483647 w 446"/>
                <a:gd name="T5" fmla="*/ 2147483647 h 178"/>
                <a:gd name="T6" fmla="*/ 2147483647 w 446"/>
                <a:gd name="T7" fmla="*/ 2147483647 h 178"/>
                <a:gd name="T8" fmla="*/ 2147483647 w 446"/>
                <a:gd name="T9" fmla="*/ 2147483647 h 178"/>
                <a:gd name="T10" fmla="*/ 2147483647 w 446"/>
                <a:gd name="T11" fmla="*/ 0 h 178"/>
                <a:gd name="T12" fmla="*/ 2147483647 w 446"/>
                <a:gd name="T13" fmla="*/ 2147483647 h 178"/>
                <a:gd name="T14" fmla="*/ 2147483647 w 446"/>
                <a:gd name="T15" fmla="*/ 2147483647 h 178"/>
                <a:gd name="T16" fmla="*/ 2147483647 w 446"/>
                <a:gd name="T17" fmla="*/ 2147483647 h 178"/>
                <a:gd name="T18" fmla="*/ 2147483647 w 446"/>
                <a:gd name="T19" fmla="*/ 2147483647 h 178"/>
                <a:gd name="T20" fmla="*/ 2147483647 w 446"/>
                <a:gd name="T21" fmla="*/ 2147483647 h 178"/>
                <a:gd name="T22" fmla="*/ 2147483647 w 446"/>
                <a:gd name="T23" fmla="*/ 2147483647 h 178"/>
                <a:gd name="T24" fmla="*/ 2147483647 w 446"/>
                <a:gd name="T25" fmla="*/ 2147483647 h 178"/>
                <a:gd name="T26" fmla="*/ 2147483647 w 446"/>
                <a:gd name="T27" fmla="*/ 2147483647 h 178"/>
                <a:gd name="T28" fmla="*/ 2147483647 w 446"/>
                <a:gd name="T29" fmla="*/ 2147483647 h 178"/>
                <a:gd name="T30" fmla="*/ 2147483647 w 446"/>
                <a:gd name="T31" fmla="*/ 2147483647 h 178"/>
                <a:gd name="T32" fmla="*/ 2147483647 w 446"/>
                <a:gd name="T33" fmla="*/ 2147483647 h 178"/>
                <a:gd name="T34" fmla="*/ 2147483647 w 446"/>
                <a:gd name="T35" fmla="*/ 2147483647 h 178"/>
                <a:gd name="T36" fmla="*/ 2147483647 w 446"/>
                <a:gd name="T37" fmla="*/ 2147483647 h 178"/>
                <a:gd name="T38" fmla="*/ 2147483647 w 446"/>
                <a:gd name="T39" fmla="*/ 2147483647 h 178"/>
                <a:gd name="T40" fmla="*/ 2147483647 w 446"/>
                <a:gd name="T41" fmla="*/ 2147483647 h 178"/>
                <a:gd name="T42" fmla="*/ 2147483647 w 446"/>
                <a:gd name="T43" fmla="*/ 2147483647 h 178"/>
                <a:gd name="T44" fmla="*/ 2147483647 w 446"/>
                <a:gd name="T45" fmla="*/ 2147483647 h 178"/>
                <a:gd name="T46" fmla="*/ 2147483647 w 446"/>
                <a:gd name="T47" fmla="*/ 2147483647 h 178"/>
                <a:gd name="T48" fmla="*/ 2147483647 w 446"/>
                <a:gd name="T49" fmla="*/ 2147483647 h 178"/>
                <a:gd name="T50" fmla="*/ 2147483647 w 446"/>
                <a:gd name="T51" fmla="*/ 2147483647 h 178"/>
                <a:gd name="T52" fmla="*/ 2147483647 w 446"/>
                <a:gd name="T53" fmla="*/ 2147483647 h 178"/>
                <a:gd name="T54" fmla="*/ 2147483647 w 446"/>
                <a:gd name="T55" fmla="*/ 2147483647 h 178"/>
                <a:gd name="T56" fmla="*/ 2147483647 w 446"/>
                <a:gd name="T57" fmla="*/ 2147483647 h 178"/>
                <a:gd name="T58" fmla="*/ 2147483647 w 446"/>
                <a:gd name="T59" fmla="*/ 2147483647 h 178"/>
                <a:gd name="T60" fmla="*/ 2147483647 w 446"/>
                <a:gd name="T61" fmla="*/ 2147483647 h 178"/>
                <a:gd name="T62" fmla="*/ 2147483647 w 446"/>
                <a:gd name="T63" fmla="*/ 2147483647 h 178"/>
                <a:gd name="T64" fmla="*/ 2147483647 w 446"/>
                <a:gd name="T65" fmla="*/ 2147483647 h 178"/>
                <a:gd name="T66" fmla="*/ 2147483647 w 446"/>
                <a:gd name="T67" fmla="*/ 2147483647 h 178"/>
                <a:gd name="T68" fmla="*/ 2147483647 w 446"/>
                <a:gd name="T69" fmla="*/ 2147483647 h 178"/>
                <a:gd name="T70" fmla="*/ 2147483647 w 446"/>
                <a:gd name="T71" fmla="*/ 2147483647 h 178"/>
                <a:gd name="T72" fmla="*/ 2147483647 w 446"/>
                <a:gd name="T73" fmla="*/ 2147483647 h 178"/>
                <a:gd name="T74" fmla="*/ 2147483647 w 446"/>
                <a:gd name="T75" fmla="*/ 2147483647 h 178"/>
                <a:gd name="T76" fmla="*/ 2147483647 w 446"/>
                <a:gd name="T77" fmla="*/ 2147483647 h 178"/>
                <a:gd name="T78" fmla="*/ 2147483647 w 446"/>
                <a:gd name="T79" fmla="*/ 2147483647 h 178"/>
                <a:gd name="T80" fmla="*/ 0 w 446"/>
                <a:gd name="T81" fmla="*/ 2147483647 h 178"/>
                <a:gd name="T82" fmla="*/ 2147483647 w 446"/>
                <a:gd name="T83" fmla="*/ 2147483647 h 178"/>
                <a:gd name="T84" fmla="*/ 2147483647 w 446"/>
                <a:gd name="T85" fmla="*/ 2147483647 h 178"/>
                <a:gd name="T86" fmla="*/ 2147483647 w 446"/>
                <a:gd name="T87" fmla="*/ 2147483647 h 178"/>
                <a:gd name="T88" fmla="*/ 2147483647 w 446"/>
                <a:gd name="T89" fmla="*/ 2147483647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46"/>
                <a:gd name="T136" fmla="*/ 0 h 178"/>
                <a:gd name="T137" fmla="*/ 446 w 446"/>
                <a:gd name="T138" fmla="*/ 178 h 17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64" name="Freeform 242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4340225" y="1862138"/>
              <a:ext cx="14288" cy="57150"/>
            </a:xfrm>
            <a:custGeom>
              <a:avLst/>
              <a:gdLst>
                <a:gd name="T0" fmla="*/ 0 w 28"/>
                <a:gd name="T1" fmla="*/ 2147483647 h 73"/>
                <a:gd name="T2" fmla="*/ 2147483647 w 28"/>
                <a:gd name="T3" fmla="*/ 2147483647 h 73"/>
                <a:gd name="T4" fmla="*/ 2147483647 w 28"/>
                <a:gd name="T5" fmla="*/ 2147483647 h 73"/>
                <a:gd name="T6" fmla="*/ 2147483647 w 28"/>
                <a:gd name="T7" fmla="*/ 2147483647 h 73"/>
                <a:gd name="T8" fmla="*/ 2147483647 w 28"/>
                <a:gd name="T9" fmla="*/ 2147483647 h 73"/>
                <a:gd name="T10" fmla="*/ 2147483647 w 28"/>
                <a:gd name="T11" fmla="*/ 2147483647 h 73"/>
                <a:gd name="T12" fmla="*/ 0 w 28"/>
                <a:gd name="T13" fmla="*/ 0 h 73"/>
                <a:gd name="T14" fmla="*/ 2147483647 w 28"/>
                <a:gd name="T15" fmla="*/ 0 h 73"/>
                <a:gd name="T16" fmla="*/ 2147483647 w 28"/>
                <a:gd name="T17" fmla="*/ 2147483647 h 73"/>
                <a:gd name="T18" fmla="*/ 2147483647 w 28"/>
                <a:gd name="T19" fmla="*/ 2147483647 h 73"/>
                <a:gd name="T20" fmla="*/ 2147483647 w 28"/>
                <a:gd name="T21" fmla="*/ 2147483647 h 73"/>
                <a:gd name="T22" fmla="*/ 2147483647 w 28"/>
                <a:gd name="T23" fmla="*/ 2147483647 h 73"/>
                <a:gd name="T24" fmla="*/ 0 w 28"/>
                <a:gd name="T25" fmla="*/ 2147483647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8"/>
                <a:gd name="T40" fmla="*/ 0 h 73"/>
                <a:gd name="T41" fmla="*/ 28 w 28"/>
                <a:gd name="T42" fmla="*/ 73 h 7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65" name="Freeform 243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4227513" y="1525588"/>
              <a:ext cx="234950" cy="395287"/>
            </a:xfrm>
            <a:custGeom>
              <a:avLst/>
              <a:gdLst>
                <a:gd name="T0" fmla="*/ 2147483647 w 531"/>
                <a:gd name="T1" fmla="*/ 2147483647 h 757"/>
                <a:gd name="T2" fmla="*/ 2147483647 w 531"/>
                <a:gd name="T3" fmla="*/ 2147483647 h 757"/>
                <a:gd name="T4" fmla="*/ 2147483647 w 531"/>
                <a:gd name="T5" fmla="*/ 2147483647 h 757"/>
                <a:gd name="T6" fmla="*/ 2147483647 w 531"/>
                <a:gd name="T7" fmla="*/ 2147483647 h 757"/>
                <a:gd name="T8" fmla="*/ 2147483647 w 531"/>
                <a:gd name="T9" fmla="*/ 2147483647 h 757"/>
                <a:gd name="T10" fmla="*/ 2147483647 w 531"/>
                <a:gd name="T11" fmla="*/ 2147483647 h 757"/>
                <a:gd name="T12" fmla="*/ 2147483647 w 531"/>
                <a:gd name="T13" fmla="*/ 2147483647 h 757"/>
                <a:gd name="T14" fmla="*/ 2147483647 w 531"/>
                <a:gd name="T15" fmla="*/ 2147483647 h 757"/>
                <a:gd name="T16" fmla="*/ 2147483647 w 531"/>
                <a:gd name="T17" fmla="*/ 2147483647 h 757"/>
                <a:gd name="T18" fmla="*/ 2147483647 w 531"/>
                <a:gd name="T19" fmla="*/ 2147483647 h 757"/>
                <a:gd name="T20" fmla="*/ 2147483647 w 531"/>
                <a:gd name="T21" fmla="*/ 2147483647 h 757"/>
                <a:gd name="T22" fmla="*/ 2147483647 w 531"/>
                <a:gd name="T23" fmla="*/ 2147483647 h 757"/>
                <a:gd name="T24" fmla="*/ 2147483647 w 531"/>
                <a:gd name="T25" fmla="*/ 2147483647 h 757"/>
                <a:gd name="T26" fmla="*/ 2147483647 w 531"/>
                <a:gd name="T27" fmla="*/ 2147483647 h 757"/>
                <a:gd name="T28" fmla="*/ 2147483647 w 531"/>
                <a:gd name="T29" fmla="*/ 2147483647 h 757"/>
                <a:gd name="T30" fmla="*/ 2147483647 w 531"/>
                <a:gd name="T31" fmla="*/ 2147483647 h 757"/>
                <a:gd name="T32" fmla="*/ 2147483647 w 531"/>
                <a:gd name="T33" fmla="*/ 2147483647 h 757"/>
                <a:gd name="T34" fmla="*/ 2147483647 w 531"/>
                <a:gd name="T35" fmla="*/ 2147483647 h 757"/>
                <a:gd name="T36" fmla="*/ 2147483647 w 531"/>
                <a:gd name="T37" fmla="*/ 2147483647 h 757"/>
                <a:gd name="T38" fmla="*/ 2147483647 w 531"/>
                <a:gd name="T39" fmla="*/ 2147483647 h 757"/>
                <a:gd name="T40" fmla="*/ 2147483647 w 531"/>
                <a:gd name="T41" fmla="*/ 2147483647 h 757"/>
                <a:gd name="T42" fmla="*/ 2147483647 w 531"/>
                <a:gd name="T43" fmla="*/ 2147483647 h 757"/>
                <a:gd name="T44" fmla="*/ 2147483647 w 531"/>
                <a:gd name="T45" fmla="*/ 2147483647 h 757"/>
                <a:gd name="T46" fmla="*/ 2147483647 w 531"/>
                <a:gd name="T47" fmla="*/ 2147483647 h 757"/>
                <a:gd name="T48" fmla="*/ 2147483647 w 531"/>
                <a:gd name="T49" fmla="*/ 2147483647 h 757"/>
                <a:gd name="T50" fmla="*/ 2147483647 w 531"/>
                <a:gd name="T51" fmla="*/ 2147483647 h 757"/>
                <a:gd name="T52" fmla="*/ 2147483647 w 531"/>
                <a:gd name="T53" fmla="*/ 2147483647 h 757"/>
                <a:gd name="T54" fmla="*/ 2147483647 w 531"/>
                <a:gd name="T55" fmla="*/ 2147483647 h 757"/>
                <a:gd name="T56" fmla="*/ 2147483647 w 531"/>
                <a:gd name="T57" fmla="*/ 2147483647 h 757"/>
                <a:gd name="T58" fmla="*/ 2147483647 w 531"/>
                <a:gd name="T59" fmla="*/ 2147483647 h 757"/>
                <a:gd name="T60" fmla="*/ 2147483647 w 531"/>
                <a:gd name="T61" fmla="*/ 2147483647 h 757"/>
                <a:gd name="T62" fmla="*/ 2147483647 w 531"/>
                <a:gd name="T63" fmla="*/ 2147483647 h 757"/>
                <a:gd name="T64" fmla="*/ 2147483647 w 531"/>
                <a:gd name="T65" fmla="*/ 2147483647 h 757"/>
                <a:gd name="T66" fmla="*/ 2147483647 w 531"/>
                <a:gd name="T67" fmla="*/ 2147483647 h 757"/>
                <a:gd name="T68" fmla="*/ 2147483647 w 531"/>
                <a:gd name="T69" fmla="*/ 2147483647 h 757"/>
                <a:gd name="T70" fmla="*/ 2147483647 w 531"/>
                <a:gd name="T71" fmla="*/ 2147483647 h 757"/>
                <a:gd name="T72" fmla="*/ 2147483647 w 531"/>
                <a:gd name="T73" fmla="*/ 2147483647 h 757"/>
                <a:gd name="T74" fmla="*/ 2147483647 w 531"/>
                <a:gd name="T75" fmla="*/ 2147483647 h 757"/>
                <a:gd name="T76" fmla="*/ 2147483647 w 531"/>
                <a:gd name="T77" fmla="*/ 2147483647 h 757"/>
                <a:gd name="T78" fmla="*/ 2147483647 w 531"/>
                <a:gd name="T79" fmla="*/ 2147483647 h 757"/>
                <a:gd name="T80" fmla="*/ 2147483647 w 531"/>
                <a:gd name="T81" fmla="*/ 2147483647 h 757"/>
                <a:gd name="T82" fmla="*/ 2147483647 w 531"/>
                <a:gd name="T83" fmla="*/ 2147483647 h 757"/>
                <a:gd name="T84" fmla="*/ 2147483647 w 531"/>
                <a:gd name="T85" fmla="*/ 2147483647 h 757"/>
                <a:gd name="T86" fmla="*/ 2147483647 w 531"/>
                <a:gd name="T87" fmla="*/ 2147483647 h 757"/>
                <a:gd name="T88" fmla="*/ 2147483647 w 531"/>
                <a:gd name="T89" fmla="*/ 2147483647 h 757"/>
                <a:gd name="T90" fmla="*/ 2147483647 w 531"/>
                <a:gd name="T91" fmla="*/ 2147483647 h 757"/>
                <a:gd name="T92" fmla="*/ 2147483647 w 531"/>
                <a:gd name="T93" fmla="*/ 2147483647 h 757"/>
                <a:gd name="T94" fmla="*/ 2147483647 w 531"/>
                <a:gd name="T95" fmla="*/ 2147483647 h 757"/>
                <a:gd name="T96" fmla="*/ 2147483647 w 531"/>
                <a:gd name="T97" fmla="*/ 2147483647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31"/>
                <a:gd name="T148" fmla="*/ 0 h 757"/>
                <a:gd name="T149" fmla="*/ 531 w 531"/>
                <a:gd name="T150" fmla="*/ 757 h 75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66" name="Freeform 244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4365625" y="1839913"/>
              <a:ext cx="26988" cy="57150"/>
            </a:xfrm>
            <a:custGeom>
              <a:avLst/>
              <a:gdLst>
                <a:gd name="T0" fmla="*/ 0 w 60"/>
                <a:gd name="T1" fmla="*/ 2147483647 h 51"/>
                <a:gd name="T2" fmla="*/ 2147483647 w 60"/>
                <a:gd name="T3" fmla="*/ 2147483647 h 51"/>
                <a:gd name="T4" fmla="*/ 2147483647 w 60"/>
                <a:gd name="T5" fmla="*/ 2147483647 h 51"/>
                <a:gd name="T6" fmla="*/ 2147483647 w 60"/>
                <a:gd name="T7" fmla="*/ 2147483647 h 51"/>
                <a:gd name="T8" fmla="*/ 2147483647 w 60"/>
                <a:gd name="T9" fmla="*/ 2147483647 h 51"/>
                <a:gd name="T10" fmla="*/ 2147483647 w 60"/>
                <a:gd name="T11" fmla="*/ 2147483647 h 51"/>
                <a:gd name="T12" fmla="*/ 2147483647 w 60"/>
                <a:gd name="T13" fmla="*/ 0 h 51"/>
                <a:gd name="T14" fmla="*/ 2147483647 w 60"/>
                <a:gd name="T15" fmla="*/ 2147483647 h 51"/>
                <a:gd name="T16" fmla="*/ 2147483647 w 60"/>
                <a:gd name="T17" fmla="*/ 2147483647 h 51"/>
                <a:gd name="T18" fmla="*/ 2147483647 w 60"/>
                <a:gd name="T19" fmla="*/ 2147483647 h 51"/>
                <a:gd name="T20" fmla="*/ 2147483647 w 60"/>
                <a:gd name="T21" fmla="*/ 2147483647 h 51"/>
                <a:gd name="T22" fmla="*/ 2147483647 w 60"/>
                <a:gd name="T23" fmla="*/ 2147483647 h 51"/>
                <a:gd name="T24" fmla="*/ 2147483647 w 60"/>
                <a:gd name="T25" fmla="*/ 2147483647 h 51"/>
                <a:gd name="T26" fmla="*/ 2147483647 w 60"/>
                <a:gd name="T27" fmla="*/ 2147483647 h 51"/>
                <a:gd name="T28" fmla="*/ 2147483647 w 60"/>
                <a:gd name="T29" fmla="*/ 2147483647 h 51"/>
                <a:gd name="T30" fmla="*/ 2147483647 w 60"/>
                <a:gd name="T31" fmla="*/ 2147483647 h 51"/>
                <a:gd name="T32" fmla="*/ 2147483647 w 60"/>
                <a:gd name="T33" fmla="*/ 2147483647 h 51"/>
                <a:gd name="T34" fmla="*/ 2147483647 w 60"/>
                <a:gd name="T35" fmla="*/ 2147483647 h 51"/>
                <a:gd name="T36" fmla="*/ 2147483647 w 60"/>
                <a:gd name="T37" fmla="*/ 2147483647 h 51"/>
                <a:gd name="T38" fmla="*/ 2147483647 w 60"/>
                <a:gd name="T39" fmla="*/ 2147483647 h 51"/>
                <a:gd name="T40" fmla="*/ 2147483647 w 60"/>
                <a:gd name="T41" fmla="*/ 2147483647 h 51"/>
                <a:gd name="T42" fmla="*/ 2147483647 w 60"/>
                <a:gd name="T43" fmla="*/ 2147483647 h 51"/>
                <a:gd name="T44" fmla="*/ 0 w 60"/>
                <a:gd name="T45" fmla="*/ 2147483647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0"/>
                <a:gd name="T70" fmla="*/ 0 h 51"/>
                <a:gd name="T71" fmla="*/ 60 w 60"/>
                <a:gd name="T72" fmla="*/ 51 h 5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67" name="Freeform 245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3810000" y="2001838"/>
              <a:ext cx="28575" cy="57150"/>
            </a:xfrm>
            <a:custGeom>
              <a:avLst/>
              <a:gdLst>
                <a:gd name="T0" fmla="*/ 2147483647 w 66"/>
                <a:gd name="T1" fmla="*/ 2147483647 h 51"/>
                <a:gd name="T2" fmla="*/ 2147483647 w 66"/>
                <a:gd name="T3" fmla="*/ 2147483647 h 51"/>
                <a:gd name="T4" fmla="*/ 2147483647 w 66"/>
                <a:gd name="T5" fmla="*/ 2147483647 h 51"/>
                <a:gd name="T6" fmla="*/ 2147483647 w 66"/>
                <a:gd name="T7" fmla="*/ 2147483647 h 51"/>
                <a:gd name="T8" fmla="*/ 2147483647 w 66"/>
                <a:gd name="T9" fmla="*/ 2147483647 h 51"/>
                <a:gd name="T10" fmla="*/ 2147483647 w 66"/>
                <a:gd name="T11" fmla="*/ 2147483647 h 51"/>
                <a:gd name="T12" fmla="*/ 2147483647 w 66"/>
                <a:gd name="T13" fmla="*/ 2147483647 h 51"/>
                <a:gd name="T14" fmla="*/ 2147483647 w 66"/>
                <a:gd name="T15" fmla="*/ 2147483647 h 51"/>
                <a:gd name="T16" fmla="*/ 2147483647 w 66"/>
                <a:gd name="T17" fmla="*/ 2147483647 h 51"/>
                <a:gd name="T18" fmla="*/ 0 w 66"/>
                <a:gd name="T19" fmla="*/ 2147483647 h 51"/>
                <a:gd name="T20" fmla="*/ 0 w 66"/>
                <a:gd name="T21" fmla="*/ 2147483647 h 51"/>
                <a:gd name="T22" fmla="*/ 2147483647 w 66"/>
                <a:gd name="T23" fmla="*/ 2147483647 h 51"/>
                <a:gd name="T24" fmla="*/ 2147483647 w 66"/>
                <a:gd name="T25" fmla="*/ 2147483647 h 51"/>
                <a:gd name="T26" fmla="*/ 2147483647 w 66"/>
                <a:gd name="T27" fmla="*/ 2147483647 h 51"/>
                <a:gd name="T28" fmla="*/ 2147483647 w 66"/>
                <a:gd name="T29" fmla="*/ 2147483647 h 51"/>
                <a:gd name="T30" fmla="*/ 2147483647 w 66"/>
                <a:gd name="T31" fmla="*/ 2147483647 h 51"/>
                <a:gd name="T32" fmla="*/ 2147483647 w 66"/>
                <a:gd name="T33" fmla="*/ 0 h 51"/>
                <a:gd name="T34" fmla="*/ 2147483647 w 66"/>
                <a:gd name="T35" fmla="*/ 2147483647 h 51"/>
                <a:gd name="T36" fmla="*/ 2147483647 w 66"/>
                <a:gd name="T37" fmla="*/ 2147483647 h 51"/>
                <a:gd name="T38" fmla="*/ 2147483647 w 66"/>
                <a:gd name="T39" fmla="*/ 2147483647 h 51"/>
                <a:gd name="T40" fmla="*/ 2147483647 w 66"/>
                <a:gd name="T41" fmla="*/ 0 h 51"/>
                <a:gd name="T42" fmla="*/ 2147483647 w 66"/>
                <a:gd name="T43" fmla="*/ 2147483647 h 51"/>
                <a:gd name="T44" fmla="*/ 2147483647 w 66"/>
                <a:gd name="T45" fmla="*/ 2147483647 h 51"/>
                <a:gd name="T46" fmla="*/ 2147483647 w 66"/>
                <a:gd name="T47" fmla="*/ 2147483647 h 51"/>
                <a:gd name="T48" fmla="*/ 2147483647 w 66"/>
                <a:gd name="T49" fmla="*/ 2147483647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6"/>
                <a:gd name="T76" fmla="*/ 0 h 51"/>
                <a:gd name="T77" fmla="*/ 66 w 66"/>
                <a:gd name="T78" fmla="*/ 51 h 5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68" name="Freeform 246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4762500" y="2530475"/>
              <a:ext cx="50800" cy="57150"/>
            </a:xfrm>
            <a:custGeom>
              <a:avLst/>
              <a:gdLst>
                <a:gd name="T0" fmla="*/ 0 w 113"/>
                <a:gd name="T1" fmla="*/ 2147483647 h 74"/>
                <a:gd name="T2" fmla="*/ 2147483647 w 113"/>
                <a:gd name="T3" fmla="*/ 2147483647 h 74"/>
                <a:gd name="T4" fmla="*/ 2147483647 w 113"/>
                <a:gd name="T5" fmla="*/ 2147483647 h 74"/>
                <a:gd name="T6" fmla="*/ 2147483647 w 113"/>
                <a:gd name="T7" fmla="*/ 2147483647 h 74"/>
                <a:gd name="T8" fmla="*/ 2147483647 w 113"/>
                <a:gd name="T9" fmla="*/ 2147483647 h 74"/>
                <a:gd name="T10" fmla="*/ 2147483647 w 113"/>
                <a:gd name="T11" fmla="*/ 2147483647 h 74"/>
                <a:gd name="T12" fmla="*/ 2147483647 w 113"/>
                <a:gd name="T13" fmla="*/ 2147483647 h 74"/>
                <a:gd name="T14" fmla="*/ 2147483647 w 113"/>
                <a:gd name="T15" fmla="*/ 2147483647 h 74"/>
                <a:gd name="T16" fmla="*/ 2147483647 w 113"/>
                <a:gd name="T17" fmla="*/ 2147483647 h 74"/>
                <a:gd name="T18" fmla="*/ 2147483647 w 113"/>
                <a:gd name="T19" fmla="*/ 2147483647 h 74"/>
                <a:gd name="T20" fmla="*/ 2147483647 w 113"/>
                <a:gd name="T21" fmla="*/ 2147483647 h 74"/>
                <a:gd name="T22" fmla="*/ 2147483647 w 113"/>
                <a:gd name="T23" fmla="*/ 2147483647 h 74"/>
                <a:gd name="T24" fmla="*/ 2147483647 w 113"/>
                <a:gd name="T25" fmla="*/ 2147483647 h 74"/>
                <a:gd name="T26" fmla="*/ 2147483647 w 113"/>
                <a:gd name="T27" fmla="*/ 2147483647 h 74"/>
                <a:gd name="T28" fmla="*/ 2147483647 w 113"/>
                <a:gd name="T29" fmla="*/ 2147483647 h 74"/>
                <a:gd name="T30" fmla="*/ 2147483647 w 113"/>
                <a:gd name="T31" fmla="*/ 2147483647 h 74"/>
                <a:gd name="T32" fmla="*/ 2147483647 w 113"/>
                <a:gd name="T33" fmla="*/ 2147483647 h 74"/>
                <a:gd name="T34" fmla="*/ 2147483647 w 113"/>
                <a:gd name="T35" fmla="*/ 2147483647 h 74"/>
                <a:gd name="T36" fmla="*/ 2147483647 w 113"/>
                <a:gd name="T37" fmla="*/ 2147483647 h 74"/>
                <a:gd name="T38" fmla="*/ 2147483647 w 113"/>
                <a:gd name="T39" fmla="*/ 0 h 74"/>
                <a:gd name="T40" fmla="*/ 2147483647 w 113"/>
                <a:gd name="T41" fmla="*/ 2147483647 h 74"/>
                <a:gd name="T42" fmla="*/ 2147483647 w 113"/>
                <a:gd name="T43" fmla="*/ 2147483647 h 74"/>
                <a:gd name="T44" fmla="*/ 2147483647 w 113"/>
                <a:gd name="T45" fmla="*/ 2147483647 h 74"/>
                <a:gd name="T46" fmla="*/ 2147483647 w 113"/>
                <a:gd name="T47" fmla="*/ 2147483647 h 74"/>
                <a:gd name="T48" fmla="*/ 2147483647 w 113"/>
                <a:gd name="T49" fmla="*/ 2147483647 h 74"/>
                <a:gd name="T50" fmla="*/ 0 w 113"/>
                <a:gd name="T51" fmla="*/ 2147483647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13"/>
                <a:gd name="T79" fmla="*/ 0 h 74"/>
                <a:gd name="T80" fmla="*/ 113 w 113"/>
                <a:gd name="T81" fmla="*/ 74 h 74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69" name="Freeform 247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4370388" y="3322638"/>
              <a:ext cx="325437" cy="244475"/>
            </a:xfrm>
            <a:custGeom>
              <a:avLst/>
              <a:gdLst>
                <a:gd name="T0" fmla="*/ 2147483647 w 746"/>
                <a:gd name="T1" fmla="*/ 2147483647 h 469"/>
                <a:gd name="T2" fmla="*/ 2147483647 w 746"/>
                <a:gd name="T3" fmla="*/ 2147483647 h 469"/>
                <a:gd name="T4" fmla="*/ 2147483647 w 746"/>
                <a:gd name="T5" fmla="*/ 2147483647 h 469"/>
                <a:gd name="T6" fmla="*/ 2147483647 w 746"/>
                <a:gd name="T7" fmla="*/ 2147483647 h 469"/>
                <a:gd name="T8" fmla="*/ 0 w 746"/>
                <a:gd name="T9" fmla="*/ 2147483647 h 469"/>
                <a:gd name="T10" fmla="*/ 2147483647 w 746"/>
                <a:gd name="T11" fmla="*/ 2147483647 h 469"/>
                <a:gd name="T12" fmla="*/ 2147483647 w 746"/>
                <a:gd name="T13" fmla="*/ 2147483647 h 469"/>
                <a:gd name="T14" fmla="*/ 2147483647 w 746"/>
                <a:gd name="T15" fmla="*/ 2147483647 h 469"/>
                <a:gd name="T16" fmla="*/ 2147483647 w 746"/>
                <a:gd name="T17" fmla="*/ 2147483647 h 469"/>
                <a:gd name="T18" fmla="*/ 2147483647 w 746"/>
                <a:gd name="T19" fmla="*/ 2147483647 h 469"/>
                <a:gd name="T20" fmla="*/ 2147483647 w 746"/>
                <a:gd name="T21" fmla="*/ 2147483647 h 469"/>
                <a:gd name="T22" fmla="*/ 2147483647 w 746"/>
                <a:gd name="T23" fmla="*/ 2147483647 h 469"/>
                <a:gd name="T24" fmla="*/ 2147483647 w 746"/>
                <a:gd name="T25" fmla="*/ 2147483647 h 469"/>
                <a:gd name="T26" fmla="*/ 2147483647 w 746"/>
                <a:gd name="T27" fmla="*/ 2147483647 h 469"/>
                <a:gd name="T28" fmla="*/ 2147483647 w 746"/>
                <a:gd name="T29" fmla="*/ 2147483647 h 469"/>
                <a:gd name="T30" fmla="*/ 2147483647 w 746"/>
                <a:gd name="T31" fmla="*/ 2147483647 h 469"/>
                <a:gd name="T32" fmla="*/ 2147483647 w 746"/>
                <a:gd name="T33" fmla="*/ 2147483647 h 469"/>
                <a:gd name="T34" fmla="*/ 2147483647 w 746"/>
                <a:gd name="T35" fmla="*/ 2147483647 h 469"/>
                <a:gd name="T36" fmla="*/ 2147483647 w 746"/>
                <a:gd name="T37" fmla="*/ 2147483647 h 469"/>
                <a:gd name="T38" fmla="*/ 2147483647 w 746"/>
                <a:gd name="T39" fmla="*/ 0 h 469"/>
                <a:gd name="T40" fmla="*/ 2147483647 w 746"/>
                <a:gd name="T41" fmla="*/ 2147483647 h 469"/>
                <a:gd name="T42" fmla="*/ 2147483647 w 746"/>
                <a:gd name="T43" fmla="*/ 2147483647 h 469"/>
                <a:gd name="T44" fmla="*/ 2147483647 w 746"/>
                <a:gd name="T45" fmla="*/ 2147483647 h 469"/>
                <a:gd name="T46" fmla="*/ 2147483647 w 746"/>
                <a:gd name="T47" fmla="*/ 2147483647 h 469"/>
                <a:gd name="T48" fmla="*/ 2147483647 w 746"/>
                <a:gd name="T49" fmla="*/ 2147483647 h 469"/>
                <a:gd name="T50" fmla="*/ 2147483647 w 746"/>
                <a:gd name="T51" fmla="*/ 2147483647 h 469"/>
                <a:gd name="T52" fmla="*/ 2147483647 w 746"/>
                <a:gd name="T53" fmla="*/ 2147483647 h 469"/>
                <a:gd name="T54" fmla="*/ 2147483647 w 746"/>
                <a:gd name="T55" fmla="*/ 2147483647 h 469"/>
                <a:gd name="T56" fmla="*/ 2147483647 w 746"/>
                <a:gd name="T57" fmla="*/ 2147483647 h 469"/>
                <a:gd name="T58" fmla="*/ 2147483647 w 746"/>
                <a:gd name="T59" fmla="*/ 2147483647 h 469"/>
                <a:gd name="T60" fmla="*/ 2147483647 w 746"/>
                <a:gd name="T61" fmla="*/ 2147483647 h 469"/>
                <a:gd name="T62" fmla="*/ 2147483647 w 746"/>
                <a:gd name="T63" fmla="*/ 2147483647 h 469"/>
                <a:gd name="T64" fmla="*/ 2147483647 w 746"/>
                <a:gd name="T65" fmla="*/ 2147483647 h 469"/>
                <a:gd name="T66" fmla="*/ 2147483647 w 746"/>
                <a:gd name="T67" fmla="*/ 2147483647 h 469"/>
                <a:gd name="T68" fmla="*/ 2147483647 w 746"/>
                <a:gd name="T69" fmla="*/ 2147483647 h 469"/>
                <a:gd name="T70" fmla="*/ 2147483647 w 746"/>
                <a:gd name="T71" fmla="*/ 2147483647 h 469"/>
                <a:gd name="T72" fmla="*/ 2147483647 w 746"/>
                <a:gd name="T73" fmla="*/ 2147483647 h 469"/>
                <a:gd name="T74" fmla="*/ 2147483647 w 746"/>
                <a:gd name="T75" fmla="*/ 2147483647 h 469"/>
                <a:gd name="T76" fmla="*/ 2147483647 w 746"/>
                <a:gd name="T77" fmla="*/ 2147483647 h 469"/>
                <a:gd name="T78" fmla="*/ 2147483647 w 746"/>
                <a:gd name="T79" fmla="*/ 2147483647 h 469"/>
                <a:gd name="T80" fmla="*/ 2147483647 w 746"/>
                <a:gd name="T81" fmla="*/ 2147483647 h 469"/>
                <a:gd name="T82" fmla="*/ 2147483647 w 746"/>
                <a:gd name="T83" fmla="*/ 2147483647 h 469"/>
                <a:gd name="T84" fmla="*/ 2147483647 w 746"/>
                <a:gd name="T85" fmla="*/ 2147483647 h 469"/>
                <a:gd name="T86" fmla="*/ 2147483647 w 746"/>
                <a:gd name="T87" fmla="*/ 2147483647 h 469"/>
                <a:gd name="T88" fmla="*/ 2147483647 w 746"/>
                <a:gd name="T89" fmla="*/ 2147483647 h 469"/>
                <a:gd name="T90" fmla="*/ 2147483647 w 746"/>
                <a:gd name="T91" fmla="*/ 2147483647 h 469"/>
                <a:gd name="T92" fmla="*/ 2147483647 w 746"/>
                <a:gd name="T93" fmla="*/ 2147483647 h 469"/>
                <a:gd name="T94" fmla="*/ 2147483647 w 746"/>
                <a:gd name="T95" fmla="*/ 2147483647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46"/>
                <a:gd name="T145" fmla="*/ 0 h 469"/>
                <a:gd name="T146" fmla="*/ 746 w 746"/>
                <a:gd name="T147" fmla="*/ 469 h 469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70" name="Freeform 248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4306888" y="3490913"/>
              <a:ext cx="500062" cy="552450"/>
            </a:xfrm>
            <a:custGeom>
              <a:avLst/>
              <a:gdLst>
                <a:gd name="T0" fmla="*/ 2147483647 w 1145"/>
                <a:gd name="T1" fmla="*/ 2147483647 h 1053"/>
                <a:gd name="T2" fmla="*/ 2147483647 w 1145"/>
                <a:gd name="T3" fmla="*/ 2147483647 h 1053"/>
                <a:gd name="T4" fmla="*/ 2147483647 w 1145"/>
                <a:gd name="T5" fmla="*/ 2147483647 h 1053"/>
                <a:gd name="T6" fmla="*/ 2147483647 w 1145"/>
                <a:gd name="T7" fmla="*/ 2147483647 h 1053"/>
                <a:gd name="T8" fmla="*/ 2147483647 w 1145"/>
                <a:gd name="T9" fmla="*/ 2147483647 h 1053"/>
                <a:gd name="T10" fmla="*/ 2147483647 w 1145"/>
                <a:gd name="T11" fmla="*/ 2147483647 h 1053"/>
                <a:gd name="T12" fmla="*/ 2147483647 w 1145"/>
                <a:gd name="T13" fmla="*/ 2147483647 h 1053"/>
                <a:gd name="T14" fmla="*/ 2147483647 w 1145"/>
                <a:gd name="T15" fmla="*/ 2147483647 h 1053"/>
                <a:gd name="T16" fmla="*/ 2147483647 w 1145"/>
                <a:gd name="T17" fmla="*/ 2147483647 h 1053"/>
                <a:gd name="T18" fmla="*/ 2147483647 w 1145"/>
                <a:gd name="T19" fmla="*/ 2147483647 h 1053"/>
                <a:gd name="T20" fmla="*/ 2147483647 w 1145"/>
                <a:gd name="T21" fmla="*/ 2147483647 h 1053"/>
                <a:gd name="T22" fmla="*/ 2147483647 w 1145"/>
                <a:gd name="T23" fmla="*/ 2147483647 h 1053"/>
                <a:gd name="T24" fmla="*/ 2147483647 w 1145"/>
                <a:gd name="T25" fmla="*/ 2147483647 h 1053"/>
                <a:gd name="T26" fmla="*/ 2147483647 w 1145"/>
                <a:gd name="T27" fmla="*/ 2147483647 h 1053"/>
                <a:gd name="T28" fmla="*/ 2147483647 w 1145"/>
                <a:gd name="T29" fmla="*/ 2147483647 h 1053"/>
                <a:gd name="T30" fmla="*/ 2147483647 w 1145"/>
                <a:gd name="T31" fmla="*/ 2147483647 h 1053"/>
                <a:gd name="T32" fmla="*/ 2147483647 w 1145"/>
                <a:gd name="T33" fmla="*/ 2147483647 h 1053"/>
                <a:gd name="T34" fmla="*/ 2147483647 w 1145"/>
                <a:gd name="T35" fmla="*/ 2147483647 h 1053"/>
                <a:gd name="T36" fmla="*/ 2147483647 w 1145"/>
                <a:gd name="T37" fmla="*/ 2147483647 h 1053"/>
                <a:gd name="T38" fmla="*/ 2147483647 w 1145"/>
                <a:gd name="T39" fmla="*/ 2147483647 h 1053"/>
                <a:gd name="T40" fmla="*/ 2147483647 w 1145"/>
                <a:gd name="T41" fmla="*/ 2147483647 h 1053"/>
                <a:gd name="T42" fmla="*/ 2147483647 w 1145"/>
                <a:gd name="T43" fmla="*/ 2147483647 h 1053"/>
                <a:gd name="T44" fmla="*/ 2147483647 w 1145"/>
                <a:gd name="T45" fmla="*/ 2147483647 h 1053"/>
                <a:gd name="T46" fmla="*/ 2147483647 w 1145"/>
                <a:gd name="T47" fmla="*/ 2147483647 h 1053"/>
                <a:gd name="T48" fmla="*/ 2147483647 w 1145"/>
                <a:gd name="T49" fmla="*/ 2147483647 h 1053"/>
                <a:gd name="T50" fmla="*/ 2147483647 w 1145"/>
                <a:gd name="T51" fmla="*/ 2147483647 h 1053"/>
                <a:gd name="T52" fmla="*/ 2147483647 w 1145"/>
                <a:gd name="T53" fmla="*/ 2147483647 h 1053"/>
                <a:gd name="T54" fmla="*/ 2147483647 w 1145"/>
                <a:gd name="T55" fmla="*/ 2147483647 h 1053"/>
                <a:gd name="T56" fmla="*/ 2147483647 w 1145"/>
                <a:gd name="T57" fmla="*/ 2147483647 h 1053"/>
                <a:gd name="T58" fmla="*/ 2147483647 w 1145"/>
                <a:gd name="T59" fmla="*/ 2147483647 h 1053"/>
                <a:gd name="T60" fmla="*/ 2147483647 w 1145"/>
                <a:gd name="T61" fmla="*/ 2147483647 h 1053"/>
                <a:gd name="T62" fmla="*/ 2147483647 w 1145"/>
                <a:gd name="T63" fmla="*/ 2147483647 h 1053"/>
                <a:gd name="T64" fmla="*/ 2147483647 w 1145"/>
                <a:gd name="T65" fmla="*/ 2147483647 h 1053"/>
                <a:gd name="T66" fmla="*/ 2147483647 w 1145"/>
                <a:gd name="T67" fmla="*/ 2147483647 h 1053"/>
                <a:gd name="T68" fmla="*/ 2147483647 w 1145"/>
                <a:gd name="T69" fmla="*/ 2147483647 h 1053"/>
                <a:gd name="T70" fmla="*/ 2147483647 w 1145"/>
                <a:gd name="T71" fmla="*/ 2147483647 h 1053"/>
                <a:gd name="T72" fmla="*/ 2147483647 w 1145"/>
                <a:gd name="T73" fmla="*/ 2147483647 h 1053"/>
                <a:gd name="T74" fmla="*/ 2147483647 w 1145"/>
                <a:gd name="T75" fmla="*/ 2147483647 h 1053"/>
                <a:gd name="T76" fmla="*/ 2147483647 w 1145"/>
                <a:gd name="T77" fmla="*/ 2147483647 h 1053"/>
                <a:gd name="T78" fmla="*/ 2147483647 w 1145"/>
                <a:gd name="T79" fmla="*/ 2147483647 h 1053"/>
                <a:gd name="T80" fmla="*/ 2147483647 w 1145"/>
                <a:gd name="T81" fmla="*/ 2147483647 h 1053"/>
                <a:gd name="T82" fmla="*/ 2147483647 w 1145"/>
                <a:gd name="T83" fmla="*/ 2147483647 h 1053"/>
                <a:gd name="T84" fmla="*/ 2147483647 w 1145"/>
                <a:gd name="T85" fmla="*/ 2147483647 h 1053"/>
                <a:gd name="T86" fmla="*/ 2147483647 w 1145"/>
                <a:gd name="T87" fmla="*/ 2147483647 h 1053"/>
                <a:gd name="T88" fmla="*/ 2147483647 w 1145"/>
                <a:gd name="T89" fmla="*/ 2147483647 h 1053"/>
                <a:gd name="T90" fmla="*/ 2147483647 w 1145"/>
                <a:gd name="T91" fmla="*/ 2147483647 h 1053"/>
                <a:gd name="T92" fmla="*/ 2147483647 w 1145"/>
                <a:gd name="T93" fmla="*/ 2147483647 h 1053"/>
                <a:gd name="T94" fmla="*/ 2147483647 w 1145"/>
                <a:gd name="T95" fmla="*/ 2147483647 h 1053"/>
                <a:gd name="T96" fmla="*/ 2147483647 w 1145"/>
                <a:gd name="T97" fmla="*/ 2147483647 h 1053"/>
                <a:gd name="T98" fmla="*/ 2147483647 w 1145"/>
                <a:gd name="T99" fmla="*/ 2147483647 h 1053"/>
                <a:gd name="T100" fmla="*/ 2147483647 w 1145"/>
                <a:gd name="T101" fmla="*/ 2147483647 h 1053"/>
                <a:gd name="T102" fmla="*/ 2147483647 w 1145"/>
                <a:gd name="T103" fmla="*/ 2147483647 h 1053"/>
                <a:gd name="T104" fmla="*/ 2147483647 w 1145"/>
                <a:gd name="T105" fmla="*/ 2147483647 h 1053"/>
                <a:gd name="T106" fmla="*/ 2147483647 w 1145"/>
                <a:gd name="T107" fmla="*/ 2147483647 h 1053"/>
                <a:gd name="T108" fmla="*/ 2147483647 w 1145"/>
                <a:gd name="T109" fmla="*/ 2147483647 h 1053"/>
                <a:gd name="T110" fmla="*/ 2147483647 w 1145"/>
                <a:gd name="T111" fmla="*/ 2147483647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45"/>
                <a:gd name="T169" fmla="*/ 0 h 1053"/>
                <a:gd name="T170" fmla="*/ 1145 w 1145"/>
                <a:gd name="T171" fmla="*/ 1053 h 105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71" name="Freeform 249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4243388" y="3590925"/>
              <a:ext cx="55562" cy="55563"/>
            </a:xfrm>
            <a:custGeom>
              <a:avLst/>
              <a:gdLst>
                <a:gd name="T0" fmla="*/ 2147483647 w 125"/>
                <a:gd name="T1" fmla="*/ 0 h 81"/>
                <a:gd name="T2" fmla="*/ 2147483647 w 125"/>
                <a:gd name="T3" fmla="*/ 2147483647 h 81"/>
                <a:gd name="T4" fmla="*/ 2147483647 w 125"/>
                <a:gd name="T5" fmla="*/ 2147483647 h 81"/>
                <a:gd name="T6" fmla="*/ 2147483647 w 125"/>
                <a:gd name="T7" fmla="*/ 2147483647 h 81"/>
                <a:gd name="T8" fmla="*/ 2147483647 w 125"/>
                <a:gd name="T9" fmla="*/ 2147483647 h 81"/>
                <a:gd name="T10" fmla="*/ 2147483647 w 125"/>
                <a:gd name="T11" fmla="*/ 2147483647 h 81"/>
                <a:gd name="T12" fmla="*/ 2147483647 w 125"/>
                <a:gd name="T13" fmla="*/ 2147483647 h 81"/>
                <a:gd name="T14" fmla="*/ 2147483647 w 125"/>
                <a:gd name="T15" fmla="*/ 2147483647 h 81"/>
                <a:gd name="T16" fmla="*/ 2147483647 w 125"/>
                <a:gd name="T17" fmla="*/ 2147483647 h 81"/>
                <a:gd name="T18" fmla="*/ 2147483647 w 125"/>
                <a:gd name="T19" fmla="*/ 2147483647 h 81"/>
                <a:gd name="T20" fmla="*/ 2147483647 w 125"/>
                <a:gd name="T21" fmla="*/ 2147483647 h 81"/>
                <a:gd name="T22" fmla="*/ 2147483647 w 125"/>
                <a:gd name="T23" fmla="*/ 2147483647 h 81"/>
                <a:gd name="T24" fmla="*/ 2147483647 w 125"/>
                <a:gd name="T25" fmla="*/ 2147483647 h 81"/>
                <a:gd name="T26" fmla="*/ 2147483647 w 125"/>
                <a:gd name="T27" fmla="*/ 2147483647 h 81"/>
                <a:gd name="T28" fmla="*/ 2147483647 w 125"/>
                <a:gd name="T29" fmla="*/ 2147483647 h 81"/>
                <a:gd name="T30" fmla="*/ 2147483647 w 125"/>
                <a:gd name="T31" fmla="*/ 2147483647 h 81"/>
                <a:gd name="T32" fmla="*/ 0 w 125"/>
                <a:gd name="T33" fmla="*/ 2147483647 h 81"/>
                <a:gd name="T34" fmla="*/ 0 w 125"/>
                <a:gd name="T35" fmla="*/ 2147483647 h 81"/>
                <a:gd name="T36" fmla="*/ 2147483647 w 125"/>
                <a:gd name="T37" fmla="*/ 2147483647 h 81"/>
                <a:gd name="T38" fmla="*/ 2147483647 w 125"/>
                <a:gd name="T39" fmla="*/ 2147483647 h 81"/>
                <a:gd name="T40" fmla="*/ 2147483647 w 125"/>
                <a:gd name="T41" fmla="*/ 2147483647 h 81"/>
                <a:gd name="T42" fmla="*/ 2147483647 w 125"/>
                <a:gd name="T43" fmla="*/ 2147483647 h 81"/>
                <a:gd name="T44" fmla="*/ 2147483647 w 125"/>
                <a:gd name="T45" fmla="*/ 2147483647 h 81"/>
                <a:gd name="T46" fmla="*/ 2147483647 w 125"/>
                <a:gd name="T47" fmla="*/ 2147483647 h 81"/>
                <a:gd name="T48" fmla="*/ 2147483647 w 125"/>
                <a:gd name="T49" fmla="*/ 0 h 81"/>
                <a:gd name="T50" fmla="*/ 2147483647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5"/>
                <a:gd name="T79" fmla="*/ 0 h 81"/>
                <a:gd name="T80" fmla="*/ 125 w 125"/>
                <a:gd name="T81" fmla="*/ 81 h 81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72" name="Freeform 250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4225925" y="3590925"/>
              <a:ext cx="152400" cy="201613"/>
            </a:xfrm>
            <a:custGeom>
              <a:avLst/>
              <a:gdLst>
                <a:gd name="T0" fmla="*/ 2147483647 w 355"/>
                <a:gd name="T1" fmla="*/ 2147483647 h 388"/>
                <a:gd name="T2" fmla="*/ 2147483647 w 355"/>
                <a:gd name="T3" fmla="*/ 2147483647 h 388"/>
                <a:gd name="T4" fmla="*/ 2147483647 w 355"/>
                <a:gd name="T5" fmla="*/ 2147483647 h 388"/>
                <a:gd name="T6" fmla="*/ 2147483647 w 355"/>
                <a:gd name="T7" fmla="*/ 2147483647 h 388"/>
                <a:gd name="T8" fmla="*/ 2147483647 w 355"/>
                <a:gd name="T9" fmla="*/ 2147483647 h 388"/>
                <a:gd name="T10" fmla="*/ 2147483647 w 355"/>
                <a:gd name="T11" fmla="*/ 2147483647 h 388"/>
                <a:gd name="T12" fmla="*/ 2147483647 w 355"/>
                <a:gd name="T13" fmla="*/ 2147483647 h 388"/>
                <a:gd name="T14" fmla="*/ 2147483647 w 355"/>
                <a:gd name="T15" fmla="*/ 2147483647 h 388"/>
                <a:gd name="T16" fmla="*/ 2147483647 w 355"/>
                <a:gd name="T17" fmla="*/ 2147483647 h 388"/>
                <a:gd name="T18" fmla="*/ 2147483647 w 355"/>
                <a:gd name="T19" fmla="*/ 2147483647 h 388"/>
                <a:gd name="T20" fmla="*/ 2147483647 w 355"/>
                <a:gd name="T21" fmla="*/ 2147483647 h 388"/>
                <a:gd name="T22" fmla="*/ 2147483647 w 355"/>
                <a:gd name="T23" fmla="*/ 2147483647 h 388"/>
                <a:gd name="T24" fmla="*/ 2147483647 w 355"/>
                <a:gd name="T25" fmla="*/ 2147483647 h 388"/>
                <a:gd name="T26" fmla="*/ 2147483647 w 355"/>
                <a:gd name="T27" fmla="*/ 2147483647 h 388"/>
                <a:gd name="T28" fmla="*/ 2147483647 w 355"/>
                <a:gd name="T29" fmla="*/ 2147483647 h 388"/>
                <a:gd name="T30" fmla="*/ 2147483647 w 355"/>
                <a:gd name="T31" fmla="*/ 2147483647 h 388"/>
                <a:gd name="T32" fmla="*/ 2147483647 w 355"/>
                <a:gd name="T33" fmla="*/ 2147483647 h 388"/>
                <a:gd name="T34" fmla="*/ 2147483647 w 355"/>
                <a:gd name="T35" fmla="*/ 2147483647 h 388"/>
                <a:gd name="T36" fmla="*/ 2147483647 w 355"/>
                <a:gd name="T37" fmla="*/ 2147483647 h 388"/>
                <a:gd name="T38" fmla="*/ 2147483647 w 355"/>
                <a:gd name="T39" fmla="*/ 2147483647 h 388"/>
                <a:gd name="T40" fmla="*/ 2147483647 w 355"/>
                <a:gd name="T41" fmla="*/ 2147483647 h 388"/>
                <a:gd name="T42" fmla="*/ 2147483647 w 355"/>
                <a:gd name="T43" fmla="*/ 2147483647 h 388"/>
                <a:gd name="T44" fmla="*/ 2147483647 w 355"/>
                <a:gd name="T45" fmla="*/ 2147483647 h 388"/>
                <a:gd name="T46" fmla="*/ 2147483647 w 355"/>
                <a:gd name="T47" fmla="*/ 2147483647 h 388"/>
                <a:gd name="T48" fmla="*/ 2147483647 w 355"/>
                <a:gd name="T49" fmla="*/ 2147483647 h 388"/>
                <a:gd name="T50" fmla="*/ 2147483647 w 355"/>
                <a:gd name="T51" fmla="*/ 2147483647 h 388"/>
                <a:gd name="T52" fmla="*/ 2147483647 w 355"/>
                <a:gd name="T53" fmla="*/ 2147483647 h 388"/>
                <a:gd name="T54" fmla="*/ 2147483647 w 355"/>
                <a:gd name="T55" fmla="*/ 2147483647 h 388"/>
                <a:gd name="T56" fmla="*/ 2147483647 w 355"/>
                <a:gd name="T57" fmla="*/ 2147483647 h 388"/>
                <a:gd name="T58" fmla="*/ 2147483647 w 355"/>
                <a:gd name="T59" fmla="*/ 2147483647 h 388"/>
                <a:gd name="T60" fmla="*/ 2147483647 w 355"/>
                <a:gd name="T61" fmla="*/ 2147483647 h 388"/>
                <a:gd name="T62" fmla="*/ 2147483647 w 355"/>
                <a:gd name="T63" fmla="*/ 2147483647 h 388"/>
                <a:gd name="T64" fmla="*/ 2147483647 w 355"/>
                <a:gd name="T65" fmla="*/ 2147483647 h 388"/>
                <a:gd name="T66" fmla="*/ 2147483647 w 355"/>
                <a:gd name="T67" fmla="*/ 2147483647 h 388"/>
                <a:gd name="T68" fmla="*/ 2147483647 w 355"/>
                <a:gd name="T69" fmla="*/ 2147483647 h 388"/>
                <a:gd name="T70" fmla="*/ 2147483647 w 355"/>
                <a:gd name="T71" fmla="*/ 2147483647 h 388"/>
                <a:gd name="T72" fmla="*/ 2147483647 w 355"/>
                <a:gd name="T73" fmla="*/ 2147483647 h 388"/>
                <a:gd name="T74" fmla="*/ 2147483647 w 355"/>
                <a:gd name="T75" fmla="*/ 2147483647 h 388"/>
                <a:gd name="T76" fmla="*/ 2147483647 w 355"/>
                <a:gd name="T77" fmla="*/ 2147483647 h 388"/>
                <a:gd name="T78" fmla="*/ 2147483647 w 355"/>
                <a:gd name="T79" fmla="*/ 2147483647 h 388"/>
                <a:gd name="T80" fmla="*/ 2147483647 w 355"/>
                <a:gd name="T81" fmla="*/ 2147483647 h 388"/>
                <a:gd name="T82" fmla="*/ 2147483647 w 355"/>
                <a:gd name="T83" fmla="*/ 2147483647 h 388"/>
                <a:gd name="T84" fmla="*/ 2147483647 w 355"/>
                <a:gd name="T85" fmla="*/ 2147483647 h 388"/>
                <a:gd name="T86" fmla="*/ 2147483647 w 355"/>
                <a:gd name="T87" fmla="*/ 2147483647 h 388"/>
                <a:gd name="T88" fmla="*/ 2147483647 w 355"/>
                <a:gd name="T89" fmla="*/ 2147483647 h 388"/>
                <a:gd name="T90" fmla="*/ 2147483647 w 355"/>
                <a:gd name="T91" fmla="*/ 2147483647 h 388"/>
                <a:gd name="T92" fmla="*/ 2147483647 w 355"/>
                <a:gd name="T93" fmla="*/ 2147483647 h 388"/>
                <a:gd name="T94" fmla="*/ 2147483647 w 355"/>
                <a:gd name="T95" fmla="*/ 2147483647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55"/>
                <a:gd name="T145" fmla="*/ 0 h 388"/>
                <a:gd name="T146" fmla="*/ 355 w 355"/>
                <a:gd name="T147" fmla="*/ 388 h 38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73" name="Freeform 251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4759325" y="3995738"/>
              <a:ext cx="260350" cy="520700"/>
            </a:xfrm>
            <a:custGeom>
              <a:avLst/>
              <a:gdLst>
                <a:gd name="T0" fmla="*/ 0 w 599"/>
                <a:gd name="T1" fmla="*/ 2147483647 h 993"/>
                <a:gd name="T2" fmla="*/ 2147483647 w 599"/>
                <a:gd name="T3" fmla="*/ 2147483647 h 993"/>
                <a:gd name="T4" fmla="*/ 2147483647 w 599"/>
                <a:gd name="T5" fmla="*/ 2147483647 h 993"/>
                <a:gd name="T6" fmla="*/ 2147483647 w 599"/>
                <a:gd name="T7" fmla="*/ 2147483647 h 993"/>
                <a:gd name="T8" fmla="*/ 2147483647 w 599"/>
                <a:gd name="T9" fmla="*/ 2147483647 h 993"/>
                <a:gd name="T10" fmla="*/ 2147483647 w 599"/>
                <a:gd name="T11" fmla="*/ 2147483647 h 993"/>
                <a:gd name="T12" fmla="*/ 2147483647 w 599"/>
                <a:gd name="T13" fmla="*/ 2147483647 h 993"/>
                <a:gd name="T14" fmla="*/ 2147483647 w 599"/>
                <a:gd name="T15" fmla="*/ 2147483647 h 993"/>
                <a:gd name="T16" fmla="*/ 2147483647 w 599"/>
                <a:gd name="T17" fmla="*/ 2147483647 h 993"/>
                <a:gd name="T18" fmla="*/ 2147483647 w 599"/>
                <a:gd name="T19" fmla="*/ 2147483647 h 993"/>
                <a:gd name="T20" fmla="*/ 2147483647 w 599"/>
                <a:gd name="T21" fmla="*/ 2147483647 h 993"/>
                <a:gd name="T22" fmla="*/ 2147483647 w 599"/>
                <a:gd name="T23" fmla="*/ 2147483647 h 993"/>
                <a:gd name="T24" fmla="*/ 2147483647 w 599"/>
                <a:gd name="T25" fmla="*/ 2147483647 h 993"/>
                <a:gd name="T26" fmla="*/ 2147483647 w 599"/>
                <a:gd name="T27" fmla="*/ 2147483647 h 993"/>
                <a:gd name="T28" fmla="*/ 2147483647 w 599"/>
                <a:gd name="T29" fmla="*/ 2147483647 h 993"/>
                <a:gd name="T30" fmla="*/ 2147483647 w 599"/>
                <a:gd name="T31" fmla="*/ 2147483647 h 993"/>
                <a:gd name="T32" fmla="*/ 2147483647 w 599"/>
                <a:gd name="T33" fmla="*/ 2147483647 h 993"/>
                <a:gd name="T34" fmla="*/ 2147483647 w 599"/>
                <a:gd name="T35" fmla="*/ 2147483647 h 993"/>
                <a:gd name="T36" fmla="*/ 2147483647 w 599"/>
                <a:gd name="T37" fmla="*/ 2147483647 h 993"/>
                <a:gd name="T38" fmla="*/ 2147483647 w 599"/>
                <a:gd name="T39" fmla="*/ 2147483647 h 993"/>
                <a:gd name="T40" fmla="*/ 2147483647 w 599"/>
                <a:gd name="T41" fmla="*/ 2147483647 h 993"/>
                <a:gd name="T42" fmla="*/ 2147483647 w 599"/>
                <a:gd name="T43" fmla="*/ 2147483647 h 993"/>
                <a:gd name="T44" fmla="*/ 2147483647 w 599"/>
                <a:gd name="T45" fmla="*/ 2147483647 h 993"/>
                <a:gd name="T46" fmla="*/ 2147483647 w 599"/>
                <a:gd name="T47" fmla="*/ 2147483647 h 993"/>
                <a:gd name="T48" fmla="*/ 2147483647 w 599"/>
                <a:gd name="T49" fmla="*/ 2147483647 h 993"/>
                <a:gd name="T50" fmla="*/ 2147483647 w 599"/>
                <a:gd name="T51" fmla="*/ 2147483647 h 993"/>
                <a:gd name="T52" fmla="*/ 2147483647 w 599"/>
                <a:gd name="T53" fmla="*/ 2147483647 h 993"/>
                <a:gd name="T54" fmla="*/ 2147483647 w 599"/>
                <a:gd name="T55" fmla="*/ 2147483647 h 993"/>
                <a:gd name="T56" fmla="*/ 2147483647 w 599"/>
                <a:gd name="T57" fmla="*/ 2147483647 h 993"/>
                <a:gd name="T58" fmla="*/ 2147483647 w 599"/>
                <a:gd name="T59" fmla="*/ 2147483647 h 993"/>
                <a:gd name="T60" fmla="*/ 2147483647 w 599"/>
                <a:gd name="T61" fmla="*/ 2147483647 h 993"/>
                <a:gd name="T62" fmla="*/ 2147483647 w 599"/>
                <a:gd name="T63" fmla="*/ 2147483647 h 993"/>
                <a:gd name="T64" fmla="*/ 2147483647 w 599"/>
                <a:gd name="T65" fmla="*/ 2147483647 h 993"/>
                <a:gd name="T66" fmla="*/ 2147483647 w 599"/>
                <a:gd name="T67" fmla="*/ 2147483647 h 993"/>
                <a:gd name="T68" fmla="*/ 2147483647 w 599"/>
                <a:gd name="T69" fmla="*/ 2147483647 h 993"/>
                <a:gd name="T70" fmla="*/ 2147483647 w 599"/>
                <a:gd name="T71" fmla="*/ 2147483647 h 993"/>
                <a:gd name="T72" fmla="*/ 2147483647 w 599"/>
                <a:gd name="T73" fmla="*/ 2147483647 h 993"/>
                <a:gd name="T74" fmla="*/ 2147483647 w 599"/>
                <a:gd name="T75" fmla="*/ 2147483647 h 993"/>
                <a:gd name="T76" fmla="*/ 2147483647 w 599"/>
                <a:gd name="T77" fmla="*/ 2147483647 h 993"/>
                <a:gd name="T78" fmla="*/ 2147483647 w 599"/>
                <a:gd name="T79" fmla="*/ 2147483647 h 993"/>
                <a:gd name="T80" fmla="*/ 2147483647 w 599"/>
                <a:gd name="T81" fmla="*/ 2147483647 h 993"/>
                <a:gd name="T82" fmla="*/ 2147483647 w 599"/>
                <a:gd name="T83" fmla="*/ 2147483647 h 993"/>
                <a:gd name="T84" fmla="*/ 2147483647 w 599"/>
                <a:gd name="T85" fmla="*/ 2147483647 h 993"/>
                <a:gd name="T86" fmla="*/ 2147483647 w 599"/>
                <a:gd name="T87" fmla="*/ 2147483647 h 993"/>
                <a:gd name="T88" fmla="*/ 2147483647 w 599"/>
                <a:gd name="T89" fmla="*/ 2147483647 h 993"/>
                <a:gd name="T90" fmla="*/ 2147483647 w 599"/>
                <a:gd name="T91" fmla="*/ 2147483647 h 993"/>
                <a:gd name="T92" fmla="*/ 2147483647 w 599"/>
                <a:gd name="T93" fmla="*/ 2147483647 h 993"/>
                <a:gd name="T94" fmla="*/ 2147483647 w 599"/>
                <a:gd name="T95" fmla="*/ 2147483647 h 993"/>
                <a:gd name="T96" fmla="*/ 2147483647 w 599"/>
                <a:gd name="T97" fmla="*/ 2147483647 h 993"/>
                <a:gd name="T98" fmla="*/ 2147483647 w 599"/>
                <a:gd name="T99" fmla="*/ 2147483647 h 993"/>
                <a:gd name="T100" fmla="*/ 2147483647 w 599"/>
                <a:gd name="T101" fmla="*/ 2147483647 h 993"/>
                <a:gd name="T102" fmla="*/ 2147483647 w 599"/>
                <a:gd name="T103" fmla="*/ 2147483647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9"/>
                <a:gd name="T157" fmla="*/ 0 h 993"/>
                <a:gd name="T158" fmla="*/ 599 w 599"/>
                <a:gd name="T159" fmla="*/ 993 h 99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74" name="Freeform 252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4494213" y="4235450"/>
              <a:ext cx="238125" cy="287338"/>
            </a:xfrm>
            <a:custGeom>
              <a:avLst/>
              <a:gdLst>
                <a:gd name="T0" fmla="*/ 2147483647 w 545"/>
                <a:gd name="T1" fmla="*/ 2147483647 h 549"/>
                <a:gd name="T2" fmla="*/ 2147483647 w 545"/>
                <a:gd name="T3" fmla="*/ 2147483647 h 549"/>
                <a:gd name="T4" fmla="*/ 2147483647 w 545"/>
                <a:gd name="T5" fmla="*/ 2147483647 h 549"/>
                <a:gd name="T6" fmla="*/ 2147483647 w 545"/>
                <a:gd name="T7" fmla="*/ 2147483647 h 549"/>
                <a:gd name="T8" fmla="*/ 2147483647 w 545"/>
                <a:gd name="T9" fmla="*/ 2147483647 h 549"/>
                <a:gd name="T10" fmla="*/ 2147483647 w 545"/>
                <a:gd name="T11" fmla="*/ 2147483647 h 549"/>
                <a:gd name="T12" fmla="*/ 2147483647 w 545"/>
                <a:gd name="T13" fmla="*/ 2147483647 h 549"/>
                <a:gd name="T14" fmla="*/ 2147483647 w 545"/>
                <a:gd name="T15" fmla="*/ 2147483647 h 549"/>
                <a:gd name="T16" fmla="*/ 2147483647 w 545"/>
                <a:gd name="T17" fmla="*/ 2147483647 h 549"/>
                <a:gd name="T18" fmla="*/ 2147483647 w 545"/>
                <a:gd name="T19" fmla="*/ 2147483647 h 549"/>
                <a:gd name="T20" fmla="*/ 2147483647 w 545"/>
                <a:gd name="T21" fmla="*/ 2147483647 h 549"/>
                <a:gd name="T22" fmla="*/ 2147483647 w 545"/>
                <a:gd name="T23" fmla="*/ 2147483647 h 549"/>
                <a:gd name="T24" fmla="*/ 2147483647 w 545"/>
                <a:gd name="T25" fmla="*/ 2147483647 h 549"/>
                <a:gd name="T26" fmla="*/ 2147483647 w 545"/>
                <a:gd name="T27" fmla="*/ 2147483647 h 549"/>
                <a:gd name="T28" fmla="*/ 2147483647 w 545"/>
                <a:gd name="T29" fmla="*/ 2147483647 h 549"/>
                <a:gd name="T30" fmla="*/ 2147483647 w 545"/>
                <a:gd name="T31" fmla="*/ 2147483647 h 549"/>
                <a:gd name="T32" fmla="*/ 2147483647 w 545"/>
                <a:gd name="T33" fmla="*/ 2147483647 h 549"/>
                <a:gd name="T34" fmla="*/ 2147483647 w 545"/>
                <a:gd name="T35" fmla="*/ 2147483647 h 549"/>
                <a:gd name="T36" fmla="*/ 2147483647 w 545"/>
                <a:gd name="T37" fmla="*/ 2147483647 h 549"/>
                <a:gd name="T38" fmla="*/ 2147483647 w 545"/>
                <a:gd name="T39" fmla="*/ 2147483647 h 549"/>
                <a:gd name="T40" fmla="*/ 2147483647 w 545"/>
                <a:gd name="T41" fmla="*/ 2147483647 h 549"/>
                <a:gd name="T42" fmla="*/ 2147483647 w 545"/>
                <a:gd name="T43" fmla="*/ 2147483647 h 549"/>
                <a:gd name="T44" fmla="*/ 2147483647 w 545"/>
                <a:gd name="T45" fmla="*/ 2147483647 h 549"/>
                <a:gd name="T46" fmla="*/ 2147483647 w 545"/>
                <a:gd name="T47" fmla="*/ 2147483647 h 549"/>
                <a:gd name="T48" fmla="*/ 2147483647 w 545"/>
                <a:gd name="T49" fmla="*/ 2147483647 h 549"/>
                <a:gd name="T50" fmla="*/ 2147483647 w 545"/>
                <a:gd name="T51" fmla="*/ 2147483647 h 549"/>
                <a:gd name="T52" fmla="*/ 2147483647 w 545"/>
                <a:gd name="T53" fmla="*/ 2147483647 h 549"/>
                <a:gd name="T54" fmla="*/ 2147483647 w 545"/>
                <a:gd name="T55" fmla="*/ 2147483647 h 549"/>
                <a:gd name="T56" fmla="*/ 2147483647 w 545"/>
                <a:gd name="T57" fmla="*/ 2147483647 h 549"/>
                <a:gd name="T58" fmla="*/ 2147483647 w 545"/>
                <a:gd name="T59" fmla="*/ 2147483647 h 549"/>
                <a:gd name="T60" fmla="*/ 2147483647 w 545"/>
                <a:gd name="T61" fmla="*/ 2147483647 h 549"/>
                <a:gd name="T62" fmla="*/ 2147483647 w 545"/>
                <a:gd name="T63" fmla="*/ 2147483647 h 549"/>
                <a:gd name="T64" fmla="*/ 2147483647 w 545"/>
                <a:gd name="T65" fmla="*/ 0 h 549"/>
                <a:gd name="T66" fmla="*/ 2147483647 w 545"/>
                <a:gd name="T67" fmla="*/ 2147483647 h 549"/>
                <a:gd name="T68" fmla="*/ 2147483647 w 545"/>
                <a:gd name="T69" fmla="*/ 2147483647 h 549"/>
                <a:gd name="T70" fmla="*/ 2147483647 w 545"/>
                <a:gd name="T71" fmla="*/ 2147483647 h 549"/>
                <a:gd name="T72" fmla="*/ 2147483647 w 545"/>
                <a:gd name="T73" fmla="*/ 2147483647 h 549"/>
                <a:gd name="T74" fmla="*/ 2147483647 w 545"/>
                <a:gd name="T75" fmla="*/ 2147483647 h 549"/>
                <a:gd name="T76" fmla="*/ 2147483647 w 545"/>
                <a:gd name="T77" fmla="*/ 2147483647 h 549"/>
                <a:gd name="T78" fmla="*/ 2147483647 w 545"/>
                <a:gd name="T79" fmla="*/ 2147483647 h 549"/>
                <a:gd name="T80" fmla="*/ 2147483647 w 545"/>
                <a:gd name="T81" fmla="*/ 2147483647 h 549"/>
                <a:gd name="T82" fmla="*/ 2147483647 w 545"/>
                <a:gd name="T83" fmla="*/ 2147483647 h 549"/>
                <a:gd name="T84" fmla="*/ 2147483647 w 545"/>
                <a:gd name="T85" fmla="*/ 2147483647 h 549"/>
                <a:gd name="T86" fmla="*/ 2147483647 w 545"/>
                <a:gd name="T87" fmla="*/ 2147483647 h 549"/>
                <a:gd name="T88" fmla="*/ 2147483647 w 545"/>
                <a:gd name="T89" fmla="*/ 2147483647 h 549"/>
                <a:gd name="T90" fmla="*/ 2147483647 w 545"/>
                <a:gd name="T91" fmla="*/ 2147483647 h 549"/>
                <a:gd name="T92" fmla="*/ 2147483647 w 545"/>
                <a:gd name="T93" fmla="*/ 2147483647 h 549"/>
                <a:gd name="T94" fmla="*/ 2147483647 w 545"/>
                <a:gd name="T95" fmla="*/ 2147483647 h 549"/>
                <a:gd name="T96" fmla="*/ 2147483647 w 545"/>
                <a:gd name="T97" fmla="*/ 2147483647 h 549"/>
                <a:gd name="T98" fmla="*/ 0 w 545"/>
                <a:gd name="T99" fmla="*/ 2147483647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45"/>
                <a:gd name="T151" fmla="*/ 0 h 549"/>
                <a:gd name="T152" fmla="*/ 545 w 545"/>
                <a:gd name="T153" fmla="*/ 549 h 549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75" name="Freeform 253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5067300" y="4037013"/>
              <a:ext cx="196850" cy="434975"/>
            </a:xfrm>
            <a:custGeom>
              <a:avLst/>
              <a:gdLst>
                <a:gd name="T0" fmla="*/ 2147483647 w 452"/>
                <a:gd name="T1" fmla="*/ 2147483647 h 832"/>
                <a:gd name="T2" fmla="*/ 2147483647 w 452"/>
                <a:gd name="T3" fmla="*/ 2147483647 h 832"/>
                <a:gd name="T4" fmla="*/ 2147483647 w 452"/>
                <a:gd name="T5" fmla="*/ 2147483647 h 832"/>
                <a:gd name="T6" fmla="*/ 2147483647 w 452"/>
                <a:gd name="T7" fmla="*/ 2147483647 h 832"/>
                <a:gd name="T8" fmla="*/ 2147483647 w 452"/>
                <a:gd name="T9" fmla="*/ 2147483647 h 832"/>
                <a:gd name="T10" fmla="*/ 2147483647 w 452"/>
                <a:gd name="T11" fmla="*/ 2147483647 h 832"/>
                <a:gd name="T12" fmla="*/ 2147483647 w 452"/>
                <a:gd name="T13" fmla="*/ 2147483647 h 832"/>
                <a:gd name="T14" fmla="*/ 2147483647 w 452"/>
                <a:gd name="T15" fmla="*/ 2147483647 h 832"/>
                <a:gd name="T16" fmla="*/ 2147483647 w 452"/>
                <a:gd name="T17" fmla="*/ 2147483647 h 832"/>
                <a:gd name="T18" fmla="*/ 2147483647 w 452"/>
                <a:gd name="T19" fmla="*/ 2147483647 h 832"/>
                <a:gd name="T20" fmla="*/ 2147483647 w 452"/>
                <a:gd name="T21" fmla="*/ 2147483647 h 832"/>
                <a:gd name="T22" fmla="*/ 2147483647 w 452"/>
                <a:gd name="T23" fmla="*/ 2147483647 h 832"/>
                <a:gd name="T24" fmla="*/ 2147483647 w 452"/>
                <a:gd name="T25" fmla="*/ 0 h 832"/>
                <a:gd name="T26" fmla="*/ 2147483647 w 452"/>
                <a:gd name="T27" fmla="*/ 2147483647 h 832"/>
                <a:gd name="T28" fmla="*/ 2147483647 w 452"/>
                <a:gd name="T29" fmla="*/ 2147483647 h 832"/>
                <a:gd name="T30" fmla="*/ 2147483647 w 452"/>
                <a:gd name="T31" fmla="*/ 2147483647 h 832"/>
                <a:gd name="T32" fmla="*/ 2147483647 w 452"/>
                <a:gd name="T33" fmla="*/ 2147483647 h 832"/>
                <a:gd name="T34" fmla="*/ 2147483647 w 452"/>
                <a:gd name="T35" fmla="*/ 2147483647 h 832"/>
                <a:gd name="T36" fmla="*/ 2147483647 w 452"/>
                <a:gd name="T37" fmla="*/ 2147483647 h 832"/>
                <a:gd name="T38" fmla="*/ 2147483647 w 452"/>
                <a:gd name="T39" fmla="*/ 2147483647 h 832"/>
                <a:gd name="T40" fmla="*/ 2147483647 w 452"/>
                <a:gd name="T41" fmla="*/ 2147483647 h 832"/>
                <a:gd name="T42" fmla="*/ 2147483647 w 452"/>
                <a:gd name="T43" fmla="*/ 2147483647 h 832"/>
                <a:gd name="T44" fmla="*/ 2147483647 w 452"/>
                <a:gd name="T45" fmla="*/ 2147483647 h 832"/>
                <a:gd name="T46" fmla="*/ 2147483647 w 452"/>
                <a:gd name="T47" fmla="*/ 2147483647 h 832"/>
                <a:gd name="T48" fmla="*/ 2147483647 w 452"/>
                <a:gd name="T49" fmla="*/ 2147483647 h 832"/>
                <a:gd name="T50" fmla="*/ 2147483647 w 452"/>
                <a:gd name="T51" fmla="*/ 2147483647 h 832"/>
                <a:gd name="T52" fmla="*/ 2147483647 w 452"/>
                <a:gd name="T53" fmla="*/ 2147483647 h 832"/>
                <a:gd name="T54" fmla="*/ 2147483647 w 452"/>
                <a:gd name="T55" fmla="*/ 2147483647 h 832"/>
                <a:gd name="T56" fmla="*/ 2147483647 w 452"/>
                <a:gd name="T57" fmla="*/ 2147483647 h 832"/>
                <a:gd name="T58" fmla="*/ 2147483647 w 452"/>
                <a:gd name="T59" fmla="*/ 2147483647 h 832"/>
                <a:gd name="T60" fmla="*/ 2147483647 w 452"/>
                <a:gd name="T61" fmla="*/ 2147483647 h 832"/>
                <a:gd name="T62" fmla="*/ 2147483647 w 452"/>
                <a:gd name="T63" fmla="*/ 2147483647 h 832"/>
                <a:gd name="T64" fmla="*/ 2147483647 w 452"/>
                <a:gd name="T65" fmla="*/ 2147483647 h 832"/>
                <a:gd name="T66" fmla="*/ 2147483647 w 452"/>
                <a:gd name="T67" fmla="*/ 2147483647 h 832"/>
                <a:gd name="T68" fmla="*/ 2147483647 w 452"/>
                <a:gd name="T69" fmla="*/ 2147483647 h 832"/>
                <a:gd name="T70" fmla="*/ 2147483647 w 452"/>
                <a:gd name="T71" fmla="*/ 2147483647 h 832"/>
                <a:gd name="T72" fmla="*/ 2147483647 w 452"/>
                <a:gd name="T73" fmla="*/ 2147483647 h 832"/>
                <a:gd name="T74" fmla="*/ 2147483647 w 452"/>
                <a:gd name="T75" fmla="*/ 2147483647 h 832"/>
                <a:gd name="T76" fmla="*/ 2147483647 w 452"/>
                <a:gd name="T77" fmla="*/ 2147483647 h 832"/>
                <a:gd name="T78" fmla="*/ 2147483647 w 452"/>
                <a:gd name="T79" fmla="*/ 2147483647 h 832"/>
                <a:gd name="T80" fmla="*/ 2147483647 w 452"/>
                <a:gd name="T81" fmla="*/ 2147483647 h 832"/>
                <a:gd name="T82" fmla="*/ 2147483647 w 452"/>
                <a:gd name="T83" fmla="*/ 2147483647 h 832"/>
                <a:gd name="T84" fmla="*/ 2147483647 w 452"/>
                <a:gd name="T85" fmla="*/ 2147483647 h 832"/>
                <a:gd name="T86" fmla="*/ 2147483647 w 452"/>
                <a:gd name="T87" fmla="*/ 2147483647 h 832"/>
                <a:gd name="T88" fmla="*/ 2147483647 w 452"/>
                <a:gd name="T89" fmla="*/ 2147483647 h 832"/>
                <a:gd name="T90" fmla="*/ 2147483647 w 452"/>
                <a:gd name="T91" fmla="*/ 2147483647 h 832"/>
                <a:gd name="T92" fmla="*/ 0 w 452"/>
                <a:gd name="T93" fmla="*/ 2147483647 h 832"/>
                <a:gd name="T94" fmla="*/ 2147483647 w 452"/>
                <a:gd name="T95" fmla="*/ 2147483647 h 832"/>
                <a:gd name="T96" fmla="*/ 2147483647 w 452"/>
                <a:gd name="T97" fmla="*/ 2147483647 h 832"/>
                <a:gd name="T98" fmla="*/ 2147483647 w 452"/>
                <a:gd name="T99" fmla="*/ 2147483647 h 832"/>
                <a:gd name="T100" fmla="*/ 0 w 452"/>
                <a:gd name="T101" fmla="*/ 2147483647 h 832"/>
                <a:gd name="T102" fmla="*/ 2147483647 w 452"/>
                <a:gd name="T103" fmla="*/ 2147483647 h 832"/>
                <a:gd name="T104" fmla="*/ 2147483647 w 452"/>
                <a:gd name="T105" fmla="*/ 2147483647 h 832"/>
                <a:gd name="T106" fmla="*/ 2147483647 w 452"/>
                <a:gd name="T107" fmla="*/ 2147483647 h 832"/>
                <a:gd name="T108" fmla="*/ 2147483647 w 452"/>
                <a:gd name="T109" fmla="*/ 2147483647 h 832"/>
                <a:gd name="T110" fmla="*/ 2147483647 w 452"/>
                <a:gd name="T111" fmla="*/ 2147483647 h 832"/>
                <a:gd name="T112" fmla="*/ 2147483647 w 452"/>
                <a:gd name="T113" fmla="*/ 2147483647 h 832"/>
                <a:gd name="T114" fmla="*/ 2147483647 w 452"/>
                <a:gd name="T115" fmla="*/ 2147483647 h 832"/>
                <a:gd name="T116" fmla="*/ 2147483647 w 452"/>
                <a:gd name="T117" fmla="*/ 2147483647 h 832"/>
                <a:gd name="T118" fmla="*/ 2147483647 w 452"/>
                <a:gd name="T119" fmla="*/ 2147483647 h 832"/>
                <a:gd name="T120" fmla="*/ 2147483647 w 452"/>
                <a:gd name="T121" fmla="*/ 2147483647 h 832"/>
                <a:gd name="T122" fmla="*/ 2147483647 w 452"/>
                <a:gd name="T123" fmla="*/ 2147483647 h 832"/>
                <a:gd name="T124" fmla="*/ 2147483647 w 452"/>
                <a:gd name="T125" fmla="*/ 2147483647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52"/>
                <a:gd name="T190" fmla="*/ 0 h 832"/>
                <a:gd name="T191" fmla="*/ 452 w 452"/>
                <a:gd name="T192" fmla="*/ 832 h 83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76" name="Freeform 254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4743450" y="3735388"/>
              <a:ext cx="36513" cy="66675"/>
            </a:xfrm>
            <a:custGeom>
              <a:avLst/>
              <a:gdLst>
                <a:gd name="T0" fmla="*/ 2147483647 w 80"/>
                <a:gd name="T1" fmla="*/ 2147483647 h 126"/>
                <a:gd name="T2" fmla="*/ 2147483647 w 80"/>
                <a:gd name="T3" fmla="*/ 2147483647 h 126"/>
                <a:gd name="T4" fmla="*/ 2147483647 w 80"/>
                <a:gd name="T5" fmla="*/ 2147483647 h 126"/>
                <a:gd name="T6" fmla="*/ 2147483647 w 80"/>
                <a:gd name="T7" fmla="*/ 2147483647 h 126"/>
                <a:gd name="T8" fmla="*/ 2147483647 w 80"/>
                <a:gd name="T9" fmla="*/ 2147483647 h 126"/>
                <a:gd name="T10" fmla="*/ 2147483647 w 80"/>
                <a:gd name="T11" fmla="*/ 2147483647 h 126"/>
                <a:gd name="T12" fmla="*/ 2147483647 w 80"/>
                <a:gd name="T13" fmla="*/ 2147483647 h 126"/>
                <a:gd name="T14" fmla="*/ 2147483647 w 80"/>
                <a:gd name="T15" fmla="*/ 2147483647 h 126"/>
                <a:gd name="T16" fmla="*/ 2147483647 w 80"/>
                <a:gd name="T17" fmla="*/ 2147483647 h 126"/>
                <a:gd name="T18" fmla="*/ 2147483647 w 80"/>
                <a:gd name="T19" fmla="*/ 2147483647 h 126"/>
                <a:gd name="T20" fmla="*/ 2147483647 w 80"/>
                <a:gd name="T21" fmla="*/ 2147483647 h 126"/>
                <a:gd name="T22" fmla="*/ 0 w 80"/>
                <a:gd name="T23" fmla="*/ 2147483647 h 126"/>
                <a:gd name="T24" fmla="*/ 2147483647 w 80"/>
                <a:gd name="T25" fmla="*/ 2147483647 h 126"/>
                <a:gd name="T26" fmla="*/ 2147483647 w 80"/>
                <a:gd name="T27" fmla="*/ 2147483647 h 126"/>
                <a:gd name="T28" fmla="*/ 2147483647 w 80"/>
                <a:gd name="T29" fmla="*/ 2147483647 h 126"/>
                <a:gd name="T30" fmla="*/ 2147483647 w 80"/>
                <a:gd name="T31" fmla="*/ 2147483647 h 126"/>
                <a:gd name="T32" fmla="*/ 2147483647 w 80"/>
                <a:gd name="T33" fmla="*/ 2147483647 h 126"/>
                <a:gd name="T34" fmla="*/ 2147483647 w 80"/>
                <a:gd name="T35" fmla="*/ 0 h 126"/>
                <a:gd name="T36" fmla="*/ 2147483647 w 80"/>
                <a:gd name="T37" fmla="*/ 0 h 126"/>
                <a:gd name="T38" fmla="*/ 2147483647 w 80"/>
                <a:gd name="T39" fmla="*/ 2147483647 h 126"/>
                <a:gd name="T40" fmla="*/ 2147483647 w 80"/>
                <a:gd name="T41" fmla="*/ 2147483647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80"/>
                <a:gd name="T64" fmla="*/ 0 h 126"/>
                <a:gd name="T65" fmla="*/ 80 w 80"/>
                <a:gd name="T66" fmla="*/ 126 h 12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77" name="Freeform 255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4732338" y="3695700"/>
              <a:ext cx="55562" cy="60325"/>
            </a:xfrm>
            <a:custGeom>
              <a:avLst/>
              <a:gdLst>
                <a:gd name="T0" fmla="*/ 2147483647 w 124"/>
                <a:gd name="T1" fmla="*/ 0 h 117"/>
                <a:gd name="T2" fmla="*/ 2147483647 w 124"/>
                <a:gd name="T3" fmla="*/ 2147483647 h 117"/>
                <a:gd name="T4" fmla="*/ 2147483647 w 124"/>
                <a:gd name="T5" fmla="*/ 2147483647 h 117"/>
                <a:gd name="T6" fmla="*/ 2147483647 w 124"/>
                <a:gd name="T7" fmla="*/ 2147483647 h 117"/>
                <a:gd name="T8" fmla="*/ 2147483647 w 124"/>
                <a:gd name="T9" fmla="*/ 2147483647 h 117"/>
                <a:gd name="T10" fmla="*/ 2147483647 w 124"/>
                <a:gd name="T11" fmla="*/ 2147483647 h 117"/>
                <a:gd name="T12" fmla="*/ 2147483647 w 124"/>
                <a:gd name="T13" fmla="*/ 2147483647 h 117"/>
                <a:gd name="T14" fmla="*/ 2147483647 w 124"/>
                <a:gd name="T15" fmla="*/ 2147483647 h 117"/>
                <a:gd name="T16" fmla="*/ 2147483647 w 124"/>
                <a:gd name="T17" fmla="*/ 2147483647 h 117"/>
                <a:gd name="T18" fmla="*/ 2147483647 w 124"/>
                <a:gd name="T19" fmla="*/ 2147483647 h 117"/>
                <a:gd name="T20" fmla="*/ 2147483647 w 124"/>
                <a:gd name="T21" fmla="*/ 2147483647 h 117"/>
                <a:gd name="T22" fmla="*/ 2147483647 w 124"/>
                <a:gd name="T23" fmla="*/ 2147483647 h 117"/>
                <a:gd name="T24" fmla="*/ 2147483647 w 124"/>
                <a:gd name="T25" fmla="*/ 2147483647 h 117"/>
                <a:gd name="T26" fmla="*/ 2147483647 w 124"/>
                <a:gd name="T27" fmla="*/ 2147483647 h 117"/>
                <a:gd name="T28" fmla="*/ 2147483647 w 124"/>
                <a:gd name="T29" fmla="*/ 2147483647 h 117"/>
                <a:gd name="T30" fmla="*/ 2147483647 w 124"/>
                <a:gd name="T31" fmla="*/ 2147483647 h 117"/>
                <a:gd name="T32" fmla="*/ 2147483647 w 124"/>
                <a:gd name="T33" fmla="*/ 2147483647 h 117"/>
                <a:gd name="T34" fmla="*/ 2147483647 w 124"/>
                <a:gd name="T35" fmla="*/ 2147483647 h 117"/>
                <a:gd name="T36" fmla="*/ 2147483647 w 124"/>
                <a:gd name="T37" fmla="*/ 2147483647 h 117"/>
                <a:gd name="T38" fmla="*/ 2147483647 w 124"/>
                <a:gd name="T39" fmla="*/ 2147483647 h 117"/>
                <a:gd name="T40" fmla="*/ 0 w 124"/>
                <a:gd name="T41" fmla="*/ 2147483647 h 117"/>
                <a:gd name="T42" fmla="*/ 2147483647 w 124"/>
                <a:gd name="T43" fmla="*/ 2147483647 h 117"/>
                <a:gd name="T44" fmla="*/ 2147483647 w 124"/>
                <a:gd name="T45" fmla="*/ 2147483647 h 117"/>
                <a:gd name="T46" fmla="*/ 2147483647 w 124"/>
                <a:gd name="T47" fmla="*/ 2147483647 h 117"/>
                <a:gd name="T48" fmla="*/ 2147483647 w 124"/>
                <a:gd name="T49" fmla="*/ 2147483647 h 117"/>
                <a:gd name="T50" fmla="*/ 2147483647 w 124"/>
                <a:gd name="T51" fmla="*/ 2147483647 h 117"/>
                <a:gd name="T52" fmla="*/ 2147483647 w 124"/>
                <a:gd name="T53" fmla="*/ 2147483647 h 117"/>
                <a:gd name="T54" fmla="*/ 2147483647 w 124"/>
                <a:gd name="T55" fmla="*/ 2147483647 h 117"/>
                <a:gd name="T56" fmla="*/ 2147483647 w 124"/>
                <a:gd name="T57" fmla="*/ 2147483647 h 117"/>
                <a:gd name="T58" fmla="*/ 2147483647 w 124"/>
                <a:gd name="T59" fmla="*/ 2147483647 h 117"/>
                <a:gd name="T60" fmla="*/ 2147483647 w 124"/>
                <a:gd name="T61" fmla="*/ 2147483647 h 117"/>
                <a:gd name="T62" fmla="*/ 2147483647 w 124"/>
                <a:gd name="T63" fmla="*/ 2147483647 h 117"/>
                <a:gd name="T64" fmla="*/ 2147483647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4"/>
                <a:gd name="T100" fmla="*/ 0 h 117"/>
                <a:gd name="T101" fmla="*/ 124 w 124"/>
                <a:gd name="T102" fmla="*/ 117 h 11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78" name="Freeform 256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5041900" y="2395538"/>
              <a:ext cx="503238" cy="473075"/>
            </a:xfrm>
            <a:custGeom>
              <a:avLst/>
              <a:gdLst>
                <a:gd name="T0" fmla="*/ 2147483647 w 1156"/>
                <a:gd name="T1" fmla="*/ 2147483647 h 900"/>
                <a:gd name="T2" fmla="*/ 2147483647 w 1156"/>
                <a:gd name="T3" fmla="*/ 2147483647 h 900"/>
                <a:gd name="T4" fmla="*/ 2147483647 w 1156"/>
                <a:gd name="T5" fmla="*/ 2147483647 h 900"/>
                <a:gd name="T6" fmla="*/ 2147483647 w 1156"/>
                <a:gd name="T7" fmla="*/ 2147483647 h 900"/>
                <a:gd name="T8" fmla="*/ 2147483647 w 1156"/>
                <a:gd name="T9" fmla="*/ 2147483647 h 900"/>
                <a:gd name="T10" fmla="*/ 2147483647 w 1156"/>
                <a:gd name="T11" fmla="*/ 2147483647 h 900"/>
                <a:gd name="T12" fmla="*/ 2147483647 w 1156"/>
                <a:gd name="T13" fmla="*/ 2147483647 h 900"/>
                <a:gd name="T14" fmla="*/ 2147483647 w 1156"/>
                <a:gd name="T15" fmla="*/ 2147483647 h 900"/>
                <a:gd name="T16" fmla="*/ 2147483647 w 1156"/>
                <a:gd name="T17" fmla="*/ 2147483647 h 900"/>
                <a:gd name="T18" fmla="*/ 2147483647 w 1156"/>
                <a:gd name="T19" fmla="*/ 2147483647 h 900"/>
                <a:gd name="T20" fmla="*/ 2147483647 w 1156"/>
                <a:gd name="T21" fmla="*/ 2147483647 h 900"/>
                <a:gd name="T22" fmla="*/ 2147483647 w 1156"/>
                <a:gd name="T23" fmla="*/ 2147483647 h 900"/>
                <a:gd name="T24" fmla="*/ 2147483647 w 1156"/>
                <a:gd name="T25" fmla="*/ 2147483647 h 900"/>
                <a:gd name="T26" fmla="*/ 2147483647 w 1156"/>
                <a:gd name="T27" fmla="*/ 2147483647 h 900"/>
                <a:gd name="T28" fmla="*/ 2147483647 w 1156"/>
                <a:gd name="T29" fmla="*/ 2147483647 h 900"/>
                <a:gd name="T30" fmla="*/ 2147483647 w 1156"/>
                <a:gd name="T31" fmla="*/ 2147483647 h 900"/>
                <a:gd name="T32" fmla="*/ 2147483647 w 1156"/>
                <a:gd name="T33" fmla="*/ 2147483647 h 900"/>
                <a:gd name="T34" fmla="*/ 2147483647 w 1156"/>
                <a:gd name="T35" fmla="*/ 2147483647 h 900"/>
                <a:gd name="T36" fmla="*/ 2147483647 w 1156"/>
                <a:gd name="T37" fmla="*/ 2147483647 h 900"/>
                <a:gd name="T38" fmla="*/ 2147483647 w 1156"/>
                <a:gd name="T39" fmla="*/ 2147483647 h 900"/>
                <a:gd name="T40" fmla="*/ 2147483647 w 1156"/>
                <a:gd name="T41" fmla="*/ 2147483647 h 900"/>
                <a:gd name="T42" fmla="*/ 2147483647 w 1156"/>
                <a:gd name="T43" fmla="*/ 2147483647 h 900"/>
                <a:gd name="T44" fmla="*/ 2147483647 w 1156"/>
                <a:gd name="T45" fmla="*/ 2147483647 h 900"/>
                <a:gd name="T46" fmla="*/ 2147483647 w 1156"/>
                <a:gd name="T47" fmla="*/ 2147483647 h 900"/>
                <a:gd name="T48" fmla="*/ 2147483647 w 1156"/>
                <a:gd name="T49" fmla="*/ 2147483647 h 900"/>
                <a:gd name="T50" fmla="*/ 2147483647 w 1156"/>
                <a:gd name="T51" fmla="*/ 2147483647 h 900"/>
                <a:gd name="T52" fmla="*/ 2147483647 w 1156"/>
                <a:gd name="T53" fmla="*/ 2147483647 h 900"/>
                <a:gd name="T54" fmla="*/ 2147483647 w 1156"/>
                <a:gd name="T55" fmla="*/ 2147483647 h 900"/>
                <a:gd name="T56" fmla="*/ 2147483647 w 1156"/>
                <a:gd name="T57" fmla="*/ 2147483647 h 900"/>
                <a:gd name="T58" fmla="*/ 2147483647 w 1156"/>
                <a:gd name="T59" fmla="*/ 2147483647 h 900"/>
                <a:gd name="T60" fmla="*/ 2147483647 w 1156"/>
                <a:gd name="T61" fmla="*/ 2147483647 h 900"/>
                <a:gd name="T62" fmla="*/ 2147483647 w 1156"/>
                <a:gd name="T63" fmla="*/ 2147483647 h 900"/>
                <a:gd name="T64" fmla="*/ 2147483647 w 1156"/>
                <a:gd name="T65" fmla="*/ 2147483647 h 900"/>
                <a:gd name="T66" fmla="*/ 2147483647 w 1156"/>
                <a:gd name="T67" fmla="*/ 2147483647 h 900"/>
                <a:gd name="T68" fmla="*/ 2147483647 w 1156"/>
                <a:gd name="T69" fmla="*/ 2147483647 h 900"/>
                <a:gd name="T70" fmla="*/ 2147483647 w 1156"/>
                <a:gd name="T71" fmla="*/ 2147483647 h 900"/>
                <a:gd name="T72" fmla="*/ 2147483647 w 1156"/>
                <a:gd name="T73" fmla="*/ 2147483647 h 900"/>
                <a:gd name="T74" fmla="*/ 2147483647 w 1156"/>
                <a:gd name="T75" fmla="*/ 2147483647 h 900"/>
                <a:gd name="T76" fmla="*/ 2147483647 w 1156"/>
                <a:gd name="T77" fmla="*/ 2147483647 h 900"/>
                <a:gd name="T78" fmla="*/ 2147483647 w 1156"/>
                <a:gd name="T79" fmla="*/ 2147483647 h 900"/>
                <a:gd name="T80" fmla="*/ 2147483647 w 1156"/>
                <a:gd name="T81" fmla="*/ 2147483647 h 900"/>
                <a:gd name="T82" fmla="*/ 2147483647 w 1156"/>
                <a:gd name="T83" fmla="*/ 2147483647 h 900"/>
                <a:gd name="T84" fmla="*/ 2147483647 w 1156"/>
                <a:gd name="T85" fmla="*/ 2147483647 h 900"/>
                <a:gd name="T86" fmla="*/ 2147483647 w 1156"/>
                <a:gd name="T87" fmla="*/ 2147483647 h 900"/>
                <a:gd name="T88" fmla="*/ 2147483647 w 1156"/>
                <a:gd name="T89" fmla="*/ 2147483647 h 900"/>
                <a:gd name="T90" fmla="*/ 2147483647 w 1156"/>
                <a:gd name="T91" fmla="*/ 2147483647 h 900"/>
                <a:gd name="T92" fmla="*/ 2147483647 w 1156"/>
                <a:gd name="T93" fmla="*/ 2147483647 h 900"/>
                <a:gd name="T94" fmla="*/ 2147483647 w 1156"/>
                <a:gd name="T95" fmla="*/ 2147483647 h 900"/>
                <a:gd name="T96" fmla="*/ 2147483647 w 1156"/>
                <a:gd name="T97" fmla="*/ 2147483647 h 900"/>
                <a:gd name="T98" fmla="*/ 2147483647 w 1156"/>
                <a:gd name="T99" fmla="*/ 2147483647 h 900"/>
                <a:gd name="T100" fmla="*/ 2147483647 w 1156"/>
                <a:gd name="T101" fmla="*/ 2147483647 h 900"/>
                <a:gd name="T102" fmla="*/ 2147483647 w 1156"/>
                <a:gd name="T103" fmla="*/ 2147483647 h 900"/>
                <a:gd name="T104" fmla="*/ 2147483647 w 1156"/>
                <a:gd name="T105" fmla="*/ 2147483647 h 900"/>
                <a:gd name="T106" fmla="*/ 2147483647 w 1156"/>
                <a:gd name="T107" fmla="*/ 2147483647 h 900"/>
                <a:gd name="T108" fmla="*/ 2147483647 w 1156"/>
                <a:gd name="T109" fmla="*/ 2147483647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156"/>
                <a:gd name="T166" fmla="*/ 0 h 900"/>
                <a:gd name="T167" fmla="*/ 1156 w 1156"/>
                <a:gd name="T168" fmla="*/ 900 h 9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79" name="Freeform 257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5065713" y="3052763"/>
              <a:ext cx="247650" cy="228600"/>
            </a:xfrm>
            <a:custGeom>
              <a:avLst/>
              <a:gdLst>
                <a:gd name="T0" fmla="*/ 2147483647 w 571"/>
                <a:gd name="T1" fmla="*/ 2147483647 h 443"/>
                <a:gd name="T2" fmla="*/ 2147483647 w 571"/>
                <a:gd name="T3" fmla="*/ 2147483647 h 443"/>
                <a:gd name="T4" fmla="*/ 2147483647 w 571"/>
                <a:gd name="T5" fmla="*/ 2147483647 h 443"/>
                <a:gd name="T6" fmla="*/ 2147483647 w 571"/>
                <a:gd name="T7" fmla="*/ 2147483647 h 443"/>
                <a:gd name="T8" fmla="*/ 2147483647 w 571"/>
                <a:gd name="T9" fmla="*/ 2147483647 h 443"/>
                <a:gd name="T10" fmla="*/ 2147483647 w 571"/>
                <a:gd name="T11" fmla="*/ 2147483647 h 443"/>
                <a:gd name="T12" fmla="*/ 2147483647 w 571"/>
                <a:gd name="T13" fmla="*/ 2147483647 h 443"/>
                <a:gd name="T14" fmla="*/ 2147483647 w 571"/>
                <a:gd name="T15" fmla="*/ 2147483647 h 443"/>
                <a:gd name="T16" fmla="*/ 2147483647 w 571"/>
                <a:gd name="T17" fmla="*/ 2147483647 h 443"/>
                <a:gd name="T18" fmla="*/ 2147483647 w 571"/>
                <a:gd name="T19" fmla="*/ 2147483647 h 443"/>
                <a:gd name="T20" fmla="*/ 2147483647 w 571"/>
                <a:gd name="T21" fmla="*/ 2147483647 h 443"/>
                <a:gd name="T22" fmla="*/ 2147483647 w 571"/>
                <a:gd name="T23" fmla="*/ 2147483647 h 443"/>
                <a:gd name="T24" fmla="*/ 2147483647 w 571"/>
                <a:gd name="T25" fmla="*/ 2147483647 h 443"/>
                <a:gd name="T26" fmla="*/ 2147483647 w 571"/>
                <a:gd name="T27" fmla="*/ 2147483647 h 443"/>
                <a:gd name="T28" fmla="*/ 2147483647 w 571"/>
                <a:gd name="T29" fmla="*/ 2147483647 h 443"/>
                <a:gd name="T30" fmla="*/ 2147483647 w 571"/>
                <a:gd name="T31" fmla="*/ 2147483647 h 443"/>
                <a:gd name="T32" fmla="*/ 2147483647 w 571"/>
                <a:gd name="T33" fmla="*/ 2147483647 h 443"/>
                <a:gd name="T34" fmla="*/ 2147483647 w 571"/>
                <a:gd name="T35" fmla="*/ 2147483647 h 443"/>
                <a:gd name="T36" fmla="*/ 2147483647 w 571"/>
                <a:gd name="T37" fmla="*/ 2147483647 h 443"/>
                <a:gd name="T38" fmla="*/ 2147483647 w 571"/>
                <a:gd name="T39" fmla="*/ 2147483647 h 443"/>
                <a:gd name="T40" fmla="*/ 2147483647 w 571"/>
                <a:gd name="T41" fmla="*/ 2147483647 h 443"/>
                <a:gd name="T42" fmla="*/ 2147483647 w 571"/>
                <a:gd name="T43" fmla="*/ 2147483647 h 443"/>
                <a:gd name="T44" fmla="*/ 2147483647 w 571"/>
                <a:gd name="T45" fmla="*/ 2147483647 h 443"/>
                <a:gd name="T46" fmla="*/ 2147483647 w 571"/>
                <a:gd name="T47" fmla="*/ 2147483647 h 443"/>
                <a:gd name="T48" fmla="*/ 2147483647 w 571"/>
                <a:gd name="T49" fmla="*/ 2147483647 h 443"/>
                <a:gd name="T50" fmla="*/ 2147483647 w 571"/>
                <a:gd name="T51" fmla="*/ 2147483647 h 443"/>
                <a:gd name="T52" fmla="*/ 2147483647 w 571"/>
                <a:gd name="T53" fmla="*/ 2147483647 h 443"/>
                <a:gd name="T54" fmla="*/ 2147483647 w 571"/>
                <a:gd name="T55" fmla="*/ 2147483647 h 443"/>
                <a:gd name="T56" fmla="*/ 2147483647 w 571"/>
                <a:gd name="T57" fmla="*/ 2147483647 h 443"/>
                <a:gd name="T58" fmla="*/ 2147483647 w 571"/>
                <a:gd name="T59" fmla="*/ 2147483647 h 443"/>
                <a:gd name="T60" fmla="*/ 2147483647 w 571"/>
                <a:gd name="T61" fmla="*/ 2147483647 h 443"/>
                <a:gd name="T62" fmla="*/ 2147483647 w 571"/>
                <a:gd name="T63" fmla="*/ 2147483647 h 443"/>
                <a:gd name="T64" fmla="*/ 2147483647 w 571"/>
                <a:gd name="T65" fmla="*/ 2147483647 h 443"/>
                <a:gd name="T66" fmla="*/ 2147483647 w 571"/>
                <a:gd name="T67" fmla="*/ 2147483647 h 443"/>
                <a:gd name="T68" fmla="*/ 2147483647 w 571"/>
                <a:gd name="T69" fmla="*/ 2147483647 h 443"/>
                <a:gd name="T70" fmla="*/ 2147483647 w 571"/>
                <a:gd name="T71" fmla="*/ 2147483647 h 443"/>
                <a:gd name="T72" fmla="*/ 2147483647 w 571"/>
                <a:gd name="T73" fmla="*/ 2147483647 h 443"/>
                <a:gd name="T74" fmla="*/ 2147483647 w 571"/>
                <a:gd name="T75" fmla="*/ 2147483647 h 443"/>
                <a:gd name="T76" fmla="*/ 2147483647 w 571"/>
                <a:gd name="T77" fmla="*/ 2147483647 h 443"/>
                <a:gd name="T78" fmla="*/ 2147483647 w 571"/>
                <a:gd name="T79" fmla="*/ 2147483647 h 443"/>
                <a:gd name="T80" fmla="*/ 2147483647 w 571"/>
                <a:gd name="T81" fmla="*/ 2147483647 h 443"/>
                <a:gd name="T82" fmla="*/ 0 w 571"/>
                <a:gd name="T83" fmla="*/ 2147483647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71"/>
                <a:gd name="T127" fmla="*/ 0 h 443"/>
                <a:gd name="T128" fmla="*/ 571 w 571"/>
                <a:gd name="T129" fmla="*/ 443 h 44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80" name="Freeform 258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5260975" y="2827338"/>
              <a:ext cx="120650" cy="120650"/>
            </a:xfrm>
            <a:custGeom>
              <a:avLst/>
              <a:gdLst>
                <a:gd name="T0" fmla="*/ 0 w 286"/>
                <a:gd name="T1" fmla="*/ 2147483647 h 228"/>
                <a:gd name="T2" fmla="*/ 2147483647 w 286"/>
                <a:gd name="T3" fmla="*/ 2147483647 h 228"/>
                <a:gd name="T4" fmla="*/ 2147483647 w 286"/>
                <a:gd name="T5" fmla="*/ 2147483647 h 228"/>
                <a:gd name="T6" fmla="*/ 2147483647 w 286"/>
                <a:gd name="T7" fmla="*/ 2147483647 h 228"/>
                <a:gd name="T8" fmla="*/ 2147483647 w 286"/>
                <a:gd name="T9" fmla="*/ 2147483647 h 228"/>
                <a:gd name="T10" fmla="*/ 2147483647 w 286"/>
                <a:gd name="T11" fmla="*/ 2147483647 h 228"/>
                <a:gd name="T12" fmla="*/ 2147483647 w 286"/>
                <a:gd name="T13" fmla="*/ 2147483647 h 228"/>
                <a:gd name="T14" fmla="*/ 2147483647 w 286"/>
                <a:gd name="T15" fmla="*/ 2147483647 h 228"/>
                <a:gd name="T16" fmla="*/ 2147483647 w 286"/>
                <a:gd name="T17" fmla="*/ 2147483647 h 228"/>
                <a:gd name="T18" fmla="*/ 2147483647 w 286"/>
                <a:gd name="T19" fmla="*/ 2147483647 h 228"/>
                <a:gd name="T20" fmla="*/ 2147483647 w 286"/>
                <a:gd name="T21" fmla="*/ 2147483647 h 228"/>
                <a:gd name="T22" fmla="*/ 2147483647 w 286"/>
                <a:gd name="T23" fmla="*/ 2147483647 h 228"/>
                <a:gd name="T24" fmla="*/ 2147483647 w 286"/>
                <a:gd name="T25" fmla="*/ 2147483647 h 228"/>
                <a:gd name="T26" fmla="*/ 2147483647 w 286"/>
                <a:gd name="T27" fmla="*/ 2147483647 h 228"/>
                <a:gd name="T28" fmla="*/ 2147483647 w 286"/>
                <a:gd name="T29" fmla="*/ 2147483647 h 228"/>
                <a:gd name="T30" fmla="*/ 2147483647 w 286"/>
                <a:gd name="T31" fmla="*/ 2147483647 h 228"/>
                <a:gd name="T32" fmla="*/ 2147483647 w 286"/>
                <a:gd name="T33" fmla="*/ 2147483647 h 228"/>
                <a:gd name="T34" fmla="*/ 2147483647 w 286"/>
                <a:gd name="T35" fmla="*/ 2147483647 h 228"/>
                <a:gd name="T36" fmla="*/ 2147483647 w 286"/>
                <a:gd name="T37" fmla="*/ 2147483647 h 228"/>
                <a:gd name="T38" fmla="*/ 2147483647 w 286"/>
                <a:gd name="T39" fmla="*/ 2147483647 h 228"/>
                <a:gd name="T40" fmla="*/ 2147483647 w 286"/>
                <a:gd name="T41" fmla="*/ 2147483647 h 228"/>
                <a:gd name="T42" fmla="*/ 2147483647 w 286"/>
                <a:gd name="T43" fmla="*/ 2147483647 h 228"/>
                <a:gd name="T44" fmla="*/ 2147483647 w 286"/>
                <a:gd name="T45" fmla="*/ 2147483647 h 228"/>
                <a:gd name="T46" fmla="*/ 2147483647 w 286"/>
                <a:gd name="T47" fmla="*/ 2147483647 h 228"/>
                <a:gd name="T48" fmla="*/ 2147483647 w 286"/>
                <a:gd name="T49" fmla="*/ 2147483647 h 228"/>
                <a:gd name="T50" fmla="*/ 2147483647 w 286"/>
                <a:gd name="T51" fmla="*/ 2147483647 h 228"/>
                <a:gd name="T52" fmla="*/ 2147483647 w 286"/>
                <a:gd name="T53" fmla="*/ 2147483647 h 228"/>
                <a:gd name="T54" fmla="*/ 2147483647 w 286"/>
                <a:gd name="T55" fmla="*/ 2147483647 h 228"/>
                <a:gd name="T56" fmla="*/ 2147483647 w 286"/>
                <a:gd name="T57" fmla="*/ 0 h 228"/>
                <a:gd name="T58" fmla="*/ 2147483647 w 286"/>
                <a:gd name="T59" fmla="*/ 2147483647 h 228"/>
                <a:gd name="T60" fmla="*/ 2147483647 w 286"/>
                <a:gd name="T61" fmla="*/ 2147483647 h 228"/>
                <a:gd name="T62" fmla="*/ 2147483647 w 286"/>
                <a:gd name="T63" fmla="*/ 2147483647 h 228"/>
                <a:gd name="T64" fmla="*/ 2147483647 w 286"/>
                <a:gd name="T65" fmla="*/ 2147483647 h 228"/>
                <a:gd name="T66" fmla="*/ 2147483647 w 286"/>
                <a:gd name="T67" fmla="*/ 2147483647 h 228"/>
                <a:gd name="T68" fmla="*/ 2147483647 w 286"/>
                <a:gd name="T69" fmla="*/ 2147483647 h 228"/>
                <a:gd name="T70" fmla="*/ 2147483647 w 286"/>
                <a:gd name="T71" fmla="*/ 2147483647 h 228"/>
                <a:gd name="T72" fmla="*/ 2147483647 w 286"/>
                <a:gd name="T73" fmla="*/ 2147483647 h 228"/>
                <a:gd name="T74" fmla="*/ 2147483647 w 286"/>
                <a:gd name="T75" fmla="*/ 2147483647 h 228"/>
                <a:gd name="T76" fmla="*/ 0 w 286"/>
                <a:gd name="T77" fmla="*/ 214748364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86"/>
                <a:gd name="T118" fmla="*/ 0 h 228"/>
                <a:gd name="T119" fmla="*/ 286 w 286"/>
                <a:gd name="T120" fmla="*/ 228 h 228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81" name="Freeform 259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4948238" y="2479675"/>
              <a:ext cx="222250" cy="263525"/>
            </a:xfrm>
            <a:custGeom>
              <a:avLst/>
              <a:gdLst>
                <a:gd name="T0" fmla="*/ 2147483647 w 524"/>
                <a:gd name="T1" fmla="*/ 2147483647 h 505"/>
                <a:gd name="T2" fmla="*/ 2147483647 w 524"/>
                <a:gd name="T3" fmla="*/ 2147483647 h 505"/>
                <a:gd name="T4" fmla="*/ 2147483647 w 524"/>
                <a:gd name="T5" fmla="*/ 2147483647 h 505"/>
                <a:gd name="T6" fmla="*/ 2147483647 w 524"/>
                <a:gd name="T7" fmla="*/ 2147483647 h 505"/>
                <a:gd name="T8" fmla="*/ 2147483647 w 524"/>
                <a:gd name="T9" fmla="*/ 2147483647 h 505"/>
                <a:gd name="T10" fmla="*/ 2147483647 w 524"/>
                <a:gd name="T11" fmla="*/ 2147483647 h 505"/>
                <a:gd name="T12" fmla="*/ 2147483647 w 524"/>
                <a:gd name="T13" fmla="*/ 2147483647 h 505"/>
                <a:gd name="T14" fmla="*/ 2147483647 w 524"/>
                <a:gd name="T15" fmla="*/ 2147483647 h 505"/>
                <a:gd name="T16" fmla="*/ 2147483647 w 524"/>
                <a:gd name="T17" fmla="*/ 2147483647 h 505"/>
                <a:gd name="T18" fmla="*/ 2147483647 w 524"/>
                <a:gd name="T19" fmla="*/ 2147483647 h 505"/>
                <a:gd name="T20" fmla="*/ 2147483647 w 524"/>
                <a:gd name="T21" fmla="*/ 2147483647 h 505"/>
                <a:gd name="T22" fmla="*/ 2147483647 w 524"/>
                <a:gd name="T23" fmla="*/ 2147483647 h 505"/>
                <a:gd name="T24" fmla="*/ 2147483647 w 524"/>
                <a:gd name="T25" fmla="*/ 2147483647 h 505"/>
                <a:gd name="T26" fmla="*/ 2147483647 w 524"/>
                <a:gd name="T27" fmla="*/ 2147483647 h 505"/>
                <a:gd name="T28" fmla="*/ 2147483647 w 524"/>
                <a:gd name="T29" fmla="*/ 2147483647 h 505"/>
                <a:gd name="T30" fmla="*/ 2147483647 w 524"/>
                <a:gd name="T31" fmla="*/ 2147483647 h 505"/>
                <a:gd name="T32" fmla="*/ 2147483647 w 524"/>
                <a:gd name="T33" fmla="*/ 2147483647 h 505"/>
                <a:gd name="T34" fmla="*/ 2147483647 w 524"/>
                <a:gd name="T35" fmla="*/ 2147483647 h 505"/>
                <a:gd name="T36" fmla="*/ 2147483647 w 524"/>
                <a:gd name="T37" fmla="*/ 2147483647 h 505"/>
                <a:gd name="T38" fmla="*/ 2147483647 w 524"/>
                <a:gd name="T39" fmla="*/ 2147483647 h 505"/>
                <a:gd name="T40" fmla="*/ 2147483647 w 524"/>
                <a:gd name="T41" fmla="*/ 2147483647 h 505"/>
                <a:gd name="T42" fmla="*/ 2147483647 w 524"/>
                <a:gd name="T43" fmla="*/ 2147483647 h 505"/>
                <a:gd name="T44" fmla="*/ 2147483647 w 524"/>
                <a:gd name="T45" fmla="*/ 2147483647 h 505"/>
                <a:gd name="T46" fmla="*/ 2147483647 w 524"/>
                <a:gd name="T47" fmla="*/ 2147483647 h 505"/>
                <a:gd name="T48" fmla="*/ 2147483647 w 524"/>
                <a:gd name="T49" fmla="*/ 2147483647 h 505"/>
                <a:gd name="T50" fmla="*/ 2147483647 w 524"/>
                <a:gd name="T51" fmla="*/ 2147483647 h 505"/>
                <a:gd name="T52" fmla="*/ 2147483647 w 524"/>
                <a:gd name="T53" fmla="*/ 2147483647 h 505"/>
                <a:gd name="T54" fmla="*/ 2147483647 w 524"/>
                <a:gd name="T55" fmla="*/ 2147483647 h 505"/>
                <a:gd name="T56" fmla="*/ 2147483647 w 524"/>
                <a:gd name="T57" fmla="*/ 2147483647 h 505"/>
                <a:gd name="T58" fmla="*/ 2147483647 w 524"/>
                <a:gd name="T59" fmla="*/ 2147483647 h 505"/>
                <a:gd name="T60" fmla="*/ 2147483647 w 524"/>
                <a:gd name="T61" fmla="*/ 2147483647 h 505"/>
                <a:gd name="T62" fmla="*/ 2147483647 w 524"/>
                <a:gd name="T63" fmla="*/ 2147483647 h 505"/>
                <a:gd name="T64" fmla="*/ 2147483647 w 524"/>
                <a:gd name="T65" fmla="*/ 2147483647 h 505"/>
                <a:gd name="T66" fmla="*/ 2147483647 w 524"/>
                <a:gd name="T67" fmla="*/ 2147483647 h 505"/>
                <a:gd name="T68" fmla="*/ 2147483647 w 524"/>
                <a:gd name="T69" fmla="*/ 2147483647 h 505"/>
                <a:gd name="T70" fmla="*/ 2147483647 w 524"/>
                <a:gd name="T71" fmla="*/ 2147483647 h 505"/>
                <a:gd name="T72" fmla="*/ 2147483647 w 524"/>
                <a:gd name="T73" fmla="*/ 2147483647 h 505"/>
                <a:gd name="T74" fmla="*/ 2147483647 w 524"/>
                <a:gd name="T75" fmla="*/ 2147483647 h 505"/>
                <a:gd name="T76" fmla="*/ 0 w 524"/>
                <a:gd name="T77" fmla="*/ 2147483647 h 505"/>
                <a:gd name="T78" fmla="*/ 0 w 524"/>
                <a:gd name="T79" fmla="*/ 2147483647 h 505"/>
                <a:gd name="T80" fmla="*/ 2147483647 w 524"/>
                <a:gd name="T81" fmla="*/ 2147483647 h 505"/>
                <a:gd name="T82" fmla="*/ 2147483647 w 524"/>
                <a:gd name="T83" fmla="*/ 2147483647 h 505"/>
                <a:gd name="T84" fmla="*/ 2147483647 w 524"/>
                <a:gd name="T85" fmla="*/ 2147483647 h 505"/>
                <a:gd name="T86" fmla="*/ 2147483647 w 524"/>
                <a:gd name="T87" fmla="*/ 2147483647 h 505"/>
                <a:gd name="T88" fmla="*/ 2147483647 w 524"/>
                <a:gd name="T89" fmla="*/ 2147483647 h 505"/>
                <a:gd name="T90" fmla="*/ 2147483647 w 524"/>
                <a:gd name="T91" fmla="*/ 2147483647 h 505"/>
                <a:gd name="T92" fmla="*/ 2147483647 w 524"/>
                <a:gd name="T93" fmla="*/ 2147483647 h 505"/>
                <a:gd name="T94" fmla="*/ 2147483647 w 524"/>
                <a:gd name="T95" fmla="*/ 2147483647 h 505"/>
                <a:gd name="T96" fmla="*/ 2147483647 w 524"/>
                <a:gd name="T97" fmla="*/ 2147483647 h 505"/>
                <a:gd name="T98" fmla="*/ 2147483647 w 524"/>
                <a:gd name="T99" fmla="*/ 2147483647 h 505"/>
                <a:gd name="T100" fmla="*/ 2147483647 w 524"/>
                <a:gd name="T101" fmla="*/ 2147483647 h 505"/>
                <a:gd name="T102" fmla="*/ 2147483647 w 524"/>
                <a:gd name="T103" fmla="*/ 2147483647 h 505"/>
                <a:gd name="T104" fmla="*/ 2147483647 w 524"/>
                <a:gd name="T105" fmla="*/ 2147483647 h 505"/>
                <a:gd name="T106" fmla="*/ 2147483647 w 524"/>
                <a:gd name="T107" fmla="*/ 2147483647 h 505"/>
                <a:gd name="T108" fmla="*/ 2147483647 w 524"/>
                <a:gd name="T109" fmla="*/ 2147483647 h 505"/>
                <a:gd name="T110" fmla="*/ 2147483647 w 524"/>
                <a:gd name="T111" fmla="*/ 2147483647 h 505"/>
                <a:gd name="T112" fmla="*/ 2147483647 w 524"/>
                <a:gd name="T113" fmla="*/ 2147483647 h 505"/>
                <a:gd name="T114" fmla="*/ 2147483647 w 524"/>
                <a:gd name="T115" fmla="*/ 2147483647 h 505"/>
                <a:gd name="T116" fmla="*/ 2147483647 w 524"/>
                <a:gd name="T117" fmla="*/ 2147483647 h 505"/>
                <a:gd name="T118" fmla="*/ 2147483647 w 524"/>
                <a:gd name="T119" fmla="*/ 2147483647 h 505"/>
                <a:gd name="T120" fmla="*/ 2147483647 w 524"/>
                <a:gd name="T121" fmla="*/ 2147483647 h 505"/>
                <a:gd name="T122" fmla="*/ 2147483647 w 524"/>
                <a:gd name="T123" fmla="*/ 2147483647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24"/>
                <a:gd name="T187" fmla="*/ 0 h 505"/>
                <a:gd name="T188" fmla="*/ 524 w 524"/>
                <a:gd name="T189" fmla="*/ 505 h 50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chemeClr val="accent1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82" name="Freeform 260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5448300" y="2439988"/>
              <a:ext cx="331788" cy="290512"/>
            </a:xfrm>
            <a:custGeom>
              <a:avLst/>
              <a:gdLst>
                <a:gd name="T0" fmla="*/ 2147483647 w 764"/>
                <a:gd name="T1" fmla="*/ 2147483647 h 555"/>
                <a:gd name="T2" fmla="*/ 2147483647 w 764"/>
                <a:gd name="T3" fmla="*/ 2147483647 h 555"/>
                <a:gd name="T4" fmla="*/ 2147483647 w 764"/>
                <a:gd name="T5" fmla="*/ 2147483647 h 555"/>
                <a:gd name="T6" fmla="*/ 2147483647 w 764"/>
                <a:gd name="T7" fmla="*/ 2147483647 h 555"/>
                <a:gd name="T8" fmla="*/ 2147483647 w 764"/>
                <a:gd name="T9" fmla="*/ 2147483647 h 555"/>
                <a:gd name="T10" fmla="*/ 2147483647 w 764"/>
                <a:gd name="T11" fmla="*/ 2147483647 h 555"/>
                <a:gd name="T12" fmla="*/ 2147483647 w 764"/>
                <a:gd name="T13" fmla="*/ 2147483647 h 555"/>
                <a:gd name="T14" fmla="*/ 2147483647 w 764"/>
                <a:gd name="T15" fmla="*/ 2147483647 h 555"/>
                <a:gd name="T16" fmla="*/ 2147483647 w 764"/>
                <a:gd name="T17" fmla="*/ 2147483647 h 555"/>
                <a:gd name="T18" fmla="*/ 2147483647 w 764"/>
                <a:gd name="T19" fmla="*/ 2147483647 h 555"/>
                <a:gd name="T20" fmla="*/ 2147483647 w 764"/>
                <a:gd name="T21" fmla="*/ 2147483647 h 555"/>
                <a:gd name="T22" fmla="*/ 2147483647 w 764"/>
                <a:gd name="T23" fmla="*/ 2147483647 h 555"/>
                <a:gd name="T24" fmla="*/ 2147483647 w 764"/>
                <a:gd name="T25" fmla="*/ 2147483647 h 555"/>
                <a:gd name="T26" fmla="*/ 2147483647 w 764"/>
                <a:gd name="T27" fmla="*/ 2147483647 h 555"/>
                <a:gd name="T28" fmla="*/ 2147483647 w 764"/>
                <a:gd name="T29" fmla="*/ 2147483647 h 555"/>
                <a:gd name="T30" fmla="*/ 2147483647 w 764"/>
                <a:gd name="T31" fmla="*/ 2147483647 h 555"/>
                <a:gd name="T32" fmla="*/ 2147483647 w 764"/>
                <a:gd name="T33" fmla="*/ 2147483647 h 555"/>
                <a:gd name="T34" fmla="*/ 2147483647 w 764"/>
                <a:gd name="T35" fmla="*/ 2147483647 h 555"/>
                <a:gd name="T36" fmla="*/ 2147483647 w 764"/>
                <a:gd name="T37" fmla="*/ 2147483647 h 555"/>
                <a:gd name="T38" fmla="*/ 2147483647 w 764"/>
                <a:gd name="T39" fmla="*/ 2147483647 h 555"/>
                <a:gd name="T40" fmla="*/ 2147483647 w 764"/>
                <a:gd name="T41" fmla="*/ 2147483647 h 555"/>
                <a:gd name="T42" fmla="*/ 2147483647 w 764"/>
                <a:gd name="T43" fmla="*/ 2147483647 h 555"/>
                <a:gd name="T44" fmla="*/ 2147483647 w 764"/>
                <a:gd name="T45" fmla="*/ 2147483647 h 555"/>
                <a:gd name="T46" fmla="*/ 2147483647 w 764"/>
                <a:gd name="T47" fmla="*/ 2147483647 h 555"/>
                <a:gd name="T48" fmla="*/ 2147483647 w 764"/>
                <a:gd name="T49" fmla="*/ 2147483647 h 555"/>
                <a:gd name="T50" fmla="*/ 2147483647 w 764"/>
                <a:gd name="T51" fmla="*/ 2147483647 h 555"/>
                <a:gd name="T52" fmla="*/ 2147483647 w 764"/>
                <a:gd name="T53" fmla="*/ 2147483647 h 555"/>
                <a:gd name="T54" fmla="*/ 2147483647 w 764"/>
                <a:gd name="T55" fmla="*/ 2147483647 h 555"/>
                <a:gd name="T56" fmla="*/ 2147483647 w 764"/>
                <a:gd name="T57" fmla="*/ 2147483647 h 555"/>
                <a:gd name="T58" fmla="*/ 2147483647 w 764"/>
                <a:gd name="T59" fmla="*/ 2147483647 h 555"/>
                <a:gd name="T60" fmla="*/ 2147483647 w 764"/>
                <a:gd name="T61" fmla="*/ 2147483647 h 555"/>
                <a:gd name="T62" fmla="*/ 2147483647 w 764"/>
                <a:gd name="T63" fmla="*/ 2147483647 h 555"/>
                <a:gd name="T64" fmla="*/ 2147483647 w 764"/>
                <a:gd name="T65" fmla="*/ 2147483647 h 555"/>
                <a:gd name="T66" fmla="*/ 2147483647 w 764"/>
                <a:gd name="T67" fmla="*/ 2147483647 h 555"/>
                <a:gd name="T68" fmla="*/ 2147483647 w 764"/>
                <a:gd name="T69" fmla="*/ 2147483647 h 555"/>
                <a:gd name="T70" fmla="*/ 2147483647 w 764"/>
                <a:gd name="T71" fmla="*/ 2147483647 h 555"/>
                <a:gd name="T72" fmla="*/ 2147483647 w 764"/>
                <a:gd name="T73" fmla="*/ 2147483647 h 555"/>
                <a:gd name="T74" fmla="*/ 2147483647 w 764"/>
                <a:gd name="T75" fmla="*/ 2147483647 h 555"/>
                <a:gd name="T76" fmla="*/ 2147483647 w 764"/>
                <a:gd name="T77" fmla="*/ 2147483647 h 555"/>
                <a:gd name="T78" fmla="*/ 2147483647 w 764"/>
                <a:gd name="T79" fmla="*/ 2147483647 h 555"/>
                <a:gd name="T80" fmla="*/ 2147483647 w 764"/>
                <a:gd name="T81" fmla="*/ 2147483647 h 555"/>
                <a:gd name="T82" fmla="*/ 2147483647 w 764"/>
                <a:gd name="T83" fmla="*/ 2147483647 h 555"/>
                <a:gd name="T84" fmla="*/ 2147483647 w 764"/>
                <a:gd name="T85" fmla="*/ 2147483647 h 555"/>
                <a:gd name="T86" fmla="*/ 2147483647 w 764"/>
                <a:gd name="T87" fmla="*/ 2147483647 h 555"/>
                <a:gd name="T88" fmla="*/ 2147483647 w 764"/>
                <a:gd name="T89" fmla="*/ 2147483647 h 555"/>
                <a:gd name="T90" fmla="*/ 2147483647 w 764"/>
                <a:gd name="T91" fmla="*/ 2147483647 h 555"/>
                <a:gd name="T92" fmla="*/ 2147483647 w 764"/>
                <a:gd name="T93" fmla="*/ 2147483647 h 555"/>
                <a:gd name="T94" fmla="*/ 2147483647 w 764"/>
                <a:gd name="T95" fmla="*/ 2147483647 h 555"/>
                <a:gd name="T96" fmla="*/ 2147483647 w 764"/>
                <a:gd name="T97" fmla="*/ 2147483647 h 555"/>
                <a:gd name="T98" fmla="*/ 2147483647 w 764"/>
                <a:gd name="T99" fmla="*/ 2147483647 h 555"/>
                <a:gd name="T100" fmla="*/ 2147483647 w 764"/>
                <a:gd name="T101" fmla="*/ 2147483647 h 555"/>
                <a:gd name="T102" fmla="*/ 2147483647 w 764"/>
                <a:gd name="T103" fmla="*/ 2147483647 h 555"/>
                <a:gd name="T104" fmla="*/ 2147483647 w 764"/>
                <a:gd name="T105" fmla="*/ 2147483647 h 555"/>
                <a:gd name="T106" fmla="*/ 2147483647 w 764"/>
                <a:gd name="T107" fmla="*/ 2147483647 h 555"/>
                <a:gd name="T108" fmla="*/ 2147483647 w 764"/>
                <a:gd name="T109" fmla="*/ 2147483647 h 555"/>
                <a:gd name="T110" fmla="*/ 2147483647 w 764"/>
                <a:gd name="T111" fmla="*/ 2147483647 h 555"/>
                <a:gd name="T112" fmla="*/ 2147483647 w 764"/>
                <a:gd name="T113" fmla="*/ 2147483647 h 555"/>
                <a:gd name="T114" fmla="*/ 2147483647 w 764"/>
                <a:gd name="T115" fmla="*/ 2147483647 h 555"/>
                <a:gd name="T116" fmla="*/ 2147483647 w 764"/>
                <a:gd name="T117" fmla="*/ 2147483647 h 555"/>
                <a:gd name="T118" fmla="*/ 0 w 764"/>
                <a:gd name="T119" fmla="*/ 2147483647 h 555"/>
                <a:gd name="T120" fmla="*/ 2147483647 w 764"/>
                <a:gd name="T121" fmla="*/ 2147483647 h 555"/>
                <a:gd name="T122" fmla="*/ 2147483647 w 764"/>
                <a:gd name="T123" fmla="*/ 2147483647 h 555"/>
                <a:gd name="T124" fmla="*/ 2147483647 w 764"/>
                <a:gd name="T125" fmla="*/ 2147483647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764"/>
                <a:gd name="T190" fmla="*/ 0 h 555"/>
                <a:gd name="T191" fmla="*/ 764 w 764"/>
                <a:gd name="T192" fmla="*/ 555 h 55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83" name="Freeform 261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5480050" y="2489200"/>
              <a:ext cx="365125" cy="423863"/>
            </a:xfrm>
            <a:custGeom>
              <a:avLst/>
              <a:gdLst>
                <a:gd name="T0" fmla="*/ 2147483647 w 831"/>
                <a:gd name="T1" fmla="*/ 2147483647 h 812"/>
                <a:gd name="T2" fmla="*/ 2147483647 w 831"/>
                <a:gd name="T3" fmla="*/ 2147483647 h 812"/>
                <a:gd name="T4" fmla="*/ 2147483647 w 831"/>
                <a:gd name="T5" fmla="*/ 2147483647 h 812"/>
                <a:gd name="T6" fmla="*/ 2147483647 w 831"/>
                <a:gd name="T7" fmla="*/ 2147483647 h 812"/>
                <a:gd name="T8" fmla="*/ 2147483647 w 831"/>
                <a:gd name="T9" fmla="*/ 2147483647 h 812"/>
                <a:gd name="T10" fmla="*/ 2147483647 w 831"/>
                <a:gd name="T11" fmla="*/ 2147483647 h 812"/>
                <a:gd name="T12" fmla="*/ 2147483647 w 831"/>
                <a:gd name="T13" fmla="*/ 2147483647 h 812"/>
                <a:gd name="T14" fmla="*/ 2147483647 w 831"/>
                <a:gd name="T15" fmla="*/ 2147483647 h 812"/>
                <a:gd name="T16" fmla="*/ 2147483647 w 831"/>
                <a:gd name="T17" fmla="*/ 2147483647 h 812"/>
                <a:gd name="T18" fmla="*/ 2147483647 w 831"/>
                <a:gd name="T19" fmla="*/ 2147483647 h 812"/>
                <a:gd name="T20" fmla="*/ 2147483647 w 831"/>
                <a:gd name="T21" fmla="*/ 2147483647 h 812"/>
                <a:gd name="T22" fmla="*/ 2147483647 w 831"/>
                <a:gd name="T23" fmla="*/ 2147483647 h 812"/>
                <a:gd name="T24" fmla="*/ 2147483647 w 831"/>
                <a:gd name="T25" fmla="*/ 2147483647 h 812"/>
                <a:gd name="T26" fmla="*/ 2147483647 w 831"/>
                <a:gd name="T27" fmla="*/ 2147483647 h 812"/>
                <a:gd name="T28" fmla="*/ 2147483647 w 831"/>
                <a:gd name="T29" fmla="*/ 2147483647 h 812"/>
                <a:gd name="T30" fmla="*/ 2147483647 w 831"/>
                <a:gd name="T31" fmla="*/ 2147483647 h 812"/>
                <a:gd name="T32" fmla="*/ 2147483647 w 831"/>
                <a:gd name="T33" fmla="*/ 2147483647 h 812"/>
                <a:gd name="T34" fmla="*/ 2147483647 w 831"/>
                <a:gd name="T35" fmla="*/ 2147483647 h 812"/>
                <a:gd name="T36" fmla="*/ 2147483647 w 831"/>
                <a:gd name="T37" fmla="*/ 2147483647 h 812"/>
                <a:gd name="T38" fmla="*/ 2147483647 w 831"/>
                <a:gd name="T39" fmla="*/ 2147483647 h 812"/>
                <a:gd name="T40" fmla="*/ 2147483647 w 831"/>
                <a:gd name="T41" fmla="*/ 2147483647 h 812"/>
                <a:gd name="T42" fmla="*/ 2147483647 w 831"/>
                <a:gd name="T43" fmla="*/ 2147483647 h 812"/>
                <a:gd name="T44" fmla="*/ 2147483647 w 831"/>
                <a:gd name="T45" fmla="*/ 2147483647 h 812"/>
                <a:gd name="T46" fmla="*/ 2147483647 w 831"/>
                <a:gd name="T47" fmla="*/ 2147483647 h 812"/>
                <a:gd name="T48" fmla="*/ 2147483647 w 831"/>
                <a:gd name="T49" fmla="*/ 2147483647 h 812"/>
                <a:gd name="T50" fmla="*/ 2147483647 w 831"/>
                <a:gd name="T51" fmla="*/ 2147483647 h 812"/>
                <a:gd name="T52" fmla="*/ 2147483647 w 831"/>
                <a:gd name="T53" fmla="*/ 2147483647 h 812"/>
                <a:gd name="T54" fmla="*/ 2147483647 w 831"/>
                <a:gd name="T55" fmla="*/ 2147483647 h 812"/>
                <a:gd name="T56" fmla="*/ 2147483647 w 831"/>
                <a:gd name="T57" fmla="*/ 2147483647 h 812"/>
                <a:gd name="T58" fmla="*/ 2147483647 w 831"/>
                <a:gd name="T59" fmla="*/ 2147483647 h 812"/>
                <a:gd name="T60" fmla="*/ 2147483647 w 831"/>
                <a:gd name="T61" fmla="*/ 2147483647 h 812"/>
                <a:gd name="T62" fmla="*/ 2147483647 w 831"/>
                <a:gd name="T63" fmla="*/ 2147483647 h 812"/>
                <a:gd name="T64" fmla="*/ 2147483647 w 831"/>
                <a:gd name="T65" fmla="*/ 2147483647 h 812"/>
                <a:gd name="T66" fmla="*/ 2147483647 w 831"/>
                <a:gd name="T67" fmla="*/ 2147483647 h 812"/>
                <a:gd name="T68" fmla="*/ 2147483647 w 831"/>
                <a:gd name="T69" fmla="*/ 2147483647 h 812"/>
                <a:gd name="T70" fmla="*/ 2147483647 w 831"/>
                <a:gd name="T71" fmla="*/ 2147483647 h 812"/>
                <a:gd name="T72" fmla="*/ 2147483647 w 831"/>
                <a:gd name="T73" fmla="*/ 2147483647 h 812"/>
                <a:gd name="T74" fmla="*/ 2147483647 w 831"/>
                <a:gd name="T75" fmla="*/ 2147483647 h 812"/>
                <a:gd name="T76" fmla="*/ 2147483647 w 831"/>
                <a:gd name="T77" fmla="*/ 2147483647 h 812"/>
                <a:gd name="T78" fmla="*/ 2147483647 w 831"/>
                <a:gd name="T79" fmla="*/ 2147483647 h 812"/>
                <a:gd name="T80" fmla="*/ 2147483647 w 831"/>
                <a:gd name="T81" fmla="*/ 2147483647 h 812"/>
                <a:gd name="T82" fmla="*/ 2147483647 w 831"/>
                <a:gd name="T83" fmla="*/ 2147483647 h 812"/>
                <a:gd name="T84" fmla="*/ 2147483647 w 831"/>
                <a:gd name="T85" fmla="*/ 2147483647 h 812"/>
                <a:gd name="T86" fmla="*/ 2147483647 w 831"/>
                <a:gd name="T87" fmla="*/ 2147483647 h 812"/>
                <a:gd name="T88" fmla="*/ 2147483647 w 831"/>
                <a:gd name="T89" fmla="*/ 2147483647 h 812"/>
                <a:gd name="T90" fmla="*/ 2147483647 w 831"/>
                <a:gd name="T91" fmla="*/ 2147483647 h 812"/>
                <a:gd name="T92" fmla="*/ 2147483647 w 831"/>
                <a:gd name="T93" fmla="*/ 2147483647 h 812"/>
                <a:gd name="T94" fmla="*/ 2147483647 w 831"/>
                <a:gd name="T95" fmla="*/ 2147483647 h 812"/>
                <a:gd name="T96" fmla="*/ 2147483647 w 831"/>
                <a:gd name="T97" fmla="*/ 2147483647 h 812"/>
                <a:gd name="T98" fmla="*/ 2147483647 w 831"/>
                <a:gd name="T99" fmla="*/ 2147483647 h 812"/>
                <a:gd name="T100" fmla="*/ 2147483647 w 831"/>
                <a:gd name="T101" fmla="*/ 2147483647 h 812"/>
                <a:gd name="T102" fmla="*/ 2147483647 w 831"/>
                <a:gd name="T103" fmla="*/ 2147483647 h 812"/>
                <a:gd name="T104" fmla="*/ 2147483647 w 831"/>
                <a:gd name="T105" fmla="*/ 2147483647 h 812"/>
                <a:gd name="T106" fmla="*/ 2147483647 w 831"/>
                <a:gd name="T107" fmla="*/ 2147483647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31"/>
                <a:gd name="T163" fmla="*/ 0 h 812"/>
                <a:gd name="T164" fmla="*/ 831 w 831"/>
                <a:gd name="T165" fmla="*/ 812 h 81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84" name="Freeform 262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6270625" y="2757488"/>
              <a:ext cx="220663" cy="585787"/>
            </a:xfrm>
            <a:custGeom>
              <a:avLst/>
              <a:gdLst>
                <a:gd name="T0" fmla="*/ 2147483647 w 505"/>
                <a:gd name="T1" fmla="*/ 2147483647 h 1121"/>
                <a:gd name="T2" fmla="*/ 2147483647 w 505"/>
                <a:gd name="T3" fmla="*/ 2147483647 h 1121"/>
                <a:gd name="T4" fmla="*/ 2147483647 w 505"/>
                <a:gd name="T5" fmla="*/ 2147483647 h 1121"/>
                <a:gd name="T6" fmla="*/ 2147483647 w 505"/>
                <a:gd name="T7" fmla="*/ 2147483647 h 1121"/>
                <a:gd name="T8" fmla="*/ 2147483647 w 505"/>
                <a:gd name="T9" fmla="*/ 2147483647 h 1121"/>
                <a:gd name="T10" fmla="*/ 2147483647 w 505"/>
                <a:gd name="T11" fmla="*/ 2147483647 h 1121"/>
                <a:gd name="T12" fmla="*/ 2147483647 w 505"/>
                <a:gd name="T13" fmla="*/ 2147483647 h 1121"/>
                <a:gd name="T14" fmla="*/ 2147483647 w 505"/>
                <a:gd name="T15" fmla="*/ 2147483647 h 1121"/>
                <a:gd name="T16" fmla="*/ 2147483647 w 505"/>
                <a:gd name="T17" fmla="*/ 2147483647 h 1121"/>
                <a:gd name="T18" fmla="*/ 2147483647 w 505"/>
                <a:gd name="T19" fmla="*/ 2147483647 h 1121"/>
                <a:gd name="T20" fmla="*/ 2147483647 w 505"/>
                <a:gd name="T21" fmla="*/ 2147483647 h 1121"/>
                <a:gd name="T22" fmla="*/ 2147483647 w 505"/>
                <a:gd name="T23" fmla="*/ 2147483647 h 1121"/>
                <a:gd name="T24" fmla="*/ 2147483647 w 505"/>
                <a:gd name="T25" fmla="*/ 2147483647 h 1121"/>
                <a:gd name="T26" fmla="*/ 2147483647 w 505"/>
                <a:gd name="T27" fmla="*/ 2147483647 h 1121"/>
                <a:gd name="T28" fmla="*/ 2147483647 w 505"/>
                <a:gd name="T29" fmla="*/ 2147483647 h 1121"/>
                <a:gd name="T30" fmla="*/ 2147483647 w 505"/>
                <a:gd name="T31" fmla="*/ 2147483647 h 1121"/>
                <a:gd name="T32" fmla="*/ 2147483647 w 505"/>
                <a:gd name="T33" fmla="*/ 2147483647 h 1121"/>
                <a:gd name="T34" fmla="*/ 2147483647 w 505"/>
                <a:gd name="T35" fmla="*/ 2147483647 h 1121"/>
                <a:gd name="T36" fmla="*/ 2147483647 w 505"/>
                <a:gd name="T37" fmla="*/ 2147483647 h 1121"/>
                <a:gd name="T38" fmla="*/ 2147483647 w 505"/>
                <a:gd name="T39" fmla="*/ 2147483647 h 1121"/>
                <a:gd name="T40" fmla="*/ 2147483647 w 505"/>
                <a:gd name="T41" fmla="*/ 2147483647 h 1121"/>
                <a:gd name="T42" fmla="*/ 2147483647 w 505"/>
                <a:gd name="T43" fmla="*/ 2147483647 h 1121"/>
                <a:gd name="T44" fmla="*/ 2147483647 w 505"/>
                <a:gd name="T45" fmla="*/ 2147483647 h 1121"/>
                <a:gd name="T46" fmla="*/ 2147483647 w 505"/>
                <a:gd name="T47" fmla="*/ 2147483647 h 1121"/>
                <a:gd name="T48" fmla="*/ 2147483647 w 505"/>
                <a:gd name="T49" fmla="*/ 2147483647 h 1121"/>
                <a:gd name="T50" fmla="*/ 2147483647 w 505"/>
                <a:gd name="T51" fmla="*/ 2147483647 h 1121"/>
                <a:gd name="T52" fmla="*/ 2147483647 w 505"/>
                <a:gd name="T53" fmla="*/ 2147483647 h 1121"/>
                <a:gd name="T54" fmla="*/ 2147483647 w 505"/>
                <a:gd name="T55" fmla="*/ 2147483647 h 1121"/>
                <a:gd name="T56" fmla="*/ 2147483647 w 505"/>
                <a:gd name="T57" fmla="*/ 2147483647 h 1121"/>
                <a:gd name="T58" fmla="*/ 2147483647 w 505"/>
                <a:gd name="T59" fmla="*/ 2147483647 h 1121"/>
                <a:gd name="T60" fmla="*/ 2147483647 w 505"/>
                <a:gd name="T61" fmla="*/ 2147483647 h 1121"/>
                <a:gd name="T62" fmla="*/ 2147483647 w 505"/>
                <a:gd name="T63" fmla="*/ 2147483647 h 1121"/>
                <a:gd name="T64" fmla="*/ 2147483647 w 505"/>
                <a:gd name="T65" fmla="*/ 2147483647 h 1121"/>
                <a:gd name="T66" fmla="*/ 2147483647 w 505"/>
                <a:gd name="T67" fmla="*/ 2147483647 h 1121"/>
                <a:gd name="T68" fmla="*/ 2147483647 w 505"/>
                <a:gd name="T69" fmla="*/ 2147483647 h 1121"/>
                <a:gd name="T70" fmla="*/ 2147483647 w 505"/>
                <a:gd name="T71" fmla="*/ 2147483647 h 1121"/>
                <a:gd name="T72" fmla="*/ 2147483647 w 505"/>
                <a:gd name="T73" fmla="*/ 2147483647 h 1121"/>
                <a:gd name="T74" fmla="*/ 2147483647 w 505"/>
                <a:gd name="T75" fmla="*/ 2147483647 h 1121"/>
                <a:gd name="T76" fmla="*/ 2147483647 w 505"/>
                <a:gd name="T77" fmla="*/ 2147483647 h 1121"/>
                <a:gd name="T78" fmla="*/ 2147483647 w 505"/>
                <a:gd name="T79" fmla="*/ 2147483647 h 1121"/>
                <a:gd name="T80" fmla="*/ 2147483647 w 505"/>
                <a:gd name="T81" fmla="*/ 2147483647 h 1121"/>
                <a:gd name="T82" fmla="*/ 2147483647 w 505"/>
                <a:gd name="T83" fmla="*/ 2147483647 h 1121"/>
                <a:gd name="T84" fmla="*/ 2147483647 w 505"/>
                <a:gd name="T85" fmla="*/ 2147483647 h 1121"/>
                <a:gd name="T86" fmla="*/ 2147483647 w 505"/>
                <a:gd name="T87" fmla="*/ 2147483647 h 1121"/>
                <a:gd name="T88" fmla="*/ 2147483647 w 505"/>
                <a:gd name="T89" fmla="*/ 2147483647 h 1121"/>
                <a:gd name="T90" fmla="*/ 2147483647 w 505"/>
                <a:gd name="T91" fmla="*/ 2147483647 h 1121"/>
                <a:gd name="T92" fmla="*/ 2147483647 w 505"/>
                <a:gd name="T93" fmla="*/ 2147483647 h 1121"/>
                <a:gd name="T94" fmla="*/ 2147483647 w 505"/>
                <a:gd name="T95" fmla="*/ 2147483647 h 1121"/>
                <a:gd name="T96" fmla="*/ 2147483647 w 505"/>
                <a:gd name="T97" fmla="*/ 2147483647 h 1121"/>
                <a:gd name="T98" fmla="*/ 2147483647 w 505"/>
                <a:gd name="T99" fmla="*/ 2147483647 h 1121"/>
                <a:gd name="T100" fmla="*/ 2147483647 w 505"/>
                <a:gd name="T101" fmla="*/ 2147483647 h 1121"/>
                <a:gd name="T102" fmla="*/ 2147483647 w 505"/>
                <a:gd name="T103" fmla="*/ 214748364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05"/>
                <a:gd name="T157" fmla="*/ 0 h 1121"/>
                <a:gd name="T158" fmla="*/ 505 w 505"/>
                <a:gd name="T159" fmla="*/ 1121 h 1121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85" name="Freeform 263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3594100" y="3267075"/>
              <a:ext cx="80963" cy="58738"/>
            </a:xfrm>
            <a:custGeom>
              <a:avLst/>
              <a:gdLst>
                <a:gd name="T0" fmla="*/ 2147483647 w 180"/>
                <a:gd name="T1" fmla="*/ 2147483647 h 112"/>
                <a:gd name="T2" fmla="*/ 2147483647 w 180"/>
                <a:gd name="T3" fmla="*/ 2147483647 h 112"/>
                <a:gd name="T4" fmla="*/ 2147483647 w 180"/>
                <a:gd name="T5" fmla="*/ 2147483647 h 112"/>
                <a:gd name="T6" fmla="*/ 2147483647 w 180"/>
                <a:gd name="T7" fmla="*/ 2147483647 h 112"/>
                <a:gd name="T8" fmla="*/ 2147483647 w 180"/>
                <a:gd name="T9" fmla="*/ 2147483647 h 112"/>
                <a:gd name="T10" fmla="*/ 2147483647 w 180"/>
                <a:gd name="T11" fmla="*/ 2147483647 h 112"/>
                <a:gd name="T12" fmla="*/ 2147483647 w 180"/>
                <a:gd name="T13" fmla="*/ 2147483647 h 112"/>
                <a:gd name="T14" fmla="*/ 2147483647 w 180"/>
                <a:gd name="T15" fmla="*/ 2147483647 h 112"/>
                <a:gd name="T16" fmla="*/ 2147483647 w 180"/>
                <a:gd name="T17" fmla="*/ 2147483647 h 112"/>
                <a:gd name="T18" fmla="*/ 2147483647 w 180"/>
                <a:gd name="T19" fmla="*/ 2147483647 h 112"/>
                <a:gd name="T20" fmla="*/ 2147483647 w 180"/>
                <a:gd name="T21" fmla="*/ 2147483647 h 112"/>
                <a:gd name="T22" fmla="*/ 2147483647 w 180"/>
                <a:gd name="T23" fmla="*/ 2147483647 h 112"/>
                <a:gd name="T24" fmla="*/ 2147483647 w 180"/>
                <a:gd name="T25" fmla="*/ 2147483647 h 112"/>
                <a:gd name="T26" fmla="*/ 2147483647 w 180"/>
                <a:gd name="T27" fmla="*/ 2147483647 h 112"/>
                <a:gd name="T28" fmla="*/ 2147483647 w 180"/>
                <a:gd name="T29" fmla="*/ 2147483647 h 112"/>
                <a:gd name="T30" fmla="*/ 2147483647 w 180"/>
                <a:gd name="T31" fmla="*/ 2147483647 h 112"/>
                <a:gd name="T32" fmla="*/ 2147483647 w 180"/>
                <a:gd name="T33" fmla="*/ 2147483647 h 112"/>
                <a:gd name="T34" fmla="*/ 2147483647 w 180"/>
                <a:gd name="T35" fmla="*/ 2147483647 h 112"/>
                <a:gd name="T36" fmla="*/ 2147483647 w 180"/>
                <a:gd name="T37" fmla="*/ 2147483647 h 112"/>
                <a:gd name="T38" fmla="*/ 2147483647 w 180"/>
                <a:gd name="T39" fmla="*/ 2147483647 h 112"/>
                <a:gd name="T40" fmla="*/ 2147483647 w 180"/>
                <a:gd name="T41" fmla="*/ 2147483647 h 112"/>
                <a:gd name="T42" fmla="*/ 2147483647 w 180"/>
                <a:gd name="T43" fmla="*/ 2147483647 h 112"/>
                <a:gd name="T44" fmla="*/ 0 w 180"/>
                <a:gd name="T45" fmla="*/ 2147483647 h 112"/>
                <a:gd name="T46" fmla="*/ 2147483647 w 180"/>
                <a:gd name="T47" fmla="*/ 2147483647 h 112"/>
                <a:gd name="T48" fmla="*/ 2147483647 w 180"/>
                <a:gd name="T49" fmla="*/ 2147483647 h 112"/>
                <a:gd name="T50" fmla="*/ 2147483647 w 180"/>
                <a:gd name="T51" fmla="*/ 2147483647 h 112"/>
                <a:gd name="T52" fmla="*/ 2147483647 w 180"/>
                <a:gd name="T53" fmla="*/ 2147483647 h 112"/>
                <a:gd name="T54" fmla="*/ 2147483647 w 180"/>
                <a:gd name="T55" fmla="*/ 2147483647 h 112"/>
                <a:gd name="T56" fmla="*/ 2147483647 w 180"/>
                <a:gd name="T57" fmla="*/ 0 h 112"/>
                <a:gd name="T58" fmla="*/ 2147483647 w 180"/>
                <a:gd name="T59" fmla="*/ 2147483647 h 112"/>
                <a:gd name="T60" fmla="*/ 2147483647 w 180"/>
                <a:gd name="T61" fmla="*/ 2147483647 h 112"/>
                <a:gd name="T62" fmla="*/ 2147483647 w 180"/>
                <a:gd name="T63" fmla="*/ 2147483647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80"/>
                <a:gd name="T97" fmla="*/ 0 h 112"/>
                <a:gd name="T98" fmla="*/ 180 w 180"/>
                <a:gd name="T99" fmla="*/ 112 h 11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86" name="Freeform 264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3678238" y="3349625"/>
              <a:ext cx="74612" cy="100013"/>
            </a:xfrm>
            <a:custGeom>
              <a:avLst/>
              <a:gdLst>
                <a:gd name="T0" fmla="*/ 0 w 173"/>
                <a:gd name="T1" fmla="*/ 2147483647 h 192"/>
                <a:gd name="T2" fmla="*/ 2147483647 w 173"/>
                <a:gd name="T3" fmla="*/ 2147483647 h 192"/>
                <a:gd name="T4" fmla="*/ 2147483647 w 173"/>
                <a:gd name="T5" fmla="*/ 2147483647 h 192"/>
                <a:gd name="T6" fmla="*/ 2147483647 w 173"/>
                <a:gd name="T7" fmla="*/ 2147483647 h 192"/>
                <a:gd name="T8" fmla="*/ 2147483647 w 173"/>
                <a:gd name="T9" fmla="*/ 2147483647 h 192"/>
                <a:gd name="T10" fmla="*/ 2147483647 w 173"/>
                <a:gd name="T11" fmla="*/ 2147483647 h 192"/>
                <a:gd name="T12" fmla="*/ 2147483647 w 173"/>
                <a:gd name="T13" fmla="*/ 2147483647 h 192"/>
                <a:gd name="T14" fmla="*/ 2147483647 w 173"/>
                <a:gd name="T15" fmla="*/ 2147483647 h 192"/>
                <a:gd name="T16" fmla="*/ 2147483647 w 173"/>
                <a:gd name="T17" fmla="*/ 2147483647 h 192"/>
                <a:gd name="T18" fmla="*/ 2147483647 w 173"/>
                <a:gd name="T19" fmla="*/ 2147483647 h 192"/>
                <a:gd name="T20" fmla="*/ 2147483647 w 173"/>
                <a:gd name="T21" fmla="*/ 0 h 192"/>
                <a:gd name="T22" fmla="*/ 2147483647 w 173"/>
                <a:gd name="T23" fmla="*/ 2147483647 h 192"/>
                <a:gd name="T24" fmla="*/ 2147483647 w 173"/>
                <a:gd name="T25" fmla="*/ 2147483647 h 192"/>
                <a:gd name="T26" fmla="*/ 2147483647 w 173"/>
                <a:gd name="T27" fmla="*/ 2147483647 h 192"/>
                <a:gd name="T28" fmla="*/ 2147483647 w 173"/>
                <a:gd name="T29" fmla="*/ 2147483647 h 192"/>
                <a:gd name="T30" fmla="*/ 2147483647 w 173"/>
                <a:gd name="T31" fmla="*/ 2147483647 h 192"/>
                <a:gd name="T32" fmla="*/ 2147483647 w 173"/>
                <a:gd name="T33" fmla="*/ 2147483647 h 192"/>
                <a:gd name="T34" fmla="*/ 2147483647 w 173"/>
                <a:gd name="T35" fmla="*/ 2147483647 h 192"/>
                <a:gd name="T36" fmla="*/ 2147483647 w 173"/>
                <a:gd name="T37" fmla="*/ 2147483647 h 192"/>
                <a:gd name="T38" fmla="*/ 2147483647 w 173"/>
                <a:gd name="T39" fmla="*/ 2147483647 h 192"/>
                <a:gd name="T40" fmla="*/ 2147483647 w 173"/>
                <a:gd name="T41" fmla="*/ 2147483647 h 192"/>
                <a:gd name="T42" fmla="*/ 2147483647 w 173"/>
                <a:gd name="T43" fmla="*/ 2147483647 h 192"/>
                <a:gd name="T44" fmla="*/ 2147483647 w 173"/>
                <a:gd name="T45" fmla="*/ 2147483647 h 192"/>
                <a:gd name="T46" fmla="*/ 2147483647 w 173"/>
                <a:gd name="T47" fmla="*/ 2147483647 h 192"/>
                <a:gd name="T48" fmla="*/ 2147483647 w 173"/>
                <a:gd name="T49" fmla="*/ 2147483647 h 192"/>
                <a:gd name="T50" fmla="*/ 2147483647 w 173"/>
                <a:gd name="T51" fmla="*/ 2147483647 h 192"/>
                <a:gd name="T52" fmla="*/ 2147483647 w 173"/>
                <a:gd name="T53" fmla="*/ 2147483647 h 192"/>
                <a:gd name="T54" fmla="*/ 2147483647 w 173"/>
                <a:gd name="T55" fmla="*/ 2147483647 h 192"/>
                <a:gd name="T56" fmla="*/ 2147483647 w 173"/>
                <a:gd name="T57" fmla="*/ 2147483647 h 192"/>
                <a:gd name="T58" fmla="*/ 2147483647 w 173"/>
                <a:gd name="T59" fmla="*/ 2147483647 h 192"/>
                <a:gd name="T60" fmla="*/ 2147483647 w 173"/>
                <a:gd name="T61" fmla="*/ 2147483647 h 192"/>
                <a:gd name="T62" fmla="*/ 2147483647 w 173"/>
                <a:gd name="T63" fmla="*/ 2147483647 h 192"/>
                <a:gd name="T64" fmla="*/ 2147483647 w 173"/>
                <a:gd name="T65" fmla="*/ 2147483647 h 192"/>
                <a:gd name="T66" fmla="*/ 2147483647 w 173"/>
                <a:gd name="T67" fmla="*/ 2147483647 h 192"/>
                <a:gd name="T68" fmla="*/ 2147483647 w 173"/>
                <a:gd name="T69" fmla="*/ 2147483647 h 192"/>
                <a:gd name="T70" fmla="*/ 2147483647 w 173"/>
                <a:gd name="T71" fmla="*/ 2147483647 h 192"/>
                <a:gd name="T72" fmla="*/ 2147483647 w 173"/>
                <a:gd name="T73" fmla="*/ 2147483647 h 192"/>
                <a:gd name="T74" fmla="*/ 2147483647 w 173"/>
                <a:gd name="T75" fmla="*/ 2147483647 h 192"/>
                <a:gd name="T76" fmla="*/ 2147483647 w 173"/>
                <a:gd name="T77" fmla="*/ 2147483647 h 192"/>
                <a:gd name="T78" fmla="*/ 2147483647 w 173"/>
                <a:gd name="T79" fmla="*/ 2147483647 h 192"/>
                <a:gd name="T80" fmla="*/ 2147483647 w 173"/>
                <a:gd name="T81" fmla="*/ 2147483647 h 192"/>
                <a:gd name="T82" fmla="*/ 2147483647 w 173"/>
                <a:gd name="T83" fmla="*/ 2147483647 h 192"/>
                <a:gd name="T84" fmla="*/ 0 w 173"/>
                <a:gd name="T85" fmla="*/ 2147483647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73"/>
                <a:gd name="T130" fmla="*/ 0 h 192"/>
                <a:gd name="T131" fmla="*/ 173 w 173"/>
                <a:gd name="T132" fmla="*/ 192 h 19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87" name="Freeform 265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3721100" y="3400425"/>
              <a:ext cx="104775" cy="131763"/>
            </a:xfrm>
            <a:custGeom>
              <a:avLst/>
              <a:gdLst>
                <a:gd name="T0" fmla="*/ 2147483647 w 233"/>
                <a:gd name="T1" fmla="*/ 0 h 252"/>
                <a:gd name="T2" fmla="*/ 2147483647 w 233"/>
                <a:gd name="T3" fmla="*/ 2147483647 h 252"/>
                <a:gd name="T4" fmla="*/ 2147483647 w 233"/>
                <a:gd name="T5" fmla="*/ 2147483647 h 252"/>
                <a:gd name="T6" fmla="*/ 2147483647 w 233"/>
                <a:gd name="T7" fmla="*/ 2147483647 h 252"/>
                <a:gd name="T8" fmla="*/ 2147483647 w 233"/>
                <a:gd name="T9" fmla="*/ 2147483647 h 252"/>
                <a:gd name="T10" fmla="*/ 2147483647 w 233"/>
                <a:gd name="T11" fmla="*/ 2147483647 h 252"/>
                <a:gd name="T12" fmla="*/ 2147483647 w 233"/>
                <a:gd name="T13" fmla="*/ 0 h 252"/>
                <a:gd name="T14" fmla="*/ 2147483647 w 233"/>
                <a:gd name="T15" fmla="*/ 2147483647 h 252"/>
                <a:gd name="T16" fmla="*/ 2147483647 w 233"/>
                <a:gd name="T17" fmla="*/ 2147483647 h 252"/>
                <a:gd name="T18" fmla="*/ 2147483647 w 233"/>
                <a:gd name="T19" fmla="*/ 2147483647 h 252"/>
                <a:gd name="T20" fmla="*/ 2147483647 w 233"/>
                <a:gd name="T21" fmla="*/ 2147483647 h 252"/>
                <a:gd name="T22" fmla="*/ 2147483647 w 233"/>
                <a:gd name="T23" fmla="*/ 2147483647 h 252"/>
                <a:gd name="T24" fmla="*/ 2147483647 w 233"/>
                <a:gd name="T25" fmla="*/ 2147483647 h 252"/>
                <a:gd name="T26" fmla="*/ 2147483647 w 233"/>
                <a:gd name="T27" fmla="*/ 2147483647 h 252"/>
                <a:gd name="T28" fmla="*/ 2147483647 w 233"/>
                <a:gd name="T29" fmla="*/ 2147483647 h 252"/>
                <a:gd name="T30" fmla="*/ 2147483647 w 233"/>
                <a:gd name="T31" fmla="*/ 2147483647 h 252"/>
                <a:gd name="T32" fmla="*/ 2147483647 w 233"/>
                <a:gd name="T33" fmla="*/ 2147483647 h 252"/>
                <a:gd name="T34" fmla="*/ 2147483647 w 233"/>
                <a:gd name="T35" fmla="*/ 2147483647 h 252"/>
                <a:gd name="T36" fmla="*/ 2147483647 w 233"/>
                <a:gd name="T37" fmla="*/ 2147483647 h 252"/>
                <a:gd name="T38" fmla="*/ 2147483647 w 233"/>
                <a:gd name="T39" fmla="*/ 2147483647 h 252"/>
                <a:gd name="T40" fmla="*/ 2147483647 w 233"/>
                <a:gd name="T41" fmla="*/ 2147483647 h 252"/>
                <a:gd name="T42" fmla="*/ 2147483647 w 233"/>
                <a:gd name="T43" fmla="*/ 2147483647 h 252"/>
                <a:gd name="T44" fmla="*/ 2147483647 w 233"/>
                <a:gd name="T45" fmla="*/ 2147483647 h 252"/>
                <a:gd name="T46" fmla="*/ 2147483647 w 233"/>
                <a:gd name="T47" fmla="*/ 2147483647 h 252"/>
                <a:gd name="T48" fmla="*/ 2147483647 w 233"/>
                <a:gd name="T49" fmla="*/ 2147483647 h 252"/>
                <a:gd name="T50" fmla="*/ 2147483647 w 233"/>
                <a:gd name="T51" fmla="*/ 2147483647 h 252"/>
                <a:gd name="T52" fmla="*/ 2147483647 w 233"/>
                <a:gd name="T53" fmla="*/ 2147483647 h 252"/>
                <a:gd name="T54" fmla="*/ 2147483647 w 233"/>
                <a:gd name="T55" fmla="*/ 2147483647 h 252"/>
                <a:gd name="T56" fmla="*/ 2147483647 w 233"/>
                <a:gd name="T57" fmla="*/ 2147483647 h 252"/>
                <a:gd name="T58" fmla="*/ 2147483647 w 233"/>
                <a:gd name="T59" fmla="*/ 2147483647 h 252"/>
                <a:gd name="T60" fmla="*/ 2147483647 w 233"/>
                <a:gd name="T61" fmla="*/ 2147483647 h 252"/>
                <a:gd name="T62" fmla="*/ 2147483647 w 233"/>
                <a:gd name="T63" fmla="*/ 2147483647 h 252"/>
                <a:gd name="T64" fmla="*/ 2147483647 w 233"/>
                <a:gd name="T65" fmla="*/ 2147483647 h 252"/>
                <a:gd name="T66" fmla="*/ 2147483647 w 233"/>
                <a:gd name="T67" fmla="*/ 2147483647 h 252"/>
                <a:gd name="T68" fmla="*/ 2147483647 w 233"/>
                <a:gd name="T69" fmla="*/ 2147483647 h 252"/>
                <a:gd name="T70" fmla="*/ 2147483647 w 233"/>
                <a:gd name="T71" fmla="*/ 2147483647 h 252"/>
                <a:gd name="T72" fmla="*/ 2147483647 w 233"/>
                <a:gd name="T73" fmla="*/ 2147483647 h 252"/>
                <a:gd name="T74" fmla="*/ 2147483647 w 233"/>
                <a:gd name="T75" fmla="*/ 2147483647 h 252"/>
                <a:gd name="T76" fmla="*/ 2147483647 w 233"/>
                <a:gd name="T77" fmla="*/ 2147483647 h 252"/>
                <a:gd name="T78" fmla="*/ 2147483647 w 233"/>
                <a:gd name="T79" fmla="*/ 2147483647 h 252"/>
                <a:gd name="T80" fmla="*/ 2147483647 w 233"/>
                <a:gd name="T81" fmla="*/ 2147483647 h 252"/>
                <a:gd name="T82" fmla="*/ 2147483647 w 233"/>
                <a:gd name="T83" fmla="*/ 2147483647 h 252"/>
                <a:gd name="T84" fmla="*/ 2147483647 w 233"/>
                <a:gd name="T85" fmla="*/ 2147483647 h 252"/>
                <a:gd name="T86" fmla="*/ 2147483647 w 233"/>
                <a:gd name="T87" fmla="*/ 2147483647 h 252"/>
                <a:gd name="T88" fmla="*/ 2147483647 w 233"/>
                <a:gd name="T89" fmla="*/ 2147483647 h 252"/>
                <a:gd name="T90" fmla="*/ 2147483647 w 233"/>
                <a:gd name="T91" fmla="*/ 2147483647 h 252"/>
                <a:gd name="T92" fmla="*/ 2147483647 w 233"/>
                <a:gd name="T93" fmla="*/ 2147483647 h 252"/>
                <a:gd name="T94" fmla="*/ 0 w 233"/>
                <a:gd name="T95" fmla="*/ 2147483647 h 252"/>
                <a:gd name="T96" fmla="*/ 2147483647 w 233"/>
                <a:gd name="T97" fmla="*/ 2147483647 h 252"/>
                <a:gd name="T98" fmla="*/ 2147483647 w 233"/>
                <a:gd name="T99" fmla="*/ 2147483647 h 252"/>
                <a:gd name="T100" fmla="*/ 2147483647 w 233"/>
                <a:gd name="T101" fmla="*/ 2147483647 h 252"/>
                <a:gd name="T102" fmla="*/ 2147483647 w 233"/>
                <a:gd name="T103" fmla="*/ 2147483647 h 252"/>
                <a:gd name="T104" fmla="*/ 2147483647 w 233"/>
                <a:gd name="T105" fmla="*/ 2147483647 h 252"/>
                <a:gd name="T106" fmla="*/ 2147483647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33"/>
                <a:gd name="T163" fmla="*/ 0 h 252"/>
                <a:gd name="T164" fmla="*/ 233 w 233"/>
                <a:gd name="T165" fmla="*/ 252 h 2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88" name="Freeform 266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3935413" y="3319463"/>
              <a:ext cx="104775" cy="201612"/>
            </a:xfrm>
            <a:custGeom>
              <a:avLst/>
              <a:gdLst>
                <a:gd name="T0" fmla="*/ 2147483647 w 246"/>
                <a:gd name="T1" fmla="*/ 2147483647 h 380"/>
                <a:gd name="T2" fmla="*/ 2147483647 w 246"/>
                <a:gd name="T3" fmla="*/ 2147483647 h 380"/>
                <a:gd name="T4" fmla="*/ 2147483647 w 246"/>
                <a:gd name="T5" fmla="*/ 2147483647 h 380"/>
                <a:gd name="T6" fmla="*/ 2147483647 w 246"/>
                <a:gd name="T7" fmla="*/ 2147483647 h 380"/>
                <a:gd name="T8" fmla="*/ 2147483647 w 246"/>
                <a:gd name="T9" fmla="*/ 2147483647 h 380"/>
                <a:gd name="T10" fmla="*/ 2147483647 w 246"/>
                <a:gd name="T11" fmla="*/ 2147483647 h 380"/>
                <a:gd name="T12" fmla="*/ 2147483647 w 246"/>
                <a:gd name="T13" fmla="*/ 2147483647 h 380"/>
                <a:gd name="T14" fmla="*/ 2147483647 w 246"/>
                <a:gd name="T15" fmla="*/ 2147483647 h 380"/>
                <a:gd name="T16" fmla="*/ 2147483647 w 246"/>
                <a:gd name="T17" fmla="*/ 2147483647 h 380"/>
                <a:gd name="T18" fmla="*/ 2147483647 w 246"/>
                <a:gd name="T19" fmla="*/ 2147483647 h 380"/>
                <a:gd name="T20" fmla="*/ 2147483647 w 246"/>
                <a:gd name="T21" fmla="*/ 2147483647 h 380"/>
                <a:gd name="T22" fmla="*/ 2147483647 w 246"/>
                <a:gd name="T23" fmla="*/ 2147483647 h 380"/>
                <a:gd name="T24" fmla="*/ 2147483647 w 246"/>
                <a:gd name="T25" fmla="*/ 2147483647 h 380"/>
                <a:gd name="T26" fmla="*/ 2147483647 w 246"/>
                <a:gd name="T27" fmla="*/ 2147483647 h 380"/>
                <a:gd name="T28" fmla="*/ 0 w 246"/>
                <a:gd name="T29" fmla="*/ 2147483647 h 380"/>
                <a:gd name="T30" fmla="*/ 2147483647 w 246"/>
                <a:gd name="T31" fmla="*/ 2147483647 h 380"/>
                <a:gd name="T32" fmla="*/ 2147483647 w 246"/>
                <a:gd name="T33" fmla="*/ 2147483647 h 380"/>
                <a:gd name="T34" fmla="*/ 2147483647 w 246"/>
                <a:gd name="T35" fmla="*/ 2147483647 h 380"/>
                <a:gd name="T36" fmla="*/ 2147483647 w 246"/>
                <a:gd name="T37" fmla="*/ 2147483647 h 380"/>
                <a:gd name="T38" fmla="*/ 2147483647 w 246"/>
                <a:gd name="T39" fmla="*/ 2147483647 h 380"/>
                <a:gd name="T40" fmla="*/ 2147483647 w 246"/>
                <a:gd name="T41" fmla="*/ 2147483647 h 380"/>
                <a:gd name="T42" fmla="*/ 2147483647 w 246"/>
                <a:gd name="T43" fmla="*/ 2147483647 h 380"/>
                <a:gd name="T44" fmla="*/ 2147483647 w 246"/>
                <a:gd name="T45" fmla="*/ 2147483647 h 380"/>
                <a:gd name="T46" fmla="*/ 2147483647 w 246"/>
                <a:gd name="T47" fmla="*/ 2147483647 h 380"/>
                <a:gd name="T48" fmla="*/ 2147483647 w 246"/>
                <a:gd name="T49" fmla="*/ 2147483647 h 380"/>
                <a:gd name="T50" fmla="*/ 2147483647 w 246"/>
                <a:gd name="T51" fmla="*/ 2147483647 h 380"/>
                <a:gd name="T52" fmla="*/ 2147483647 w 246"/>
                <a:gd name="T53" fmla="*/ 2147483647 h 380"/>
                <a:gd name="T54" fmla="*/ 2147483647 w 246"/>
                <a:gd name="T55" fmla="*/ 2147483647 h 380"/>
                <a:gd name="T56" fmla="*/ 2147483647 w 246"/>
                <a:gd name="T57" fmla="*/ 2147483647 h 380"/>
                <a:gd name="T58" fmla="*/ 2147483647 w 246"/>
                <a:gd name="T59" fmla="*/ 2147483647 h 380"/>
                <a:gd name="T60" fmla="*/ 2147483647 w 246"/>
                <a:gd name="T61" fmla="*/ 2147483647 h 380"/>
                <a:gd name="T62" fmla="*/ 2147483647 w 246"/>
                <a:gd name="T63" fmla="*/ 0 h 380"/>
                <a:gd name="T64" fmla="*/ 2147483647 w 246"/>
                <a:gd name="T65" fmla="*/ 0 h 380"/>
                <a:gd name="T66" fmla="*/ 2147483647 w 246"/>
                <a:gd name="T67" fmla="*/ 2147483647 h 380"/>
                <a:gd name="T68" fmla="*/ 2147483647 w 246"/>
                <a:gd name="T69" fmla="*/ 2147483647 h 380"/>
                <a:gd name="T70" fmla="*/ 2147483647 w 246"/>
                <a:gd name="T71" fmla="*/ 2147483647 h 380"/>
                <a:gd name="T72" fmla="*/ 2147483647 w 246"/>
                <a:gd name="T73" fmla="*/ 2147483647 h 380"/>
                <a:gd name="T74" fmla="*/ 2147483647 w 246"/>
                <a:gd name="T75" fmla="*/ 2147483647 h 380"/>
                <a:gd name="T76" fmla="*/ 2147483647 w 246"/>
                <a:gd name="T77" fmla="*/ 2147483647 h 380"/>
                <a:gd name="T78" fmla="*/ 2147483647 w 246"/>
                <a:gd name="T79" fmla="*/ 2147483647 h 380"/>
                <a:gd name="T80" fmla="*/ 2147483647 w 246"/>
                <a:gd name="T81" fmla="*/ 2147483647 h 380"/>
                <a:gd name="T82" fmla="*/ 2147483647 w 246"/>
                <a:gd name="T83" fmla="*/ 2147483647 h 380"/>
                <a:gd name="T84" fmla="*/ 2147483647 w 246"/>
                <a:gd name="T85" fmla="*/ 2147483647 h 380"/>
                <a:gd name="T86" fmla="*/ 2147483647 w 246"/>
                <a:gd name="T87" fmla="*/ 2147483647 h 380"/>
                <a:gd name="T88" fmla="*/ 2147483647 w 246"/>
                <a:gd name="T89" fmla="*/ 2147483647 h 380"/>
                <a:gd name="T90" fmla="*/ 2147483647 w 246"/>
                <a:gd name="T91" fmla="*/ 2147483647 h 380"/>
                <a:gd name="T92" fmla="*/ 2147483647 w 246"/>
                <a:gd name="T93" fmla="*/ 2147483647 h 380"/>
                <a:gd name="T94" fmla="*/ 2147483647 w 246"/>
                <a:gd name="T95" fmla="*/ 2147483647 h 380"/>
                <a:gd name="T96" fmla="*/ 2147483647 w 246"/>
                <a:gd name="T97" fmla="*/ 2147483647 h 380"/>
                <a:gd name="T98" fmla="*/ 2147483647 w 246"/>
                <a:gd name="T99" fmla="*/ 2147483647 h 380"/>
                <a:gd name="T100" fmla="*/ 2147483647 w 246"/>
                <a:gd name="T101" fmla="*/ 2147483647 h 380"/>
                <a:gd name="T102" fmla="*/ 2147483647 w 246"/>
                <a:gd name="T103" fmla="*/ 2147483647 h 380"/>
                <a:gd name="T104" fmla="*/ 2147483647 w 246"/>
                <a:gd name="T105" fmla="*/ 2147483647 h 380"/>
                <a:gd name="T106" fmla="*/ 2147483647 w 246"/>
                <a:gd name="T107" fmla="*/ 2147483647 h 380"/>
                <a:gd name="T108" fmla="*/ 2147483647 w 246"/>
                <a:gd name="T109" fmla="*/ 2147483647 h 380"/>
                <a:gd name="T110" fmla="*/ 2147483647 w 246"/>
                <a:gd name="T111" fmla="*/ 2147483647 h 380"/>
                <a:gd name="T112" fmla="*/ 2147483647 w 246"/>
                <a:gd name="T113" fmla="*/ 2147483647 h 380"/>
                <a:gd name="T114" fmla="*/ 2147483647 w 246"/>
                <a:gd name="T115" fmla="*/ 2147483647 h 380"/>
                <a:gd name="T116" fmla="*/ 2147483647 w 246"/>
                <a:gd name="T117" fmla="*/ 2147483647 h 380"/>
                <a:gd name="T118" fmla="*/ 2147483647 w 246"/>
                <a:gd name="T119" fmla="*/ 2147483647 h 380"/>
                <a:gd name="T120" fmla="*/ 2147483647 w 246"/>
                <a:gd name="T121" fmla="*/ 2147483647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46"/>
                <a:gd name="T184" fmla="*/ 0 h 380"/>
                <a:gd name="T185" fmla="*/ 246 w 246"/>
                <a:gd name="T186" fmla="*/ 380 h 38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89" name="Freeform 267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3587750" y="3235325"/>
              <a:ext cx="87313" cy="58738"/>
            </a:xfrm>
            <a:custGeom>
              <a:avLst/>
              <a:gdLst>
                <a:gd name="T0" fmla="*/ 2147483647 w 193"/>
                <a:gd name="T1" fmla="*/ 2147483647 h 38"/>
                <a:gd name="T2" fmla="*/ 2147483647 w 193"/>
                <a:gd name="T3" fmla="*/ 2147483647 h 38"/>
                <a:gd name="T4" fmla="*/ 2147483647 w 193"/>
                <a:gd name="T5" fmla="*/ 2147483647 h 38"/>
                <a:gd name="T6" fmla="*/ 2147483647 w 193"/>
                <a:gd name="T7" fmla="*/ 2147483647 h 38"/>
                <a:gd name="T8" fmla="*/ 2147483647 w 193"/>
                <a:gd name="T9" fmla="*/ 2147483647 h 38"/>
                <a:gd name="T10" fmla="*/ 2147483647 w 193"/>
                <a:gd name="T11" fmla="*/ 2147483647 h 38"/>
                <a:gd name="T12" fmla="*/ 2147483647 w 193"/>
                <a:gd name="T13" fmla="*/ 0 h 38"/>
                <a:gd name="T14" fmla="*/ 2147483647 w 193"/>
                <a:gd name="T15" fmla="*/ 2147483647 h 38"/>
                <a:gd name="T16" fmla="*/ 2147483647 w 193"/>
                <a:gd name="T17" fmla="*/ 2147483647 h 38"/>
                <a:gd name="T18" fmla="*/ 2147483647 w 193"/>
                <a:gd name="T19" fmla="*/ 2147483647 h 38"/>
                <a:gd name="T20" fmla="*/ 2147483647 w 193"/>
                <a:gd name="T21" fmla="*/ 2147483647 h 38"/>
                <a:gd name="T22" fmla="*/ 2147483647 w 193"/>
                <a:gd name="T23" fmla="*/ 2147483647 h 38"/>
                <a:gd name="T24" fmla="*/ 2147483647 w 193"/>
                <a:gd name="T25" fmla="*/ 2147483647 h 38"/>
                <a:gd name="T26" fmla="*/ 2147483647 w 193"/>
                <a:gd name="T27" fmla="*/ 2147483647 h 38"/>
                <a:gd name="T28" fmla="*/ 2147483647 w 193"/>
                <a:gd name="T29" fmla="*/ 2147483647 h 38"/>
                <a:gd name="T30" fmla="*/ 2147483647 w 193"/>
                <a:gd name="T31" fmla="*/ 2147483647 h 38"/>
                <a:gd name="T32" fmla="*/ 2147483647 w 193"/>
                <a:gd name="T33" fmla="*/ 2147483647 h 38"/>
                <a:gd name="T34" fmla="*/ 2147483647 w 193"/>
                <a:gd name="T35" fmla="*/ 2147483647 h 38"/>
                <a:gd name="T36" fmla="*/ 2147483647 w 193"/>
                <a:gd name="T37" fmla="*/ 2147483647 h 38"/>
                <a:gd name="T38" fmla="*/ 2147483647 w 193"/>
                <a:gd name="T39" fmla="*/ 2147483647 h 38"/>
                <a:gd name="T40" fmla="*/ 2147483647 w 193"/>
                <a:gd name="T41" fmla="*/ 2147483647 h 38"/>
                <a:gd name="T42" fmla="*/ 2147483647 w 193"/>
                <a:gd name="T43" fmla="*/ 2147483647 h 38"/>
                <a:gd name="T44" fmla="*/ 2147483647 w 193"/>
                <a:gd name="T45" fmla="*/ 2147483647 h 38"/>
                <a:gd name="T46" fmla="*/ 2147483647 w 193"/>
                <a:gd name="T47" fmla="*/ 2147483647 h 38"/>
                <a:gd name="T48" fmla="*/ 2147483647 w 193"/>
                <a:gd name="T49" fmla="*/ 2147483647 h 38"/>
                <a:gd name="T50" fmla="*/ 2147483647 w 193"/>
                <a:gd name="T51" fmla="*/ 2147483647 h 38"/>
                <a:gd name="T52" fmla="*/ 2147483647 w 193"/>
                <a:gd name="T53" fmla="*/ 2147483647 h 38"/>
                <a:gd name="T54" fmla="*/ 2147483647 w 193"/>
                <a:gd name="T55" fmla="*/ 2147483647 h 38"/>
                <a:gd name="T56" fmla="*/ 2147483647 w 193"/>
                <a:gd name="T57" fmla="*/ 2147483647 h 38"/>
                <a:gd name="T58" fmla="*/ 2147483647 w 193"/>
                <a:gd name="T59" fmla="*/ 2147483647 h 38"/>
                <a:gd name="T60" fmla="*/ 0 w 193"/>
                <a:gd name="T61" fmla="*/ 2147483647 h 38"/>
                <a:gd name="T62" fmla="*/ 0 w 193"/>
                <a:gd name="T63" fmla="*/ 2147483647 h 38"/>
                <a:gd name="T64" fmla="*/ 2147483647 w 193"/>
                <a:gd name="T65" fmla="*/ 2147483647 h 38"/>
                <a:gd name="T66" fmla="*/ 2147483647 w 193"/>
                <a:gd name="T67" fmla="*/ 2147483647 h 38"/>
                <a:gd name="T68" fmla="*/ 2147483647 w 193"/>
                <a:gd name="T69" fmla="*/ 2147483647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93"/>
                <a:gd name="T106" fmla="*/ 0 h 38"/>
                <a:gd name="T107" fmla="*/ 193 w 193"/>
                <a:gd name="T108" fmla="*/ 38 h 3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90" name="Freeform 268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4013200" y="3313113"/>
              <a:ext cx="42863" cy="155575"/>
            </a:xfrm>
            <a:custGeom>
              <a:avLst/>
              <a:gdLst>
                <a:gd name="T0" fmla="*/ 2147483647 w 99"/>
                <a:gd name="T1" fmla="*/ 2147483647 h 301"/>
                <a:gd name="T2" fmla="*/ 2147483647 w 99"/>
                <a:gd name="T3" fmla="*/ 2147483647 h 301"/>
                <a:gd name="T4" fmla="*/ 2147483647 w 99"/>
                <a:gd name="T5" fmla="*/ 2147483647 h 301"/>
                <a:gd name="T6" fmla="*/ 2147483647 w 99"/>
                <a:gd name="T7" fmla="*/ 2147483647 h 301"/>
                <a:gd name="T8" fmla="*/ 2147483647 w 99"/>
                <a:gd name="T9" fmla="*/ 2147483647 h 301"/>
                <a:gd name="T10" fmla="*/ 2147483647 w 99"/>
                <a:gd name="T11" fmla="*/ 2147483647 h 301"/>
                <a:gd name="T12" fmla="*/ 2147483647 w 99"/>
                <a:gd name="T13" fmla="*/ 2147483647 h 301"/>
                <a:gd name="T14" fmla="*/ 2147483647 w 99"/>
                <a:gd name="T15" fmla="*/ 2147483647 h 301"/>
                <a:gd name="T16" fmla="*/ 2147483647 w 99"/>
                <a:gd name="T17" fmla="*/ 2147483647 h 301"/>
                <a:gd name="T18" fmla="*/ 2147483647 w 99"/>
                <a:gd name="T19" fmla="*/ 2147483647 h 301"/>
                <a:gd name="T20" fmla="*/ 2147483647 w 99"/>
                <a:gd name="T21" fmla="*/ 2147483647 h 301"/>
                <a:gd name="T22" fmla="*/ 2147483647 w 99"/>
                <a:gd name="T23" fmla="*/ 2147483647 h 301"/>
                <a:gd name="T24" fmla="*/ 2147483647 w 99"/>
                <a:gd name="T25" fmla="*/ 2147483647 h 301"/>
                <a:gd name="T26" fmla="*/ 2147483647 w 99"/>
                <a:gd name="T27" fmla="*/ 2147483647 h 301"/>
                <a:gd name="T28" fmla="*/ 2147483647 w 99"/>
                <a:gd name="T29" fmla="*/ 2147483647 h 301"/>
                <a:gd name="T30" fmla="*/ 2147483647 w 99"/>
                <a:gd name="T31" fmla="*/ 2147483647 h 301"/>
                <a:gd name="T32" fmla="*/ 2147483647 w 99"/>
                <a:gd name="T33" fmla="*/ 2147483647 h 301"/>
                <a:gd name="T34" fmla="*/ 2147483647 w 99"/>
                <a:gd name="T35" fmla="*/ 2147483647 h 301"/>
                <a:gd name="T36" fmla="*/ 2147483647 w 99"/>
                <a:gd name="T37" fmla="*/ 2147483647 h 301"/>
                <a:gd name="T38" fmla="*/ 2147483647 w 99"/>
                <a:gd name="T39" fmla="*/ 2147483647 h 301"/>
                <a:gd name="T40" fmla="*/ 2147483647 w 99"/>
                <a:gd name="T41" fmla="*/ 2147483647 h 301"/>
                <a:gd name="T42" fmla="*/ 2147483647 w 99"/>
                <a:gd name="T43" fmla="*/ 2147483647 h 301"/>
                <a:gd name="T44" fmla="*/ 2147483647 w 99"/>
                <a:gd name="T45" fmla="*/ 2147483647 h 301"/>
                <a:gd name="T46" fmla="*/ 2147483647 w 99"/>
                <a:gd name="T47" fmla="*/ 2147483647 h 301"/>
                <a:gd name="T48" fmla="*/ 2147483647 w 99"/>
                <a:gd name="T49" fmla="*/ 2147483647 h 301"/>
                <a:gd name="T50" fmla="*/ 2147483647 w 99"/>
                <a:gd name="T51" fmla="*/ 2147483647 h 301"/>
                <a:gd name="T52" fmla="*/ 2147483647 w 99"/>
                <a:gd name="T53" fmla="*/ 2147483647 h 301"/>
                <a:gd name="T54" fmla="*/ 2147483647 w 99"/>
                <a:gd name="T55" fmla="*/ 2147483647 h 301"/>
                <a:gd name="T56" fmla="*/ 0 w 99"/>
                <a:gd name="T57" fmla="*/ 2147483647 h 301"/>
                <a:gd name="T58" fmla="*/ 2147483647 w 99"/>
                <a:gd name="T59" fmla="*/ 2147483647 h 301"/>
                <a:gd name="T60" fmla="*/ 2147483647 w 99"/>
                <a:gd name="T61" fmla="*/ 0 h 301"/>
                <a:gd name="T62" fmla="*/ 2147483647 w 99"/>
                <a:gd name="T63" fmla="*/ 0 h 301"/>
                <a:gd name="T64" fmla="*/ 2147483647 w 99"/>
                <a:gd name="T65" fmla="*/ 0 h 301"/>
                <a:gd name="T66" fmla="*/ 2147483647 w 99"/>
                <a:gd name="T67" fmla="*/ 0 h 301"/>
                <a:gd name="T68" fmla="*/ 2147483647 w 99"/>
                <a:gd name="T69" fmla="*/ 2147483647 h 301"/>
                <a:gd name="T70" fmla="*/ 2147483647 w 99"/>
                <a:gd name="T71" fmla="*/ 2147483647 h 301"/>
                <a:gd name="T72" fmla="*/ 2147483647 w 99"/>
                <a:gd name="T73" fmla="*/ 2147483647 h 301"/>
                <a:gd name="T74" fmla="*/ 2147483647 w 99"/>
                <a:gd name="T75" fmla="*/ 2147483647 h 301"/>
                <a:gd name="T76" fmla="*/ 2147483647 w 99"/>
                <a:gd name="T77" fmla="*/ 2147483647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9"/>
                <a:gd name="T118" fmla="*/ 0 h 301"/>
                <a:gd name="T119" fmla="*/ 99 w 99"/>
                <a:gd name="T120" fmla="*/ 301 h 30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91" name="Freeform 269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4038600" y="3275013"/>
              <a:ext cx="76200" cy="188912"/>
            </a:xfrm>
            <a:custGeom>
              <a:avLst/>
              <a:gdLst>
                <a:gd name="T0" fmla="*/ 0 w 173"/>
                <a:gd name="T1" fmla="*/ 2147483647 h 357"/>
                <a:gd name="T2" fmla="*/ 2147483647 w 173"/>
                <a:gd name="T3" fmla="*/ 2147483647 h 357"/>
                <a:gd name="T4" fmla="*/ 2147483647 w 173"/>
                <a:gd name="T5" fmla="*/ 2147483647 h 357"/>
                <a:gd name="T6" fmla="*/ 2147483647 w 173"/>
                <a:gd name="T7" fmla="*/ 2147483647 h 357"/>
                <a:gd name="T8" fmla="*/ 2147483647 w 173"/>
                <a:gd name="T9" fmla="*/ 2147483647 h 357"/>
                <a:gd name="T10" fmla="*/ 2147483647 w 173"/>
                <a:gd name="T11" fmla="*/ 2147483647 h 357"/>
                <a:gd name="T12" fmla="*/ 2147483647 w 173"/>
                <a:gd name="T13" fmla="*/ 2147483647 h 357"/>
                <a:gd name="T14" fmla="*/ 2147483647 w 173"/>
                <a:gd name="T15" fmla="*/ 0 h 357"/>
                <a:gd name="T16" fmla="*/ 2147483647 w 173"/>
                <a:gd name="T17" fmla="*/ 2147483647 h 357"/>
                <a:gd name="T18" fmla="*/ 2147483647 w 173"/>
                <a:gd name="T19" fmla="*/ 2147483647 h 357"/>
                <a:gd name="T20" fmla="*/ 2147483647 w 173"/>
                <a:gd name="T21" fmla="*/ 2147483647 h 357"/>
                <a:gd name="T22" fmla="*/ 2147483647 w 173"/>
                <a:gd name="T23" fmla="*/ 2147483647 h 357"/>
                <a:gd name="T24" fmla="*/ 2147483647 w 173"/>
                <a:gd name="T25" fmla="*/ 2147483647 h 357"/>
                <a:gd name="T26" fmla="*/ 2147483647 w 173"/>
                <a:gd name="T27" fmla="*/ 2147483647 h 357"/>
                <a:gd name="T28" fmla="*/ 2147483647 w 173"/>
                <a:gd name="T29" fmla="*/ 2147483647 h 357"/>
                <a:gd name="T30" fmla="*/ 2147483647 w 173"/>
                <a:gd name="T31" fmla="*/ 2147483647 h 357"/>
                <a:gd name="T32" fmla="*/ 2147483647 w 173"/>
                <a:gd name="T33" fmla="*/ 2147483647 h 357"/>
                <a:gd name="T34" fmla="*/ 2147483647 w 173"/>
                <a:gd name="T35" fmla="*/ 2147483647 h 357"/>
                <a:gd name="T36" fmla="*/ 2147483647 w 173"/>
                <a:gd name="T37" fmla="*/ 2147483647 h 357"/>
                <a:gd name="T38" fmla="*/ 2147483647 w 173"/>
                <a:gd name="T39" fmla="*/ 2147483647 h 357"/>
                <a:gd name="T40" fmla="*/ 2147483647 w 173"/>
                <a:gd name="T41" fmla="*/ 2147483647 h 357"/>
                <a:gd name="T42" fmla="*/ 2147483647 w 173"/>
                <a:gd name="T43" fmla="*/ 2147483647 h 357"/>
                <a:gd name="T44" fmla="*/ 2147483647 w 173"/>
                <a:gd name="T45" fmla="*/ 2147483647 h 357"/>
                <a:gd name="T46" fmla="*/ 2147483647 w 173"/>
                <a:gd name="T47" fmla="*/ 2147483647 h 357"/>
                <a:gd name="T48" fmla="*/ 2147483647 w 173"/>
                <a:gd name="T49" fmla="*/ 2147483647 h 357"/>
                <a:gd name="T50" fmla="*/ 2147483647 w 173"/>
                <a:gd name="T51" fmla="*/ 2147483647 h 357"/>
                <a:gd name="T52" fmla="*/ 2147483647 w 173"/>
                <a:gd name="T53" fmla="*/ 2147483647 h 357"/>
                <a:gd name="T54" fmla="*/ 2147483647 w 173"/>
                <a:gd name="T55" fmla="*/ 2147483647 h 357"/>
                <a:gd name="T56" fmla="*/ 2147483647 w 173"/>
                <a:gd name="T57" fmla="*/ 2147483647 h 357"/>
                <a:gd name="T58" fmla="*/ 2147483647 w 173"/>
                <a:gd name="T59" fmla="*/ 2147483647 h 357"/>
                <a:gd name="T60" fmla="*/ 2147483647 w 173"/>
                <a:gd name="T61" fmla="*/ 2147483647 h 357"/>
                <a:gd name="T62" fmla="*/ 2147483647 w 173"/>
                <a:gd name="T63" fmla="*/ 2147483647 h 357"/>
                <a:gd name="T64" fmla="*/ 2147483647 w 173"/>
                <a:gd name="T65" fmla="*/ 2147483647 h 357"/>
                <a:gd name="T66" fmla="*/ 2147483647 w 173"/>
                <a:gd name="T67" fmla="*/ 2147483647 h 357"/>
                <a:gd name="T68" fmla="*/ 2147483647 w 173"/>
                <a:gd name="T69" fmla="*/ 2147483647 h 357"/>
                <a:gd name="T70" fmla="*/ 2147483647 w 173"/>
                <a:gd name="T71" fmla="*/ 2147483647 h 357"/>
                <a:gd name="T72" fmla="*/ 2147483647 w 173"/>
                <a:gd name="T73" fmla="*/ 2147483647 h 357"/>
                <a:gd name="T74" fmla="*/ 2147483647 w 173"/>
                <a:gd name="T75" fmla="*/ 2147483647 h 357"/>
                <a:gd name="T76" fmla="*/ 2147483647 w 173"/>
                <a:gd name="T77" fmla="*/ 2147483647 h 357"/>
                <a:gd name="T78" fmla="*/ 2147483647 w 173"/>
                <a:gd name="T79" fmla="*/ 2147483647 h 357"/>
                <a:gd name="T80" fmla="*/ 2147483647 w 173"/>
                <a:gd name="T81" fmla="*/ 2147483647 h 357"/>
                <a:gd name="T82" fmla="*/ 2147483647 w 173"/>
                <a:gd name="T83" fmla="*/ 2147483647 h 357"/>
                <a:gd name="T84" fmla="*/ 2147483647 w 173"/>
                <a:gd name="T85" fmla="*/ 2147483647 h 357"/>
                <a:gd name="T86" fmla="*/ 2147483647 w 173"/>
                <a:gd name="T87" fmla="*/ 2147483647 h 357"/>
                <a:gd name="T88" fmla="*/ 2147483647 w 173"/>
                <a:gd name="T89" fmla="*/ 2147483647 h 357"/>
                <a:gd name="T90" fmla="*/ 2147483647 w 173"/>
                <a:gd name="T91" fmla="*/ 2147483647 h 357"/>
                <a:gd name="T92" fmla="*/ 2147483647 w 173"/>
                <a:gd name="T93" fmla="*/ 2147483647 h 357"/>
                <a:gd name="T94" fmla="*/ 2147483647 w 173"/>
                <a:gd name="T95" fmla="*/ 2147483647 h 357"/>
                <a:gd name="T96" fmla="*/ 2147483647 w 173"/>
                <a:gd name="T97" fmla="*/ 2147483647 h 357"/>
                <a:gd name="T98" fmla="*/ 2147483647 w 173"/>
                <a:gd name="T99" fmla="*/ 2147483647 h 357"/>
                <a:gd name="T100" fmla="*/ 2147483647 w 173"/>
                <a:gd name="T101" fmla="*/ 2147483647 h 357"/>
                <a:gd name="T102" fmla="*/ 2147483647 w 173"/>
                <a:gd name="T103" fmla="*/ 2147483647 h 357"/>
                <a:gd name="T104" fmla="*/ 2147483647 w 173"/>
                <a:gd name="T105" fmla="*/ 2147483647 h 357"/>
                <a:gd name="T106" fmla="*/ 2147483647 w 173"/>
                <a:gd name="T107" fmla="*/ 2147483647 h 357"/>
                <a:gd name="T108" fmla="*/ 2147483647 w 173"/>
                <a:gd name="T109" fmla="*/ 2147483647 h 357"/>
                <a:gd name="T110" fmla="*/ 2147483647 w 173"/>
                <a:gd name="T111" fmla="*/ 2147483647 h 357"/>
                <a:gd name="T112" fmla="*/ 2147483647 w 173"/>
                <a:gd name="T113" fmla="*/ 2147483647 h 357"/>
                <a:gd name="T114" fmla="*/ 2147483647 w 173"/>
                <a:gd name="T115" fmla="*/ 2147483647 h 357"/>
                <a:gd name="T116" fmla="*/ 2147483647 w 173"/>
                <a:gd name="T117" fmla="*/ 2147483647 h 357"/>
                <a:gd name="T118" fmla="*/ 0 w 173"/>
                <a:gd name="T119" fmla="*/ 2147483647 h 357"/>
                <a:gd name="T120" fmla="*/ 0 w 173"/>
                <a:gd name="T121" fmla="*/ 2147483647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73"/>
                <a:gd name="T184" fmla="*/ 0 h 357"/>
                <a:gd name="T185" fmla="*/ 173 w 173"/>
                <a:gd name="T186" fmla="*/ 357 h 35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92" name="Freeform 270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4767263" y="4479925"/>
              <a:ext cx="25400" cy="60325"/>
            </a:xfrm>
            <a:custGeom>
              <a:avLst/>
              <a:gdLst>
                <a:gd name="T0" fmla="*/ 2147483647 w 50"/>
                <a:gd name="T1" fmla="*/ 0 h 74"/>
                <a:gd name="T2" fmla="*/ 2147483647 w 50"/>
                <a:gd name="T3" fmla="*/ 2147483647 h 74"/>
                <a:gd name="T4" fmla="*/ 2147483647 w 50"/>
                <a:gd name="T5" fmla="*/ 2147483647 h 74"/>
                <a:gd name="T6" fmla="*/ 0 w 50"/>
                <a:gd name="T7" fmla="*/ 2147483647 h 74"/>
                <a:gd name="T8" fmla="*/ 0 w 50"/>
                <a:gd name="T9" fmla="*/ 2147483647 h 74"/>
                <a:gd name="T10" fmla="*/ 0 w 50"/>
                <a:gd name="T11" fmla="*/ 2147483647 h 74"/>
                <a:gd name="T12" fmla="*/ 2147483647 w 50"/>
                <a:gd name="T13" fmla="*/ 2147483647 h 74"/>
                <a:gd name="T14" fmla="*/ 2147483647 w 50"/>
                <a:gd name="T15" fmla="*/ 2147483647 h 74"/>
                <a:gd name="T16" fmla="*/ 2147483647 w 50"/>
                <a:gd name="T17" fmla="*/ 2147483647 h 74"/>
                <a:gd name="T18" fmla="*/ 2147483647 w 50"/>
                <a:gd name="T19" fmla="*/ 2147483647 h 74"/>
                <a:gd name="T20" fmla="*/ 2147483647 w 50"/>
                <a:gd name="T21" fmla="*/ 2147483647 h 74"/>
                <a:gd name="T22" fmla="*/ 2147483647 w 50"/>
                <a:gd name="T23" fmla="*/ 2147483647 h 74"/>
                <a:gd name="T24" fmla="*/ 2147483647 w 50"/>
                <a:gd name="T25" fmla="*/ 2147483647 h 74"/>
                <a:gd name="T26" fmla="*/ 2147483647 w 50"/>
                <a:gd name="T27" fmla="*/ 0 h 74"/>
                <a:gd name="T28" fmla="*/ 2147483647 w 50"/>
                <a:gd name="T29" fmla="*/ 0 h 74"/>
                <a:gd name="T30" fmla="*/ 2147483647 w 50"/>
                <a:gd name="T31" fmla="*/ 0 h 74"/>
                <a:gd name="T32" fmla="*/ 2147483647 w 50"/>
                <a:gd name="T33" fmla="*/ 0 h 74"/>
                <a:gd name="T34" fmla="*/ 2147483647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50"/>
                <a:gd name="T55" fmla="*/ 0 h 74"/>
                <a:gd name="T56" fmla="*/ 50 w 50"/>
                <a:gd name="T57" fmla="*/ 74 h 7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93" name="Freeform 271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4662488" y="4576763"/>
              <a:ext cx="61912" cy="57150"/>
            </a:xfrm>
            <a:custGeom>
              <a:avLst/>
              <a:gdLst>
                <a:gd name="T0" fmla="*/ 2147483647 w 135"/>
                <a:gd name="T1" fmla="*/ 2147483647 h 98"/>
                <a:gd name="T2" fmla="*/ 2147483647 w 135"/>
                <a:gd name="T3" fmla="*/ 2147483647 h 98"/>
                <a:gd name="T4" fmla="*/ 2147483647 w 135"/>
                <a:gd name="T5" fmla="*/ 2147483647 h 98"/>
                <a:gd name="T6" fmla="*/ 2147483647 w 135"/>
                <a:gd name="T7" fmla="*/ 2147483647 h 98"/>
                <a:gd name="T8" fmla="*/ 2147483647 w 135"/>
                <a:gd name="T9" fmla="*/ 2147483647 h 98"/>
                <a:gd name="T10" fmla="*/ 2147483647 w 135"/>
                <a:gd name="T11" fmla="*/ 2147483647 h 98"/>
                <a:gd name="T12" fmla="*/ 2147483647 w 135"/>
                <a:gd name="T13" fmla="*/ 2147483647 h 98"/>
                <a:gd name="T14" fmla="*/ 2147483647 w 135"/>
                <a:gd name="T15" fmla="*/ 2147483647 h 98"/>
                <a:gd name="T16" fmla="*/ 2147483647 w 135"/>
                <a:gd name="T17" fmla="*/ 2147483647 h 98"/>
                <a:gd name="T18" fmla="*/ 2147483647 w 135"/>
                <a:gd name="T19" fmla="*/ 2147483647 h 98"/>
                <a:gd name="T20" fmla="*/ 2147483647 w 135"/>
                <a:gd name="T21" fmla="*/ 2147483647 h 98"/>
                <a:gd name="T22" fmla="*/ 2147483647 w 135"/>
                <a:gd name="T23" fmla="*/ 0 h 98"/>
                <a:gd name="T24" fmla="*/ 2147483647 w 135"/>
                <a:gd name="T25" fmla="*/ 0 h 98"/>
                <a:gd name="T26" fmla="*/ 2147483647 w 135"/>
                <a:gd name="T27" fmla="*/ 0 h 98"/>
                <a:gd name="T28" fmla="*/ 2147483647 w 135"/>
                <a:gd name="T29" fmla="*/ 2147483647 h 98"/>
                <a:gd name="T30" fmla="*/ 2147483647 w 135"/>
                <a:gd name="T31" fmla="*/ 2147483647 h 98"/>
                <a:gd name="T32" fmla="*/ 2147483647 w 135"/>
                <a:gd name="T33" fmla="*/ 2147483647 h 98"/>
                <a:gd name="T34" fmla="*/ 2147483647 w 135"/>
                <a:gd name="T35" fmla="*/ 2147483647 h 98"/>
                <a:gd name="T36" fmla="*/ 2147483647 w 135"/>
                <a:gd name="T37" fmla="*/ 2147483647 h 98"/>
                <a:gd name="T38" fmla="*/ 2147483647 w 135"/>
                <a:gd name="T39" fmla="*/ 2147483647 h 98"/>
                <a:gd name="T40" fmla="*/ 2147483647 w 135"/>
                <a:gd name="T41" fmla="*/ 2147483647 h 98"/>
                <a:gd name="T42" fmla="*/ 2147483647 w 135"/>
                <a:gd name="T43" fmla="*/ 2147483647 h 98"/>
                <a:gd name="T44" fmla="*/ 2147483647 w 135"/>
                <a:gd name="T45" fmla="*/ 2147483647 h 98"/>
                <a:gd name="T46" fmla="*/ 2147483647 w 135"/>
                <a:gd name="T47" fmla="*/ 2147483647 h 98"/>
                <a:gd name="T48" fmla="*/ 2147483647 w 135"/>
                <a:gd name="T49" fmla="*/ 2147483647 h 98"/>
                <a:gd name="T50" fmla="*/ 2147483647 w 135"/>
                <a:gd name="T51" fmla="*/ 2147483647 h 98"/>
                <a:gd name="T52" fmla="*/ 2147483647 w 135"/>
                <a:gd name="T53" fmla="*/ 2147483647 h 98"/>
                <a:gd name="T54" fmla="*/ 2147483647 w 135"/>
                <a:gd name="T55" fmla="*/ 2147483647 h 98"/>
                <a:gd name="T56" fmla="*/ 2147483647 w 135"/>
                <a:gd name="T57" fmla="*/ 2147483647 h 98"/>
                <a:gd name="T58" fmla="*/ 2147483647 w 135"/>
                <a:gd name="T59" fmla="*/ 2147483647 h 98"/>
                <a:gd name="T60" fmla="*/ 2147483647 w 135"/>
                <a:gd name="T61" fmla="*/ 2147483647 h 98"/>
                <a:gd name="T62" fmla="*/ 2147483647 w 135"/>
                <a:gd name="T63" fmla="*/ 2147483647 h 98"/>
                <a:gd name="T64" fmla="*/ 2147483647 w 135"/>
                <a:gd name="T65" fmla="*/ 2147483647 h 98"/>
                <a:gd name="T66" fmla="*/ 2147483647 w 135"/>
                <a:gd name="T67" fmla="*/ 2147483647 h 98"/>
                <a:gd name="T68" fmla="*/ 2147483647 w 135"/>
                <a:gd name="T69" fmla="*/ 2147483647 h 98"/>
                <a:gd name="T70" fmla="*/ 2147483647 w 135"/>
                <a:gd name="T71" fmla="*/ 2147483647 h 98"/>
                <a:gd name="T72" fmla="*/ 2147483647 w 135"/>
                <a:gd name="T73" fmla="*/ 2147483647 h 98"/>
                <a:gd name="T74" fmla="*/ 2147483647 w 135"/>
                <a:gd name="T75" fmla="*/ 2147483647 h 98"/>
                <a:gd name="T76" fmla="*/ 0 w 135"/>
                <a:gd name="T77" fmla="*/ 2147483647 h 98"/>
                <a:gd name="T78" fmla="*/ 0 w 135"/>
                <a:gd name="T79" fmla="*/ 2147483647 h 98"/>
                <a:gd name="T80" fmla="*/ 2147483647 w 135"/>
                <a:gd name="T81" fmla="*/ 2147483647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35"/>
                <a:gd name="T124" fmla="*/ 0 h 98"/>
                <a:gd name="T125" fmla="*/ 135 w 135"/>
                <a:gd name="T126" fmla="*/ 98 h 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94" name="Freeform 272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6880225" y="2290763"/>
              <a:ext cx="120650" cy="171450"/>
            </a:xfrm>
            <a:custGeom>
              <a:avLst/>
              <a:gdLst>
                <a:gd name="T0" fmla="*/ 2147483647 w 266"/>
                <a:gd name="T1" fmla="*/ 2147483647 h 326"/>
                <a:gd name="T2" fmla="*/ 2147483647 w 266"/>
                <a:gd name="T3" fmla="*/ 2147483647 h 326"/>
                <a:gd name="T4" fmla="*/ 2147483647 w 266"/>
                <a:gd name="T5" fmla="*/ 2147483647 h 326"/>
                <a:gd name="T6" fmla="*/ 2147483647 w 266"/>
                <a:gd name="T7" fmla="*/ 2147483647 h 326"/>
                <a:gd name="T8" fmla="*/ 2147483647 w 266"/>
                <a:gd name="T9" fmla="*/ 2147483647 h 326"/>
                <a:gd name="T10" fmla="*/ 2147483647 w 266"/>
                <a:gd name="T11" fmla="*/ 2147483647 h 326"/>
                <a:gd name="T12" fmla="*/ 2147483647 w 266"/>
                <a:gd name="T13" fmla="*/ 2147483647 h 326"/>
                <a:gd name="T14" fmla="*/ 2147483647 w 266"/>
                <a:gd name="T15" fmla="*/ 2147483647 h 326"/>
                <a:gd name="T16" fmla="*/ 2147483647 w 266"/>
                <a:gd name="T17" fmla="*/ 2147483647 h 326"/>
                <a:gd name="T18" fmla="*/ 2147483647 w 266"/>
                <a:gd name="T19" fmla="*/ 2147483647 h 326"/>
                <a:gd name="T20" fmla="*/ 2147483647 w 266"/>
                <a:gd name="T21" fmla="*/ 2147483647 h 326"/>
                <a:gd name="T22" fmla="*/ 2147483647 w 266"/>
                <a:gd name="T23" fmla="*/ 2147483647 h 326"/>
                <a:gd name="T24" fmla="*/ 2147483647 w 266"/>
                <a:gd name="T25" fmla="*/ 2147483647 h 326"/>
                <a:gd name="T26" fmla="*/ 2147483647 w 266"/>
                <a:gd name="T27" fmla="*/ 2147483647 h 326"/>
                <a:gd name="T28" fmla="*/ 2147483647 w 266"/>
                <a:gd name="T29" fmla="*/ 2147483647 h 326"/>
                <a:gd name="T30" fmla="*/ 2147483647 w 266"/>
                <a:gd name="T31" fmla="*/ 2147483647 h 326"/>
                <a:gd name="T32" fmla="*/ 2147483647 w 266"/>
                <a:gd name="T33" fmla="*/ 2147483647 h 326"/>
                <a:gd name="T34" fmla="*/ 2147483647 w 266"/>
                <a:gd name="T35" fmla="*/ 2147483647 h 326"/>
                <a:gd name="T36" fmla="*/ 2147483647 w 266"/>
                <a:gd name="T37" fmla="*/ 2147483647 h 326"/>
                <a:gd name="T38" fmla="*/ 2147483647 w 266"/>
                <a:gd name="T39" fmla="*/ 2147483647 h 326"/>
                <a:gd name="T40" fmla="*/ 2147483647 w 266"/>
                <a:gd name="T41" fmla="*/ 2147483647 h 326"/>
                <a:gd name="T42" fmla="*/ 2147483647 w 266"/>
                <a:gd name="T43" fmla="*/ 2147483647 h 326"/>
                <a:gd name="T44" fmla="*/ 2147483647 w 266"/>
                <a:gd name="T45" fmla="*/ 2147483647 h 326"/>
                <a:gd name="T46" fmla="*/ 2147483647 w 266"/>
                <a:gd name="T47" fmla="*/ 2147483647 h 326"/>
                <a:gd name="T48" fmla="*/ 2147483647 w 266"/>
                <a:gd name="T49" fmla="*/ 2147483647 h 326"/>
                <a:gd name="T50" fmla="*/ 2147483647 w 266"/>
                <a:gd name="T51" fmla="*/ 2147483647 h 326"/>
                <a:gd name="T52" fmla="*/ 2147483647 w 266"/>
                <a:gd name="T53" fmla="*/ 2147483647 h 326"/>
                <a:gd name="T54" fmla="*/ 2147483647 w 266"/>
                <a:gd name="T55" fmla="*/ 2147483647 h 326"/>
                <a:gd name="T56" fmla="*/ 2147483647 w 266"/>
                <a:gd name="T57" fmla="*/ 2147483647 h 326"/>
                <a:gd name="T58" fmla="*/ 2147483647 w 266"/>
                <a:gd name="T59" fmla="*/ 2147483647 h 326"/>
                <a:gd name="T60" fmla="*/ 2147483647 w 266"/>
                <a:gd name="T61" fmla="*/ 2147483647 h 326"/>
                <a:gd name="T62" fmla="*/ 2147483647 w 266"/>
                <a:gd name="T63" fmla="*/ 2147483647 h 326"/>
                <a:gd name="T64" fmla="*/ 2147483647 w 266"/>
                <a:gd name="T65" fmla="*/ 2147483647 h 326"/>
                <a:gd name="T66" fmla="*/ 2147483647 w 266"/>
                <a:gd name="T67" fmla="*/ 2147483647 h 326"/>
                <a:gd name="T68" fmla="*/ 2147483647 w 266"/>
                <a:gd name="T69" fmla="*/ 2147483647 h 326"/>
                <a:gd name="T70" fmla="*/ 2147483647 w 266"/>
                <a:gd name="T71" fmla="*/ 2147483647 h 326"/>
                <a:gd name="T72" fmla="*/ 2147483647 w 266"/>
                <a:gd name="T73" fmla="*/ 2147483647 h 326"/>
                <a:gd name="T74" fmla="*/ 2147483647 w 266"/>
                <a:gd name="T75" fmla="*/ 2147483647 h 326"/>
                <a:gd name="T76" fmla="*/ 2147483647 w 266"/>
                <a:gd name="T77" fmla="*/ 2147483647 h 326"/>
                <a:gd name="T78" fmla="*/ 2147483647 w 266"/>
                <a:gd name="T79" fmla="*/ 2147483647 h 326"/>
                <a:gd name="T80" fmla="*/ 2147483647 w 266"/>
                <a:gd name="T81" fmla="*/ 2147483647 h 326"/>
                <a:gd name="T82" fmla="*/ 2147483647 w 266"/>
                <a:gd name="T83" fmla="*/ 2147483647 h 326"/>
                <a:gd name="T84" fmla="*/ 2147483647 w 266"/>
                <a:gd name="T85" fmla="*/ 2147483647 h 326"/>
                <a:gd name="T86" fmla="*/ 2147483647 w 266"/>
                <a:gd name="T87" fmla="*/ 2147483647 h 326"/>
                <a:gd name="T88" fmla="*/ 2147483647 w 266"/>
                <a:gd name="T89" fmla="*/ 2147483647 h 326"/>
                <a:gd name="T90" fmla="*/ 2147483647 w 266"/>
                <a:gd name="T91" fmla="*/ 2147483647 h 326"/>
                <a:gd name="T92" fmla="*/ 2147483647 w 266"/>
                <a:gd name="T93" fmla="*/ 2147483647 h 326"/>
                <a:gd name="T94" fmla="*/ 2147483647 w 266"/>
                <a:gd name="T95" fmla="*/ 2147483647 h 326"/>
                <a:gd name="T96" fmla="*/ 2147483647 w 266"/>
                <a:gd name="T97" fmla="*/ 2147483647 h 326"/>
                <a:gd name="T98" fmla="*/ 2147483647 w 266"/>
                <a:gd name="T99" fmla="*/ 2147483647 h 326"/>
                <a:gd name="T100" fmla="*/ 2147483647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66"/>
                <a:gd name="T154" fmla="*/ 0 h 326"/>
                <a:gd name="T155" fmla="*/ 266 w 266"/>
                <a:gd name="T156" fmla="*/ 326 h 32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95" name="Freeform 273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5951538" y="2705100"/>
              <a:ext cx="206375" cy="123825"/>
            </a:xfrm>
            <a:custGeom>
              <a:avLst/>
              <a:gdLst>
                <a:gd name="T0" fmla="*/ 2147483647 w 471"/>
                <a:gd name="T1" fmla="*/ 0 h 237"/>
                <a:gd name="T2" fmla="*/ 2147483647 w 471"/>
                <a:gd name="T3" fmla="*/ 2147483647 h 237"/>
                <a:gd name="T4" fmla="*/ 2147483647 w 471"/>
                <a:gd name="T5" fmla="*/ 2147483647 h 237"/>
                <a:gd name="T6" fmla="*/ 2147483647 w 471"/>
                <a:gd name="T7" fmla="*/ 2147483647 h 237"/>
                <a:gd name="T8" fmla="*/ 2147483647 w 471"/>
                <a:gd name="T9" fmla="*/ 2147483647 h 237"/>
                <a:gd name="T10" fmla="*/ 2147483647 w 471"/>
                <a:gd name="T11" fmla="*/ 2147483647 h 237"/>
                <a:gd name="T12" fmla="*/ 2147483647 w 471"/>
                <a:gd name="T13" fmla="*/ 2147483647 h 237"/>
                <a:gd name="T14" fmla="*/ 2147483647 w 471"/>
                <a:gd name="T15" fmla="*/ 2147483647 h 237"/>
                <a:gd name="T16" fmla="*/ 2147483647 w 471"/>
                <a:gd name="T17" fmla="*/ 2147483647 h 237"/>
                <a:gd name="T18" fmla="*/ 2147483647 w 471"/>
                <a:gd name="T19" fmla="*/ 2147483647 h 237"/>
                <a:gd name="T20" fmla="*/ 2147483647 w 471"/>
                <a:gd name="T21" fmla="*/ 2147483647 h 237"/>
                <a:gd name="T22" fmla="*/ 2147483647 w 471"/>
                <a:gd name="T23" fmla="*/ 2147483647 h 237"/>
                <a:gd name="T24" fmla="*/ 2147483647 w 471"/>
                <a:gd name="T25" fmla="*/ 2147483647 h 237"/>
                <a:gd name="T26" fmla="*/ 2147483647 w 471"/>
                <a:gd name="T27" fmla="*/ 2147483647 h 237"/>
                <a:gd name="T28" fmla="*/ 2147483647 w 471"/>
                <a:gd name="T29" fmla="*/ 2147483647 h 237"/>
                <a:gd name="T30" fmla="*/ 2147483647 w 471"/>
                <a:gd name="T31" fmla="*/ 2147483647 h 237"/>
                <a:gd name="T32" fmla="*/ 2147483647 w 471"/>
                <a:gd name="T33" fmla="*/ 2147483647 h 237"/>
                <a:gd name="T34" fmla="*/ 2147483647 w 471"/>
                <a:gd name="T35" fmla="*/ 2147483647 h 237"/>
                <a:gd name="T36" fmla="*/ 2147483647 w 471"/>
                <a:gd name="T37" fmla="*/ 2147483647 h 237"/>
                <a:gd name="T38" fmla="*/ 2147483647 w 471"/>
                <a:gd name="T39" fmla="*/ 2147483647 h 237"/>
                <a:gd name="T40" fmla="*/ 2147483647 w 471"/>
                <a:gd name="T41" fmla="*/ 2147483647 h 237"/>
                <a:gd name="T42" fmla="*/ 2147483647 w 471"/>
                <a:gd name="T43" fmla="*/ 2147483647 h 237"/>
                <a:gd name="T44" fmla="*/ 2147483647 w 471"/>
                <a:gd name="T45" fmla="*/ 2147483647 h 237"/>
                <a:gd name="T46" fmla="*/ 2147483647 w 471"/>
                <a:gd name="T47" fmla="*/ 2147483647 h 237"/>
                <a:gd name="T48" fmla="*/ 2147483647 w 471"/>
                <a:gd name="T49" fmla="*/ 2147483647 h 237"/>
                <a:gd name="T50" fmla="*/ 2147483647 w 471"/>
                <a:gd name="T51" fmla="*/ 2147483647 h 237"/>
                <a:gd name="T52" fmla="*/ 2147483647 w 471"/>
                <a:gd name="T53" fmla="*/ 2147483647 h 237"/>
                <a:gd name="T54" fmla="*/ 2147483647 w 471"/>
                <a:gd name="T55" fmla="*/ 2147483647 h 237"/>
                <a:gd name="T56" fmla="*/ 2147483647 w 471"/>
                <a:gd name="T57" fmla="*/ 2147483647 h 237"/>
                <a:gd name="T58" fmla="*/ 2147483647 w 471"/>
                <a:gd name="T59" fmla="*/ 2147483647 h 237"/>
                <a:gd name="T60" fmla="*/ 2147483647 w 471"/>
                <a:gd name="T61" fmla="*/ 2147483647 h 237"/>
                <a:gd name="T62" fmla="*/ 2147483647 w 471"/>
                <a:gd name="T63" fmla="*/ 2147483647 h 237"/>
                <a:gd name="T64" fmla="*/ 2147483647 w 471"/>
                <a:gd name="T65" fmla="*/ 2147483647 h 237"/>
                <a:gd name="T66" fmla="*/ 2147483647 w 471"/>
                <a:gd name="T67" fmla="*/ 2147483647 h 237"/>
                <a:gd name="T68" fmla="*/ 2147483647 w 471"/>
                <a:gd name="T69" fmla="*/ 2147483647 h 237"/>
                <a:gd name="T70" fmla="*/ 2147483647 w 471"/>
                <a:gd name="T71" fmla="*/ 2147483647 h 237"/>
                <a:gd name="T72" fmla="*/ 2147483647 w 471"/>
                <a:gd name="T73" fmla="*/ 2147483647 h 237"/>
                <a:gd name="T74" fmla="*/ 214748364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71"/>
                <a:gd name="T115" fmla="*/ 0 h 237"/>
                <a:gd name="T116" fmla="*/ 471 w 471"/>
                <a:gd name="T117" fmla="*/ 237 h 23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96" name="Freeform 274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6167438" y="2760663"/>
              <a:ext cx="73025" cy="65087"/>
            </a:xfrm>
            <a:custGeom>
              <a:avLst/>
              <a:gdLst>
                <a:gd name="T0" fmla="*/ 2147483647 w 167"/>
                <a:gd name="T1" fmla="*/ 2147483647 h 123"/>
                <a:gd name="T2" fmla="*/ 2147483647 w 167"/>
                <a:gd name="T3" fmla="*/ 2147483647 h 123"/>
                <a:gd name="T4" fmla="*/ 2147483647 w 167"/>
                <a:gd name="T5" fmla="*/ 2147483647 h 123"/>
                <a:gd name="T6" fmla="*/ 2147483647 w 167"/>
                <a:gd name="T7" fmla="*/ 2147483647 h 123"/>
                <a:gd name="T8" fmla="*/ 2147483647 w 167"/>
                <a:gd name="T9" fmla="*/ 2147483647 h 123"/>
                <a:gd name="T10" fmla="*/ 2147483647 w 167"/>
                <a:gd name="T11" fmla="*/ 2147483647 h 123"/>
                <a:gd name="T12" fmla="*/ 2147483647 w 167"/>
                <a:gd name="T13" fmla="*/ 2147483647 h 123"/>
                <a:gd name="T14" fmla="*/ 2147483647 w 167"/>
                <a:gd name="T15" fmla="*/ 2147483647 h 123"/>
                <a:gd name="T16" fmla="*/ 2147483647 w 167"/>
                <a:gd name="T17" fmla="*/ 2147483647 h 123"/>
                <a:gd name="T18" fmla="*/ 2147483647 w 167"/>
                <a:gd name="T19" fmla="*/ 2147483647 h 123"/>
                <a:gd name="T20" fmla="*/ 2147483647 w 167"/>
                <a:gd name="T21" fmla="*/ 2147483647 h 123"/>
                <a:gd name="T22" fmla="*/ 2147483647 w 167"/>
                <a:gd name="T23" fmla="*/ 2147483647 h 123"/>
                <a:gd name="T24" fmla="*/ 2147483647 w 167"/>
                <a:gd name="T25" fmla="*/ 2147483647 h 123"/>
                <a:gd name="T26" fmla="*/ 2147483647 w 167"/>
                <a:gd name="T27" fmla="*/ 2147483647 h 123"/>
                <a:gd name="T28" fmla="*/ 2147483647 w 167"/>
                <a:gd name="T29" fmla="*/ 2147483647 h 123"/>
                <a:gd name="T30" fmla="*/ 2147483647 w 167"/>
                <a:gd name="T31" fmla="*/ 2147483647 h 123"/>
                <a:gd name="T32" fmla="*/ 2147483647 w 167"/>
                <a:gd name="T33" fmla="*/ 2147483647 h 123"/>
                <a:gd name="T34" fmla="*/ 2147483647 w 167"/>
                <a:gd name="T35" fmla="*/ 2147483647 h 123"/>
                <a:gd name="T36" fmla="*/ 2147483647 w 167"/>
                <a:gd name="T37" fmla="*/ 2147483647 h 123"/>
                <a:gd name="T38" fmla="*/ 2147483647 w 167"/>
                <a:gd name="T39" fmla="*/ 2147483647 h 123"/>
                <a:gd name="T40" fmla="*/ 2147483647 w 167"/>
                <a:gd name="T41" fmla="*/ 2147483647 h 123"/>
                <a:gd name="T42" fmla="*/ 2147483647 w 167"/>
                <a:gd name="T43" fmla="*/ 2147483647 h 123"/>
                <a:gd name="T44" fmla="*/ 2147483647 w 167"/>
                <a:gd name="T45" fmla="*/ 2147483647 h 123"/>
                <a:gd name="T46" fmla="*/ 2147483647 w 167"/>
                <a:gd name="T47" fmla="*/ 2147483647 h 123"/>
                <a:gd name="T48" fmla="*/ 0 w 167"/>
                <a:gd name="T49" fmla="*/ 2147483647 h 123"/>
                <a:gd name="T50" fmla="*/ 2147483647 w 167"/>
                <a:gd name="T51" fmla="*/ 2147483647 h 123"/>
                <a:gd name="T52" fmla="*/ 2147483647 w 167"/>
                <a:gd name="T53" fmla="*/ 2147483647 h 123"/>
                <a:gd name="T54" fmla="*/ 2147483647 w 167"/>
                <a:gd name="T55" fmla="*/ 2147483647 h 123"/>
                <a:gd name="T56" fmla="*/ 2147483647 w 167"/>
                <a:gd name="T57" fmla="*/ 2147483647 h 123"/>
                <a:gd name="T58" fmla="*/ 2147483647 w 167"/>
                <a:gd name="T59" fmla="*/ 2147483647 h 123"/>
                <a:gd name="T60" fmla="*/ 2147483647 w 167"/>
                <a:gd name="T61" fmla="*/ 2147483647 h 123"/>
                <a:gd name="T62" fmla="*/ 2147483647 w 167"/>
                <a:gd name="T63" fmla="*/ 2147483647 h 123"/>
                <a:gd name="T64" fmla="*/ 2147483647 w 167"/>
                <a:gd name="T65" fmla="*/ 2147483647 h 123"/>
                <a:gd name="T66" fmla="*/ 2147483647 w 167"/>
                <a:gd name="T67" fmla="*/ 2147483647 h 123"/>
                <a:gd name="T68" fmla="*/ 2147483647 w 167"/>
                <a:gd name="T69" fmla="*/ 2147483647 h 123"/>
                <a:gd name="T70" fmla="*/ 2147483647 w 167"/>
                <a:gd name="T71" fmla="*/ 2147483647 h 123"/>
                <a:gd name="T72" fmla="*/ 2147483647 w 167"/>
                <a:gd name="T73" fmla="*/ 0 h 123"/>
                <a:gd name="T74" fmla="*/ 2147483647 w 167"/>
                <a:gd name="T75" fmla="*/ 2147483647 h 123"/>
                <a:gd name="T76" fmla="*/ 2147483647 w 167"/>
                <a:gd name="T77" fmla="*/ 2147483647 h 123"/>
                <a:gd name="T78" fmla="*/ 2147483647 w 167"/>
                <a:gd name="T79" fmla="*/ 2147483647 h 123"/>
                <a:gd name="T80" fmla="*/ 2147483647 w 167"/>
                <a:gd name="T81" fmla="*/ 2147483647 h 123"/>
                <a:gd name="T82" fmla="*/ 2147483647 w 167"/>
                <a:gd name="T83" fmla="*/ 2147483647 h 123"/>
                <a:gd name="T84" fmla="*/ 2147483647 w 167"/>
                <a:gd name="T85" fmla="*/ 2147483647 h 123"/>
                <a:gd name="T86" fmla="*/ 2147483647 w 167"/>
                <a:gd name="T87" fmla="*/ 2147483647 h 123"/>
                <a:gd name="T88" fmla="*/ 2147483647 w 167"/>
                <a:gd name="T89" fmla="*/ 2147483647 h 123"/>
                <a:gd name="T90" fmla="*/ 2147483647 w 167"/>
                <a:gd name="T91" fmla="*/ 2147483647 h 123"/>
                <a:gd name="T92" fmla="*/ 2147483647 w 167"/>
                <a:gd name="T93" fmla="*/ 2147483647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67"/>
                <a:gd name="T142" fmla="*/ 0 h 123"/>
                <a:gd name="T143" fmla="*/ 167 w 167"/>
                <a:gd name="T144" fmla="*/ 123 h 12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97" name="Freeform 275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6157913" y="2832100"/>
              <a:ext cx="133350" cy="166688"/>
            </a:xfrm>
            <a:custGeom>
              <a:avLst/>
              <a:gdLst>
                <a:gd name="T0" fmla="*/ 2147483647 w 306"/>
                <a:gd name="T1" fmla="*/ 2147483647 h 321"/>
                <a:gd name="T2" fmla="*/ 2147483647 w 306"/>
                <a:gd name="T3" fmla="*/ 2147483647 h 321"/>
                <a:gd name="T4" fmla="*/ 2147483647 w 306"/>
                <a:gd name="T5" fmla="*/ 2147483647 h 321"/>
                <a:gd name="T6" fmla="*/ 2147483647 w 306"/>
                <a:gd name="T7" fmla="*/ 2147483647 h 321"/>
                <a:gd name="T8" fmla="*/ 2147483647 w 306"/>
                <a:gd name="T9" fmla="*/ 2147483647 h 321"/>
                <a:gd name="T10" fmla="*/ 2147483647 w 306"/>
                <a:gd name="T11" fmla="*/ 2147483647 h 321"/>
                <a:gd name="T12" fmla="*/ 2147483647 w 306"/>
                <a:gd name="T13" fmla="*/ 2147483647 h 321"/>
                <a:gd name="T14" fmla="*/ 2147483647 w 306"/>
                <a:gd name="T15" fmla="*/ 2147483647 h 321"/>
                <a:gd name="T16" fmla="*/ 2147483647 w 306"/>
                <a:gd name="T17" fmla="*/ 2147483647 h 321"/>
                <a:gd name="T18" fmla="*/ 2147483647 w 306"/>
                <a:gd name="T19" fmla="*/ 2147483647 h 321"/>
                <a:gd name="T20" fmla="*/ 2147483647 w 306"/>
                <a:gd name="T21" fmla="*/ 2147483647 h 321"/>
                <a:gd name="T22" fmla="*/ 2147483647 w 306"/>
                <a:gd name="T23" fmla="*/ 2147483647 h 321"/>
                <a:gd name="T24" fmla="*/ 2147483647 w 306"/>
                <a:gd name="T25" fmla="*/ 2147483647 h 321"/>
                <a:gd name="T26" fmla="*/ 2147483647 w 306"/>
                <a:gd name="T27" fmla="*/ 2147483647 h 321"/>
                <a:gd name="T28" fmla="*/ 2147483647 w 306"/>
                <a:gd name="T29" fmla="*/ 2147483647 h 321"/>
                <a:gd name="T30" fmla="*/ 2147483647 w 306"/>
                <a:gd name="T31" fmla="*/ 2147483647 h 321"/>
                <a:gd name="T32" fmla="*/ 2147483647 w 306"/>
                <a:gd name="T33" fmla="*/ 2147483647 h 321"/>
                <a:gd name="T34" fmla="*/ 2147483647 w 306"/>
                <a:gd name="T35" fmla="*/ 2147483647 h 321"/>
                <a:gd name="T36" fmla="*/ 2147483647 w 306"/>
                <a:gd name="T37" fmla="*/ 2147483647 h 321"/>
                <a:gd name="T38" fmla="*/ 2147483647 w 306"/>
                <a:gd name="T39" fmla="*/ 2147483647 h 321"/>
                <a:gd name="T40" fmla="*/ 2147483647 w 306"/>
                <a:gd name="T41" fmla="*/ 2147483647 h 321"/>
                <a:gd name="T42" fmla="*/ 2147483647 w 306"/>
                <a:gd name="T43" fmla="*/ 2147483647 h 321"/>
                <a:gd name="T44" fmla="*/ 2147483647 w 306"/>
                <a:gd name="T45" fmla="*/ 0 h 321"/>
                <a:gd name="T46" fmla="*/ 2147483647 w 306"/>
                <a:gd name="T47" fmla="*/ 0 h 321"/>
                <a:gd name="T48" fmla="*/ 2147483647 w 306"/>
                <a:gd name="T49" fmla="*/ 2147483647 h 321"/>
                <a:gd name="T50" fmla="*/ 2147483647 w 306"/>
                <a:gd name="T51" fmla="*/ 2147483647 h 321"/>
                <a:gd name="T52" fmla="*/ 2147483647 w 306"/>
                <a:gd name="T53" fmla="*/ 2147483647 h 321"/>
                <a:gd name="T54" fmla="*/ 2147483647 w 306"/>
                <a:gd name="T55" fmla="*/ 2147483647 h 321"/>
                <a:gd name="T56" fmla="*/ 2147483647 w 306"/>
                <a:gd name="T57" fmla="*/ 2147483647 h 321"/>
                <a:gd name="T58" fmla="*/ 2147483647 w 306"/>
                <a:gd name="T59" fmla="*/ 2147483647 h 321"/>
                <a:gd name="T60" fmla="*/ 2147483647 w 306"/>
                <a:gd name="T61" fmla="*/ 2147483647 h 321"/>
                <a:gd name="T62" fmla="*/ 2147483647 w 306"/>
                <a:gd name="T63" fmla="*/ 2147483647 h 321"/>
                <a:gd name="T64" fmla="*/ 2147483647 w 306"/>
                <a:gd name="T65" fmla="*/ 2147483647 h 321"/>
                <a:gd name="T66" fmla="*/ 2147483647 w 306"/>
                <a:gd name="T67" fmla="*/ 2147483647 h 321"/>
                <a:gd name="T68" fmla="*/ 2147483647 w 306"/>
                <a:gd name="T69" fmla="*/ 2147483647 h 321"/>
                <a:gd name="T70" fmla="*/ 2147483647 w 306"/>
                <a:gd name="T71" fmla="*/ 2147483647 h 321"/>
                <a:gd name="T72" fmla="*/ 2147483647 w 306"/>
                <a:gd name="T73" fmla="*/ 2147483647 h 321"/>
                <a:gd name="T74" fmla="*/ 2147483647 w 306"/>
                <a:gd name="T75" fmla="*/ 2147483647 h 321"/>
                <a:gd name="T76" fmla="*/ 2147483647 w 306"/>
                <a:gd name="T77" fmla="*/ 2147483647 h 321"/>
                <a:gd name="T78" fmla="*/ 2147483647 w 306"/>
                <a:gd name="T79" fmla="*/ 2147483647 h 321"/>
                <a:gd name="T80" fmla="*/ 2147483647 w 306"/>
                <a:gd name="T81" fmla="*/ 2147483647 h 321"/>
                <a:gd name="T82" fmla="*/ 2147483647 w 306"/>
                <a:gd name="T83" fmla="*/ 2147483647 h 321"/>
                <a:gd name="T84" fmla="*/ 2147483647 w 306"/>
                <a:gd name="T85" fmla="*/ 2147483647 h 321"/>
                <a:gd name="T86" fmla="*/ 2147483647 w 306"/>
                <a:gd name="T87" fmla="*/ 2147483647 h 321"/>
                <a:gd name="T88" fmla="*/ 2147483647 w 306"/>
                <a:gd name="T89" fmla="*/ 2147483647 h 321"/>
                <a:gd name="T90" fmla="*/ 2147483647 w 306"/>
                <a:gd name="T91" fmla="*/ 2147483647 h 321"/>
                <a:gd name="T92" fmla="*/ 2147483647 w 306"/>
                <a:gd name="T93" fmla="*/ 2147483647 h 321"/>
                <a:gd name="T94" fmla="*/ 2147483647 w 306"/>
                <a:gd name="T95" fmla="*/ 2147483647 h 321"/>
                <a:gd name="T96" fmla="*/ 2147483647 w 306"/>
                <a:gd name="T97" fmla="*/ 2147483647 h 321"/>
                <a:gd name="T98" fmla="*/ 2147483647 w 306"/>
                <a:gd name="T99" fmla="*/ 2147483647 h 321"/>
                <a:gd name="T100" fmla="*/ 2147483647 w 306"/>
                <a:gd name="T101" fmla="*/ 2147483647 h 321"/>
                <a:gd name="T102" fmla="*/ 2147483647 w 306"/>
                <a:gd name="T103" fmla="*/ 2147483647 h 321"/>
                <a:gd name="T104" fmla="*/ 2147483647 w 306"/>
                <a:gd name="T105" fmla="*/ 2147483647 h 321"/>
                <a:gd name="T106" fmla="*/ 2147483647 w 306"/>
                <a:gd name="T107" fmla="*/ 2147483647 h 321"/>
                <a:gd name="T108" fmla="*/ 2147483647 w 306"/>
                <a:gd name="T109" fmla="*/ 2147483647 h 321"/>
                <a:gd name="T110" fmla="*/ 2147483647 w 306"/>
                <a:gd name="T111" fmla="*/ 2147483647 h 321"/>
                <a:gd name="T112" fmla="*/ 2147483647 w 306"/>
                <a:gd name="T113" fmla="*/ 2147483647 h 321"/>
                <a:gd name="T114" fmla="*/ 2147483647 w 306"/>
                <a:gd name="T115" fmla="*/ 2147483647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6"/>
                <a:gd name="T175" fmla="*/ 0 h 321"/>
                <a:gd name="T176" fmla="*/ 306 w 306"/>
                <a:gd name="T177" fmla="*/ 321 h 32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98" name="Freeform 276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6475413" y="2947988"/>
              <a:ext cx="201612" cy="269875"/>
            </a:xfrm>
            <a:custGeom>
              <a:avLst/>
              <a:gdLst>
                <a:gd name="T0" fmla="*/ 2147483647 w 471"/>
                <a:gd name="T1" fmla="*/ 2147483647 h 518"/>
                <a:gd name="T2" fmla="*/ 2147483647 w 471"/>
                <a:gd name="T3" fmla="*/ 2147483647 h 518"/>
                <a:gd name="T4" fmla="*/ 2147483647 w 471"/>
                <a:gd name="T5" fmla="*/ 2147483647 h 518"/>
                <a:gd name="T6" fmla="*/ 2147483647 w 471"/>
                <a:gd name="T7" fmla="*/ 2147483647 h 518"/>
                <a:gd name="T8" fmla="*/ 2147483647 w 471"/>
                <a:gd name="T9" fmla="*/ 2147483647 h 518"/>
                <a:gd name="T10" fmla="*/ 2147483647 w 471"/>
                <a:gd name="T11" fmla="*/ 2147483647 h 518"/>
                <a:gd name="T12" fmla="*/ 2147483647 w 471"/>
                <a:gd name="T13" fmla="*/ 2147483647 h 518"/>
                <a:gd name="T14" fmla="*/ 2147483647 w 471"/>
                <a:gd name="T15" fmla="*/ 2147483647 h 518"/>
                <a:gd name="T16" fmla="*/ 2147483647 w 471"/>
                <a:gd name="T17" fmla="*/ 2147483647 h 518"/>
                <a:gd name="T18" fmla="*/ 2147483647 w 471"/>
                <a:gd name="T19" fmla="*/ 2147483647 h 518"/>
                <a:gd name="T20" fmla="*/ 2147483647 w 471"/>
                <a:gd name="T21" fmla="*/ 2147483647 h 518"/>
                <a:gd name="T22" fmla="*/ 2147483647 w 471"/>
                <a:gd name="T23" fmla="*/ 2147483647 h 518"/>
                <a:gd name="T24" fmla="*/ 2147483647 w 471"/>
                <a:gd name="T25" fmla="*/ 2147483647 h 518"/>
                <a:gd name="T26" fmla="*/ 2147483647 w 471"/>
                <a:gd name="T27" fmla="*/ 2147483647 h 518"/>
                <a:gd name="T28" fmla="*/ 2147483647 w 471"/>
                <a:gd name="T29" fmla="*/ 2147483647 h 518"/>
                <a:gd name="T30" fmla="*/ 2147483647 w 471"/>
                <a:gd name="T31" fmla="*/ 2147483647 h 518"/>
                <a:gd name="T32" fmla="*/ 2147483647 w 471"/>
                <a:gd name="T33" fmla="*/ 2147483647 h 518"/>
                <a:gd name="T34" fmla="*/ 2147483647 w 471"/>
                <a:gd name="T35" fmla="*/ 2147483647 h 518"/>
                <a:gd name="T36" fmla="*/ 2147483647 w 471"/>
                <a:gd name="T37" fmla="*/ 2147483647 h 518"/>
                <a:gd name="T38" fmla="*/ 2147483647 w 471"/>
                <a:gd name="T39" fmla="*/ 2147483647 h 518"/>
                <a:gd name="T40" fmla="*/ 2147483647 w 471"/>
                <a:gd name="T41" fmla="*/ 2147483647 h 518"/>
                <a:gd name="T42" fmla="*/ 2147483647 w 471"/>
                <a:gd name="T43" fmla="*/ 2147483647 h 518"/>
                <a:gd name="T44" fmla="*/ 2147483647 w 471"/>
                <a:gd name="T45" fmla="*/ 2147483647 h 518"/>
                <a:gd name="T46" fmla="*/ 2147483647 w 471"/>
                <a:gd name="T47" fmla="*/ 2147483647 h 518"/>
                <a:gd name="T48" fmla="*/ 2147483647 w 471"/>
                <a:gd name="T49" fmla="*/ 2147483647 h 518"/>
                <a:gd name="T50" fmla="*/ 2147483647 w 471"/>
                <a:gd name="T51" fmla="*/ 2147483647 h 518"/>
                <a:gd name="T52" fmla="*/ 2147483647 w 471"/>
                <a:gd name="T53" fmla="*/ 2147483647 h 518"/>
                <a:gd name="T54" fmla="*/ 2147483647 w 471"/>
                <a:gd name="T55" fmla="*/ 2147483647 h 518"/>
                <a:gd name="T56" fmla="*/ 2147483647 w 471"/>
                <a:gd name="T57" fmla="*/ 2147483647 h 518"/>
                <a:gd name="T58" fmla="*/ 2147483647 w 471"/>
                <a:gd name="T59" fmla="*/ 2147483647 h 518"/>
                <a:gd name="T60" fmla="*/ 2147483647 w 471"/>
                <a:gd name="T61" fmla="*/ 2147483647 h 518"/>
                <a:gd name="T62" fmla="*/ 2147483647 w 471"/>
                <a:gd name="T63" fmla="*/ 2147483647 h 518"/>
                <a:gd name="T64" fmla="*/ 2147483647 w 471"/>
                <a:gd name="T65" fmla="*/ 2147483647 h 518"/>
                <a:gd name="T66" fmla="*/ 2147483647 w 471"/>
                <a:gd name="T67" fmla="*/ 2147483647 h 518"/>
                <a:gd name="T68" fmla="*/ 2147483647 w 471"/>
                <a:gd name="T69" fmla="*/ 2147483647 h 518"/>
                <a:gd name="T70" fmla="*/ 2147483647 w 471"/>
                <a:gd name="T71" fmla="*/ 2147483647 h 518"/>
                <a:gd name="T72" fmla="*/ 2147483647 w 471"/>
                <a:gd name="T73" fmla="*/ 2147483647 h 518"/>
                <a:gd name="T74" fmla="*/ 2147483647 w 471"/>
                <a:gd name="T75" fmla="*/ 2147483647 h 518"/>
                <a:gd name="T76" fmla="*/ 2147483647 w 471"/>
                <a:gd name="T77" fmla="*/ 2147483647 h 518"/>
                <a:gd name="T78" fmla="*/ 2147483647 w 471"/>
                <a:gd name="T79" fmla="*/ 2147483647 h 518"/>
                <a:gd name="T80" fmla="*/ 2147483647 w 471"/>
                <a:gd name="T81" fmla="*/ 2147483647 h 518"/>
                <a:gd name="T82" fmla="*/ 2147483647 w 471"/>
                <a:gd name="T83" fmla="*/ 2147483647 h 518"/>
                <a:gd name="T84" fmla="*/ 2147483647 w 471"/>
                <a:gd name="T85" fmla="*/ 2147483647 h 518"/>
                <a:gd name="T86" fmla="*/ 2147483647 w 471"/>
                <a:gd name="T87" fmla="*/ 2147483647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71"/>
                <a:gd name="T133" fmla="*/ 0 h 518"/>
                <a:gd name="T134" fmla="*/ 471 w 471"/>
                <a:gd name="T135" fmla="*/ 518 h 51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599" name="Freeform 277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6557963" y="3198813"/>
              <a:ext cx="133350" cy="130175"/>
            </a:xfrm>
            <a:custGeom>
              <a:avLst/>
              <a:gdLst>
                <a:gd name="T0" fmla="*/ 2147483647 w 293"/>
                <a:gd name="T1" fmla="*/ 2147483647 h 246"/>
                <a:gd name="T2" fmla="*/ 2147483647 w 293"/>
                <a:gd name="T3" fmla="*/ 2147483647 h 246"/>
                <a:gd name="T4" fmla="*/ 2147483647 w 293"/>
                <a:gd name="T5" fmla="*/ 2147483647 h 246"/>
                <a:gd name="T6" fmla="*/ 2147483647 w 293"/>
                <a:gd name="T7" fmla="*/ 2147483647 h 246"/>
                <a:gd name="T8" fmla="*/ 2147483647 w 293"/>
                <a:gd name="T9" fmla="*/ 2147483647 h 246"/>
                <a:gd name="T10" fmla="*/ 2147483647 w 293"/>
                <a:gd name="T11" fmla="*/ 2147483647 h 246"/>
                <a:gd name="T12" fmla="*/ 2147483647 w 293"/>
                <a:gd name="T13" fmla="*/ 2147483647 h 246"/>
                <a:gd name="T14" fmla="*/ 2147483647 w 293"/>
                <a:gd name="T15" fmla="*/ 2147483647 h 246"/>
                <a:gd name="T16" fmla="*/ 2147483647 w 293"/>
                <a:gd name="T17" fmla="*/ 2147483647 h 246"/>
                <a:gd name="T18" fmla="*/ 2147483647 w 293"/>
                <a:gd name="T19" fmla="*/ 2147483647 h 246"/>
                <a:gd name="T20" fmla="*/ 2147483647 w 293"/>
                <a:gd name="T21" fmla="*/ 2147483647 h 246"/>
                <a:gd name="T22" fmla="*/ 2147483647 w 293"/>
                <a:gd name="T23" fmla="*/ 2147483647 h 246"/>
                <a:gd name="T24" fmla="*/ 2147483647 w 293"/>
                <a:gd name="T25" fmla="*/ 2147483647 h 246"/>
                <a:gd name="T26" fmla="*/ 2147483647 w 293"/>
                <a:gd name="T27" fmla="*/ 2147483647 h 246"/>
                <a:gd name="T28" fmla="*/ 2147483647 w 293"/>
                <a:gd name="T29" fmla="*/ 2147483647 h 246"/>
                <a:gd name="T30" fmla="*/ 2147483647 w 293"/>
                <a:gd name="T31" fmla="*/ 2147483647 h 246"/>
                <a:gd name="T32" fmla="*/ 2147483647 w 293"/>
                <a:gd name="T33" fmla="*/ 2147483647 h 246"/>
                <a:gd name="T34" fmla="*/ 2147483647 w 293"/>
                <a:gd name="T35" fmla="*/ 2147483647 h 246"/>
                <a:gd name="T36" fmla="*/ 2147483647 w 293"/>
                <a:gd name="T37" fmla="*/ 2147483647 h 246"/>
                <a:gd name="T38" fmla="*/ 2147483647 w 293"/>
                <a:gd name="T39" fmla="*/ 2147483647 h 246"/>
                <a:gd name="T40" fmla="*/ 2147483647 w 293"/>
                <a:gd name="T41" fmla="*/ 2147483647 h 246"/>
                <a:gd name="T42" fmla="*/ 2147483647 w 293"/>
                <a:gd name="T43" fmla="*/ 2147483647 h 246"/>
                <a:gd name="T44" fmla="*/ 2147483647 w 293"/>
                <a:gd name="T45" fmla="*/ 2147483647 h 246"/>
                <a:gd name="T46" fmla="*/ 2147483647 w 293"/>
                <a:gd name="T47" fmla="*/ 2147483647 h 246"/>
                <a:gd name="T48" fmla="*/ 2147483647 w 293"/>
                <a:gd name="T49" fmla="*/ 2147483647 h 246"/>
                <a:gd name="T50" fmla="*/ 2147483647 w 293"/>
                <a:gd name="T51" fmla="*/ 2147483647 h 246"/>
                <a:gd name="T52" fmla="*/ 2147483647 w 293"/>
                <a:gd name="T53" fmla="*/ 2147483647 h 246"/>
                <a:gd name="T54" fmla="*/ 2147483647 w 293"/>
                <a:gd name="T55" fmla="*/ 2147483647 h 246"/>
                <a:gd name="T56" fmla="*/ 2147483647 w 293"/>
                <a:gd name="T57" fmla="*/ 2147483647 h 246"/>
                <a:gd name="T58" fmla="*/ 2147483647 w 293"/>
                <a:gd name="T59" fmla="*/ 2147483647 h 246"/>
                <a:gd name="T60" fmla="*/ 2147483647 w 293"/>
                <a:gd name="T61" fmla="*/ 2147483647 h 246"/>
                <a:gd name="T62" fmla="*/ 0 w 293"/>
                <a:gd name="T63" fmla="*/ 2147483647 h 246"/>
                <a:gd name="T64" fmla="*/ 2147483647 w 293"/>
                <a:gd name="T65" fmla="*/ 2147483647 h 246"/>
                <a:gd name="T66" fmla="*/ 2147483647 w 293"/>
                <a:gd name="T67" fmla="*/ 2147483647 h 246"/>
                <a:gd name="T68" fmla="*/ 2147483647 w 293"/>
                <a:gd name="T69" fmla="*/ 2147483647 h 246"/>
                <a:gd name="T70" fmla="*/ 2147483647 w 293"/>
                <a:gd name="T71" fmla="*/ 2147483647 h 246"/>
                <a:gd name="T72" fmla="*/ 2147483647 w 293"/>
                <a:gd name="T73" fmla="*/ 2147483647 h 246"/>
                <a:gd name="T74" fmla="*/ 2147483647 w 293"/>
                <a:gd name="T75" fmla="*/ 2147483647 h 246"/>
                <a:gd name="T76" fmla="*/ 2147483647 w 293"/>
                <a:gd name="T77" fmla="*/ 2147483647 h 246"/>
                <a:gd name="T78" fmla="*/ 2147483647 w 293"/>
                <a:gd name="T79" fmla="*/ 2147483647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93"/>
                <a:gd name="T121" fmla="*/ 0 h 246"/>
                <a:gd name="T122" fmla="*/ 293 w 293"/>
                <a:gd name="T123" fmla="*/ 246 h 24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00" name="Freeform 278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6959600" y="2435225"/>
              <a:ext cx="85725" cy="130175"/>
            </a:xfrm>
            <a:custGeom>
              <a:avLst/>
              <a:gdLst>
                <a:gd name="T0" fmla="*/ 2147483647 w 200"/>
                <a:gd name="T1" fmla="*/ 2147483647 h 246"/>
                <a:gd name="T2" fmla="*/ 2147483647 w 200"/>
                <a:gd name="T3" fmla="*/ 2147483647 h 246"/>
                <a:gd name="T4" fmla="*/ 2147483647 w 200"/>
                <a:gd name="T5" fmla="*/ 2147483647 h 246"/>
                <a:gd name="T6" fmla="*/ 2147483647 w 200"/>
                <a:gd name="T7" fmla="*/ 2147483647 h 246"/>
                <a:gd name="T8" fmla="*/ 2147483647 w 200"/>
                <a:gd name="T9" fmla="*/ 2147483647 h 246"/>
                <a:gd name="T10" fmla="*/ 2147483647 w 200"/>
                <a:gd name="T11" fmla="*/ 2147483647 h 246"/>
                <a:gd name="T12" fmla="*/ 2147483647 w 200"/>
                <a:gd name="T13" fmla="*/ 2147483647 h 246"/>
                <a:gd name="T14" fmla="*/ 2147483647 w 200"/>
                <a:gd name="T15" fmla="*/ 2147483647 h 246"/>
                <a:gd name="T16" fmla="*/ 2147483647 w 200"/>
                <a:gd name="T17" fmla="*/ 2147483647 h 246"/>
                <a:gd name="T18" fmla="*/ 2147483647 w 200"/>
                <a:gd name="T19" fmla="*/ 2147483647 h 246"/>
                <a:gd name="T20" fmla="*/ 2147483647 w 200"/>
                <a:gd name="T21" fmla="*/ 2147483647 h 246"/>
                <a:gd name="T22" fmla="*/ 2147483647 w 200"/>
                <a:gd name="T23" fmla="*/ 2147483647 h 246"/>
                <a:gd name="T24" fmla="*/ 2147483647 w 200"/>
                <a:gd name="T25" fmla="*/ 2147483647 h 246"/>
                <a:gd name="T26" fmla="*/ 2147483647 w 200"/>
                <a:gd name="T27" fmla="*/ 2147483647 h 246"/>
                <a:gd name="T28" fmla="*/ 2147483647 w 200"/>
                <a:gd name="T29" fmla="*/ 2147483647 h 246"/>
                <a:gd name="T30" fmla="*/ 2147483647 w 200"/>
                <a:gd name="T31" fmla="*/ 2147483647 h 246"/>
                <a:gd name="T32" fmla="*/ 2147483647 w 200"/>
                <a:gd name="T33" fmla="*/ 2147483647 h 246"/>
                <a:gd name="T34" fmla="*/ 2147483647 w 200"/>
                <a:gd name="T35" fmla="*/ 2147483647 h 246"/>
                <a:gd name="T36" fmla="*/ 2147483647 w 200"/>
                <a:gd name="T37" fmla="*/ 2147483647 h 246"/>
                <a:gd name="T38" fmla="*/ 2147483647 w 200"/>
                <a:gd name="T39" fmla="*/ 2147483647 h 246"/>
                <a:gd name="T40" fmla="*/ 2147483647 w 200"/>
                <a:gd name="T41" fmla="*/ 2147483647 h 246"/>
                <a:gd name="T42" fmla="*/ 2147483647 w 200"/>
                <a:gd name="T43" fmla="*/ 2147483647 h 246"/>
                <a:gd name="T44" fmla="*/ 2147483647 w 200"/>
                <a:gd name="T45" fmla="*/ 2147483647 h 246"/>
                <a:gd name="T46" fmla="*/ 2147483647 w 200"/>
                <a:gd name="T47" fmla="*/ 2147483647 h 246"/>
                <a:gd name="T48" fmla="*/ 2147483647 w 200"/>
                <a:gd name="T49" fmla="*/ 2147483647 h 246"/>
                <a:gd name="T50" fmla="*/ 2147483647 w 200"/>
                <a:gd name="T51" fmla="*/ 2147483647 h 246"/>
                <a:gd name="T52" fmla="*/ 2147483647 w 200"/>
                <a:gd name="T53" fmla="*/ 2147483647 h 246"/>
                <a:gd name="T54" fmla="*/ 2147483647 w 200"/>
                <a:gd name="T55" fmla="*/ 2147483647 h 246"/>
                <a:gd name="T56" fmla="*/ 2147483647 w 200"/>
                <a:gd name="T57" fmla="*/ 2147483647 h 246"/>
                <a:gd name="T58" fmla="*/ 2147483647 w 200"/>
                <a:gd name="T59" fmla="*/ 2147483647 h 246"/>
                <a:gd name="T60" fmla="*/ 2147483647 w 200"/>
                <a:gd name="T61" fmla="*/ 2147483647 h 246"/>
                <a:gd name="T62" fmla="*/ 2147483647 w 200"/>
                <a:gd name="T63" fmla="*/ 2147483647 h 246"/>
                <a:gd name="T64" fmla="*/ 2147483647 w 200"/>
                <a:gd name="T65" fmla="*/ 2147483647 h 246"/>
                <a:gd name="T66" fmla="*/ 2147483647 w 200"/>
                <a:gd name="T67" fmla="*/ 2147483647 h 246"/>
                <a:gd name="T68" fmla="*/ 2147483647 w 200"/>
                <a:gd name="T69" fmla="*/ 2147483647 h 246"/>
                <a:gd name="T70" fmla="*/ 2147483647 w 200"/>
                <a:gd name="T71" fmla="*/ 2147483647 h 246"/>
                <a:gd name="T72" fmla="*/ 2147483647 w 200"/>
                <a:gd name="T73" fmla="*/ 2147483647 h 246"/>
                <a:gd name="T74" fmla="*/ 2147483647 w 200"/>
                <a:gd name="T75" fmla="*/ 2147483647 h 246"/>
                <a:gd name="T76" fmla="*/ 2147483647 w 200"/>
                <a:gd name="T77" fmla="*/ 2147483647 h 246"/>
                <a:gd name="T78" fmla="*/ 2147483647 w 200"/>
                <a:gd name="T79" fmla="*/ 2147483647 h 246"/>
                <a:gd name="T80" fmla="*/ 2147483647 w 200"/>
                <a:gd name="T81" fmla="*/ 2147483647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00"/>
                <a:gd name="T124" fmla="*/ 0 h 246"/>
                <a:gd name="T125" fmla="*/ 200 w 200"/>
                <a:gd name="T126" fmla="*/ 246 h 24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01" name="Freeform 279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7527925" y="3732213"/>
              <a:ext cx="231775" cy="254000"/>
            </a:xfrm>
            <a:custGeom>
              <a:avLst/>
              <a:gdLst>
                <a:gd name="T0" fmla="*/ 2147483647 w 538"/>
                <a:gd name="T1" fmla="*/ 2147483647 h 487"/>
                <a:gd name="T2" fmla="*/ 2147483647 w 538"/>
                <a:gd name="T3" fmla="*/ 2147483647 h 487"/>
                <a:gd name="T4" fmla="*/ 2147483647 w 538"/>
                <a:gd name="T5" fmla="*/ 2147483647 h 487"/>
                <a:gd name="T6" fmla="*/ 2147483647 w 538"/>
                <a:gd name="T7" fmla="*/ 2147483647 h 487"/>
                <a:gd name="T8" fmla="*/ 2147483647 w 538"/>
                <a:gd name="T9" fmla="*/ 2147483647 h 487"/>
                <a:gd name="T10" fmla="*/ 2147483647 w 538"/>
                <a:gd name="T11" fmla="*/ 2147483647 h 487"/>
                <a:gd name="T12" fmla="*/ 2147483647 w 538"/>
                <a:gd name="T13" fmla="*/ 2147483647 h 487"/>
                <a:gd name="T14" fmla="*/ 2147483647 w 538"/>
                <a:gd name="T15" fmla="*/ 2147483647 h 487"/>
                <a:gd name="T16" fmla="*/ 2147483647 w 538"/>
                <a:gd name="T17" fmla="*/ 2147483647 h 487"/>
                <a:gd name="T18" fmla="*/ 2147483647 w 538"/>
                <a:gd name="T19" fmla="*/ 2147483647 h 487"/>
                <a:gd name="T20" fmla="*/ 2147483647 w 538"/>
                <a:gd name="T21" fmla="*/ 2147483647 h 487"/>
                <a:gd name="T22" fmla="*/ 2147483647 w 538"/>
                <a:gd name="T23" fmla="*/ 2147483647 h 487"/>
                <a:gd name="T24" fmla="*/ 2147483647 w 538"/>
                <a:gd name="T25" fmla="*/ 2147483647 h 487"/>
                <a:gd name="T26" fmla="*/ 2147483647 w 538"/>
                <a:gd name="T27" fmla="*/ 2147483647 h 487"/>
                <a:gd name="T28" fmla="*/ 2147483647 w 538"/>
                <a:gd name="T29" fmla="*/ 2147483647 h 487"/>
                <a:gd name="T30" fmla="*/ 2147483647 w 538"/>
                <a:gd name="T31" fmla="*/ 2147483647 h 487"/>
                <a:gd name="T32" fmla="*/ 2147483647 w 538"/>
                <a:gd name="T33" fmla="*/ 2147483647 h 487"/>
                <a:gd name="T34" fmla="*/ 2147483647 w 538"/>
                <a:gd name="T35" fmla="*/ 2147483647 h 487"/>
                <a:gd name="T36" fmla="*/ 2147483647 w 538"/>
                <a:gd name="T37" fmla="*/ 2147483647 h 487"/>
                <a:gd name="T38" fmla="*/ 2147483647 w 538"/>
                <a:gd name="T39" fmla="*/ 2147483647 h 487"/>
                <a:gd name="T40" fmla="*/ 2147483647 w 538"/>
                <a:gd name="T41" fmla="*/ 2147483647 h 487"/>
                <a:gd name="T42" fmla="*/ 2147483647 w 538"/>
                <a:gd name="T43" fmla="*/ 2147483647 h 487"/>
                <a:gd name="T44" fmla="*/ 2147483647 w 538"/>
                <a:gd name="T45" fmla="*/ 2147483647 h 487"/>
                <a:gd name="T46" fmla="*/ 2147483647 w 538"/>
                <a:gd name="T47" fmla="*/ 2147483647 h 487"/>
                <a:gd name="T48" fmla="*/ 2147483647 w 538"/>
                <a:gd name="T49" fmla="*/ 2147483647 h 487"/>
                <a:gd name="T50" fmla="*/ 2147483647 w 538"/>
                <a:gd name="T51" fmla="*/ 2147483647 h 487"/>
                <a:gd name="T52" fmla="*/ 2147483647 w 538"/>
                <a:gd name="T53" fmla="*/ 2147483647 h 487"/>
                <a:gd name="T54" fmla="*/ 2147483647 w 538"/>
                <a:gd name="T55" fmla="*/ 2147483647 h 487"/>
                <a:gd name="T56" fmla="*/ 2147483647 w 538"/>
                <a:gd name="T57" fmla="*/ 2147483647 h 487"/>
                <a:gd name="T58" fmla="*/ 2147483647 w 538"/>
                <a:gd name="T59" fmla="*/ 2147483647 h 487"/>
                <a:gd name="T60" fmla="*/ 2147483647 w 538"/>
                <a:gd name="T61" fmla="*/ 2147483647 h 487"/>
                <a:gd name="T62" fmla="*/ 2147483647 w 538"/>
                <a:gd name="T63" fmla="*/ 2147483647 h 487"/>
                <a:gd name="T64" fmla="*/ 2147483647 w 538"/>
                <a:gd name="T65" fmla="*/ 2147483647 h 487"/>
                <a:gd name="T66" fmla="*/ 2147483647 w 538"/>
                <a:gd name="T67" fmla="*/ 2147483647 h 487"/>
                <a:gd name="T68" fmla="*/ 2147483647 w 538"/>
                <a:gd name="T69" fmla="*/ 2147483647 h 487"/>
                <a:gd name="T70" fmla="*/ 2147483647 w 538"/>
                <a:gd name="T71" fmla="*/ 2147483647 h 487"/>
                <a:gd name="T72" fmla="*/ 2147483647 w 538"/>
                <a:gd name="T73" fmla="*/ 2147483647 h 487"/>
                <a:gd name="T74" fmla="*/ 2147483647 w 538"/>
                <a:gd name="T75" fmla="*/ 2147483647 h 487"/>
                <a:gd name="T76" fmla="*/ 2147483647 w 538"/>
                <a:gd name="T77" fmla="*/ 2147483647 h 487"/>
                <a:gd name="T78" fmla="*/ 2147483647 w 538"/>
                <a:gd name="T79" fmla="*/ 2147483647 h 487"/>
                <a:gd name="T80" fmla="*/ 2147483647 w 538"/>
                <a:gd name="T81" fmla="*/ 2147483647 h 487"/>
                <a:gd name="T82" fmla="*/ 2147483647 w 538"/>
                <a:gd name="T83" fmla="*/ 2147483647 h 487"/>
                <a:gd name="T84" fmla="*/ 2147483647 w 538"/>
                <a:gd name="T85" fmla="*/ 2147483647 h 487"/>
                <a:gd name="T86" fmla="*/ 2147483647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38"/>
                <a:gd name="T133" fmla="*/ 0 h 487"/>
                <a:gd name="T134" fmla="*/ 538 w 538"/>
                <a:gd name="T135" fmla="*/ 487 h 487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02" name="Freeform 280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7720013" y="3716338"/>
              <a:ext cx="106362" cy="128587"/>
            </a:xfrm>
            <a:custGeom>
              <a:avLst/>
              <a:gdLst>
                <a:gd name="T0" fmla="*/ 2147483647 w 253"/>
                <a:gd name="T1" fmla="*/ 2147483647 h 246"/>
                <a:gd name="T2" fmla="*/ 2147483647 w 253"/>
                <a:gd name="T3" fmla="*/ 2147483647 h 246"/>
                <a:gd name="T4" fmla="*/ 2147483647 w 253"/>
                <a:gd name="T5" fmla="*/ 2147483647 h 246"/>
                <a:gd name="T6" fmla="*/ 2147483647 w 253"/>
                <a:gd name="T7" fmla="*/ 2147483647 h 246"/>
                <a:gd name="T8" fmla="*/ 2147483647 w 253"/>
                <a:gd name="T9" fmla="*/ 2147483647 h 246"/>
                <a:gd name="T10" fmla="*/ 2147483647 w 253"/>
                <a:gd name="T11" fmla="*/ 2147483647 h 246"/>
                <a:gd name="T12" fmla="*/ 2147483647 w 253"/>
                <a:gd name="T13" fmla="*/ 2147483647 h 246"/>
                <a:gd name="T14" fmla="*/ 2147483647 w 253"/>
                <a:gd name="T15" fmla="*/ 2147483647 h 246"/>
                <a:gd name="T16" fmla="*/ 2147483647 w 253"/>
                <a:gd name="T17" fmla="*/ 2147483647 h 246"/>
                <a:gd name="T18" fmla="*/ 2147483647 w 253"/>
                <a:gd name="T19" fmla="*/ 2147483647 h 246"/>
                <a:gd name="T20" fmla="*/ 2147483647 w 253"/>
                <a:gd name="T21" fmla="*/ 2147483647 h 246"/>
                <a:gd name="T22" fmla="*/ 2147483647 w 253"/>
                <a:gd name="T23" fmla="*/ 2147483647 h 246"/>
                <a:gd name="T24" fmla="*/ 2147483647 w 253"/>
                <a:gd name="T25" fmla="*/ 2147483647 h 246"/>
                <a:gd name="T26" fmla="*/ 2147483647 w 253"/>
                <a:gd name="T27" fmla="*/ 2147483647 h 246"/>
                <a:gd name="T28" fmla="*/ 2147483647 w 253"/>
                <a:gd name="T29" fmla="*/ 2147483647 h 246"/>
                <a:gd name="T30" fmla="*/ 2147483647 w 253"/>
                <a:gd name="T31" fmla="*/ 2147483647 h 246"/>
                <a:gd name="T32" fmla="*/ 2147483647 w 253"/>
                <a:gd name="T33" fmla="*/ 2147483647 h 246"/>
                <a:gd name="T34" fmla="*/ 2147483647 w 253"/>
                <a:gd name="T35" fmla="*/ 2147483647 h 246"/>
                <a:gd name="T36" fmla="*/ 2147483647 w 253"/>
                <a:gd name="T37" fmla="*/ 2147483647 h 246"/>
                <a:gd name="T38" fmla="*/ 2147483647 w 253"/>
                <a:gd name="T39" fmla="*/ 2147483647 h 246"/>
                <a:gd name="T40" fmla="*/ 2147483647 w 253"/>
                <a:gd name="T41" fmla="*/ 2147483647 h 246"/>
                <a:gd name="T42" fmla="*/ 2147483647 w 253"/>
                <a:gd name="T43" fmla="*/ 2147483647 h 246"/>
                <a:gd name="T44" fmla="*/ 2147483647 w 253"/>
                <a:gd name="T45" fmla="*/ 2147483647 h 246"/>
                <a:gd name="T46" fmla="*/ 2147483647 w 253"/>
                <a:gd name="T47" fmla="*/ 2147483647 h 246"/>
                <a:gd name="T48" fmla="*/ 2147483647 w 253"/>
                <a:gd name="T49" fmla="*/ 2147483647 h 246"/>
                <a:gd name="T50" fmla="*/ 2147483647 w 253"/>
                <a:gd name="T51" fmla="*/ 2147483647 h 246"/>
                <a:gd name="T52" fmla="*/ 2147483647 w 253"/>
                <a:gd name="T53" fmla="*/ 2147483647 h 246"/>
                <a:gd name="T54" fmla="*/ 2147483647 w 253"/>
                <a:gd name="T55" fmla="*/ 2147483647 h 246"/>
                <a:gd name="T56" fmla="*/ 2147483647 w 253"/>
                <a:gd name="T57" fmla="*/ 2147483647 h 246"/>
                <a:gd name="T58" fmla="*/ 2147483647 w 253"/>
                <a:gd name="T59" fmla="*/ 2147483647 h 246"/>
                <a:gd name="T60" fmla="*/ 2147483647 w 253"/>
                <a:gd name="T61" fmla="*/ 2147483647 h 246"/>
                <a:gd name="T62" fmla="*/ 2147483647 w 253"/>
                <a:gd name="T63" fmla="*/ 2147483647 h 246"/>
                <a:gd name="T64" fmla="*/ 2147483647 w 253"/>
                <a:gd name="T65" fmla="*/ 2147483647 h 246"/>
                <a:gd name="T66" fmla="*/ 2147483647 w 253"/>
                <a:gd name="T67" fmla="*/ 2147483647 h 246"/>
                <a:gd name="T68" fmla="*/ 2147483647 w 253"/>
                <a:gd name="T69" fmla="*/ 2147483647 h 246"/>
                <a:gd name="T70" fmla="*/ 2147483647 w 253"/>
                <a:gd name="T71" fmla="*/ 2147483647 h 246"/>
                <a:gd name="T72" fmla="*/ 2147483647 w 253"/>
                <a:gd name="T73" fmla="*/ 2147483647 h 246"/>
                <a:gd name="T74" fmla="*/ 2147483647 w 253"/>
                <a:gd name="T75" fmla="*/ 2147483647 h 246"/>
                <a:gd name="T76" fmla="*/ 2147483647 w 253"/>
                <a:gd name="T77" fmla="*/ 2147483647 h 246"/>
                <a:gd name="T78" fmla="*/ 2147483647 w 253"/>
                <a:gd name="T79" fmla="*/ 2147483647 h 246"/>
                <a:gd name="T80" fmla="*/ 2147483647 w 253"/>
                <a:gd name="T81" fmla="*/ 2147483647 h 246"/>
                <a:gd name="T82" fmla="*/ 2147483647 w 253"/>
                <a:gd name="T83" fmla="*/ 2147483647 h 246"/>
                <a:gd name="T84" fmla="*/ 2147483647 w 253"/>
                <a:gd name="T85" fmla="*/ 2147483647 h 246"/>
                <a:gd name="T86" fmla="*/ 2147483647 w 253"/>
                <a:gd name="T87" fmla="*/ 2147483647 h 246"/>
                <a:gd name="T88" fmla="*/ 2147483647 w 253"/>
                <a:gd name="T89" fmla="*/ 2147483647 h 246"/>
                <a:gd name="T90" fmla="*/ 2147483647 w 253"/>
                <a:gd name="T91" fmla="*/ 2147483647 h 246"/>
                <a:gd name="T92" fmla="*/ 2147483647 w 253"/>
                <a:gd name="T93" fmla="*/ 2147483647 h 246"/>
                <a:gd name="T94" fmla="*/ 2147483647 w 253"/>
                <a:gd name="T95" fmla="*/ 2147483647 h 246"/>
                <a:gd name="T96" fmla="*/ 2147483647 w 253"/>
                <a:gd name="T97" fmla="*/ 2147483647 h 246"/>
                <a:gd name="T98" fmla="*/ 2147483647 w 253"/>
                <a:gd name="T99" fmla="*/ 2147483647 h 246"/>
                <a:gd name="T100" fmla="*/ 2147483647 w 253"/>
                <a:gd name="T101" fmla="*/ 2147483647 h 246"/>
                <a:gd name="T102" fmla="*/ 2147483647 w 253"/>
                <a:gd name="T103" fmla="*/ 2147483647 h 246"/>
                <a:gd name="T104" fmla="*/ 2147483647 w 253"/>
                <a:gd name="T105" fmla="*/ 2147483647 h 246"/>
                <a:gd name="T106" fmla="*/ 2147483647 w 253"/>
                <a:gd name="T107" fmla="*/ 2147483647 h 246"/>
                <a:gd name="T108" fmla="*/ 2147483647 w 253"/>
                <a:gd name="T109" fmla="*/ 2147483647 h 246"/>
                <a:gd name="T110" fmla="*/ 2147483647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53"/>
                <a:gd name="T169" fmla="*/ 0 h 246"/>
                <a:gd name="T170" fmla="*/ 253 w 253"/>
                <a:gd name="T171" fmla="*/ 246 h 24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03" name="Freeform 281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5995988" y="3349625"/>
              <a:ext cx="63500" cy="119063"/>
            </a:xfrm>
            <a:custGeom>
              <a:avLst/>
              <a:gdLst>
                <a:gd name="T0" fmla="*/ 2147483647 w 141"/>
                <a:gd name="T1" fmla="*/ 2147483647 h 228"/>
                <a:gd name="T2" fmla="*/ 2147483647 w 141"/>
                <a:gd name="T3" fmla="*/ 2147483647 h 228"/>
                <a:gd name="T4" fmla="*/ 2147483647 w 141"/>
                <a:gd name="T5" fmla="*/ 2147483647 h 228"/>
                <a:gd name="T6" fmla="*/ 2147483647 w 141"/>
                <a:gd name="T7" fmla="*/ 2147483647 h 228"/>
                <a:gd name="T8" fmla="*/ 2147483647 w 141"/>
                <a:gd name="T9" fmla="*/ 2147483647 h 228"/>
                <a:gd name="T10" fmla="*/ 2147483647 w 141"/>
                <a:gd name="T11" fmla="*/ 2147483647 h 228"/>
                <a:gd name="T12" fmla="*/ 2147483647 w 141"/>
                <a:gd name="T13" fmla="*/ 2147483647 h 228"/>
                <a:gd name="T14" fmla="*/ 2147483647 w 141"/>
                <a:gd name="T15" fmla="*/ 2147483647 h 228"/>
                <a:gd name="T16" fmla="*/ 0 w 141"/>
                <a:gd name="T17" fmla="*/ 2147483647 h 228"/>
                <a:gd name="T18" fmla="*/ 2147483647 w 141"/>
                <a:gd name="T19" fmla="*/ 2147483647 h 228"/>
                <a:gd name="T20" fmla="*/ 2147483647 w 141"/>
                <a:gd name="T21" fmla="*/ 2147483647 h 228"/>
                <a:gd name="T22" fmla="*/ 2147483647 w 141"/>
                <a:gd name="T23" fmla="*/ 2147483647 h 228"/>
                <a:gd name="T24" fmla="*/ 2147483647 w 141"/>
                <a:gd name="T25" fmla="*/ 2147483647 h 228"/>
                <a:gd name="T26" fmla="*/ 2147483647 w 141"/>
                <a:gd name="T27" fmla="*/ 2147483647 h 228"/>
                <a:gd name="T28" fmla="*/ 2147483647 w 141"/>
                <a:gd name="T29" fmla="*/ 0 h 228"/>
                <a:gd name="T30" fmla="*/ 2147483647 w 141"/>
                <a:gd name="T31" fmla="*/ 2147483647 h 228"/>
                <a:gd name="T32" fmla="*/ 2147483647 w 141"/>
                <a:gd name="T33" fmla="*/ 2147483647 h 228"/>
                <a:gd name="T34" fmla="*/ 2147483647 w 141"/>
                <a:gd name="T35" fmla="*/ 2147483647 h 228"/>
                <a:gd name="T36" fmla="*/ 2147483647 w 141"/>
                <a:gd name="T37" fmla="*/ 2147483647 h 228"/>
                <a:gd name="T38" fmla="*/ 2147483647 w 141"/>
                <a:gd name="T39" fmla="*/ 2147483647 h 228"/>
                <a:gd name="T40" fmla="*/ 2147483647 w 141"/>
                <a:gd name="T41" fmla="*/ 2147483647 h 228"/>
                <a:gd name="T42" fmla="*/ 2147483647 w 141"/>
                <a:gd name="T43" fmla="*/ 2147483647 h 228"/>
                <a:gd name="T44" fmla="*/ 2147483647 w 141"/>
                <a:gd name="T45" fmla="*/ 2147483647 h 228"/>
                <a:gd name="T46" fmla="*/ 2147483647 w 141"/>
                <a:gd name="T47" fmla="*/ 2147483647 h 228"/>
                <a:gd name="T48" fmla="*/ 2147483647 w 141"/>
                <a:gd name="T49" fmla="*/ 2147483647 h 228"/>
                <a:gd name="T50" fmla="*/ 2147483647 w 141"/>
                <a:gd name="T51" fmla="*/ 2147483647 h 228"/>
                <a:gd name="T52" fmla="*/ 2147483647 w 141"/>
                <a:gd name="T53" fmla="*/ 2147483647 h 228"/>
                <a:gd name="T54" fmla="*/ 2147483647 w 141"/>
                <a:gd name="T55" fmla="*/ 2147483647 h 228"/>
                <a:gd name="T56" fmla="*/ 2147483647 w 141"/>
                <a:gd name="T57" fmla="*/ 2147483647 h 228"/>
                <a:gd name="T58" fmla="*/ 2147483647 w 141"/>
                <a:gd name="T59" fmla="*/ 2147483647 h 228"/>
                <a:gd name="T60" fmla="*/ 2147483647 w 141"/>
                <a:gd name="T61" fmla="*/ 2147483647 h 228"/>
                <a:gd name="T62" fmla="*/ 2147483647 w 141"/>
                <a:gd name="T63" fmla="*/ 2147483647 h 228"/>
                <a:gd name="T64" fmla="*/ 2147483647 w 141"/>
                <a:gd name="T65" fmla="*/ 2147483647 h 228"/>
                <a:gd name="T66" fmla="*/ 2147483647 w 141"/>
                <a:gd name="T67" fmla="*/ 2147483647 h 228"/>
                <a:gd name="T68" fmla="*/ 2147483647 w 141"/>
                <a:gd name="T69" fmla="*/ 2147483647 h 228"/>
                <a:gd name="T70" fmla="*/ 2147483647 w 141"/>
                <a:gd name="T71" fmla="*/ 2147483647 h 228"/>
                <a:gd name="T72" fmla="*/ 2147483647 w 141"/>
                <a:gd name="T73" fmla="*/ 2147483647 h 228"/>
                <a:gd name="T74" fmla="*/ 2147483647 w 141"/>
                <a:gd name="T75" fmla="*/ 2147483647 h 228"/>
                <a:gd name="T76" fmla="*/ 2147483647 w 141"/>
                <a:gd name="T77" fmla="*/ 2147483647 h 228"/>
                <a:gd name="T78" fmla="*/ 2147483647 w 141"/>
                <a:gd name="T79" fmla="*/ 2147483647 h 228"/>
                <a:gd name="T80" fmla="*/ 2147483647 w 141"/>
                <a:gd name="T81" fmla="*/ 2147483647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41"/>
                <a:gd name="T124" fmla="*/ 0 h 228"/>
                <a:gd name="T125" fmla="*/ 141 w 141"/>
                <a:gd name="T126" fmla="*/ 228 h 22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15604" name="Group 282"/>
            <p:cNvGrpSpPr>
              <a:grpSpLocks/>
            </p:cNvGrpSpPr>
            <p:nvPr>
              <p:custDataLst>
                <p:tags r:id="rId209"/>
              </p:custDataLst>
            </p:nvPr>
          </p:nvGrpSpPr>
          <p:grpSpPr bwMode="auto">
            <a:xfrm>
              <a:off x="6935788" y="3060700"/>
              <a:ext cx="233362" cy="439738"/>
              <a:chOff x="5062" y="2295"/>
              <a:chExt cx="177" cy="279"/>
            </a:xfrm>
          </p:grpSpPr>
          <p:sp>
            <p:nvSpPr>
              <p:cNvPr id="15895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0 w 60"/>
                  <a:gd name="T1" fmla="*/ 0 h 110"/>
                  <a:gd name="T2" fmla="*/ 0 w 60"/>
                  <a:gd name="T3" fmla="*/ 0 h 110"/>
                  <a:gd name="T4" fmla="*/ 0 w 60"/>
                  <a:gd name="T5" fmla="*/ 0 h 110"/>
                  <a:gd name="T6" fmla="*/ 0 w 60"/>
                  <a:gd name="T7" fmla="*/ 0 h 110"/>
                  <a:gd name="T8" fmla="*/ 0 w 60"/>
                  <a:gd name="T9" fmla="*/ 0 h 110"/>
                  <a:gd name="T10" fmla="*/ 0 w 60"/>
                  <a:gd name="T11" fmla="*/ 0 h 110"/>
                  <a:gd name="T12" fmla="*/ 0 w 60"/>
                  <a:gd name="T13" fmla="*/ 0 h 110"/>
                  <a:gd name="T14" fmla="*/ 0 w 60"/>
                  <a:gd name="T15" fmla="*/ 0 h 110"/>
                  <a:gd name="T16" fmla="*/ 0 w 60"/>
                  <a:gd name="T17" fmla="*/ 0 h 110"/>
                  <a:gd name="T18" fmla="*/ 0 w 60"/>
                  <a:gd name="T19" fmla="*/ 0 h 110"/>
                  <a:gd name="T20" fmla="*/ 0 w 60"/>
                  <a:gd name="T21" fmla="*/ 0 h 110"/>
                  <a:gd name="T22" fmla="*/ 0 w 60"/>
                  <a:gd name="T23" fmla="*/ 0 h 110"/>
                  <a:gd name="T24" fmla="*/ 0 w 60"/>
                  <a:gd name="T25" fmla="*/ 0 h 110"/>
                  <a:gd name="T26" fmla="*/ 0 w 60"/>
                  <a:gd name="T27" fmla="*/ 0 h 110"/>
                  <a:gd name="T28" fmla="*/ 0 w 60"/>
                  <a:gd name="T29" fmla="*/ 0 h 110"/>
                  <a:gd name="T30" fmla="*/ 0 w 60"/>
                  <a:gd name="T31" fmla="*/ 0 h 110"/>
                  <a:gd name="T32" fmla="*/ 0 w 60"/>
                  <a:gd name="T33" fmla="*/ 0 h 110"/>
                  <a:gd name="T34" fmla="*/ 0 w 60"/>
                  <a:gd name="T35" fmla="*/ 0 h 110"/>
                  <a:gd name="T36" fmla="*/ 0 w 60"/>
                  <a:gd name="T37" fmla="*/ 0 h 110"/>
                  <a:gd name="T38" fmla="*/ 0 w 60"/>
                  <a:gd name="T39" fmla="*/ 0 h 110"/>
                  <a:gd name="T40" fmla="*/ 0 w 60"/>
                  <a:gd name="T41" fmla="*/ 0 h 110"/>
                  <a:gd name="T42" fmla="*/ 0 w 60"/>
                  <a:gd name="T43" fmla="*/ 0 h 110"/>
                  <a:gd name="T44" fmla="*/ 0 w 60"/>
                  <a:gd name="T45" fmla="*/ 0 h 110"/>
                  <a:gd name="T46" fmla="*/ 0 w 60"/>
                  <a:gd name="T47" fmla="*/ 0 h 110"/>
                  <a:gd name="T48" fmla="*/ 0 w 60"/>
                  <a:gd name="T49" fmla="*/ 0 h 110"/>
                  <a:gd name="T50" fmla="*/ 0 w 60"/>
                  <a:gd name="T51" fmla="*/ 0 h 110"/>
                  <a:gd name="T52" fmla="*/ 0 w 60"/>
                  <a:gd name="T53" fmla="*/ 0 h 110"/>
                  <a:gd name="T54" fmla="*/ 0 w 60"/>
                  <a:gd name="T55" fmla="*/ 0 h 110"/>
                  <a:gd name="T56" fmla="*/ 0 w 60"/>
                  <a:gd name="T57" fmla="*/ 0 h 110"/>
                  <a:gd name="T58" fmla="*/ 0 w 60"/>
                  <a:gd name="T59" fmla="*/ 0 h 110"/>
                  <a:gd name="T60" fmla="*/ 0 w 60"/>
                  <a:gd name="T61" fmla="*/ 0 h 110"/>
                  <a:gd name="T62" fmla="*/ 0 w 60"/>
                  <a:gd name="T63" fmla="*/ 0 h 110"/>
                  <a:gd name="T64" fmla="*/ 0 w 60"/>
                  <a:gd name="T65" fmla="*/ 0 h 110"/>
                  <a:gd name="T66" fmla="*/ 0 w 60"/>
                  <a:gd name="T67" fmla="*/ 0 h 110"/>
                  <a:gd name="T68" fmla="*/ 0 w 60"/>
                  <a:gd name="T69" fmla="*/ 0 h 110"/>
                  <a:gd name="T70" fmla="*/ 0 w 60"/>
                  <a:gd name="T71" fmla="*/ 0 h 110"/>
                  <a:gd name="T72" fmla="*/ 0 w 60"/>
                  <a:gd name="T73" fmla="*/ 0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60"/>
                  <a:gd name="T112" fmla="*/ 0 h 110"/>
                  <a:gd name="T113" fmla="*/ 60 w 60"/>
                  <a:gd name="T114" fmla="*/ 110 h 110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96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0 h 75"/>
                  <a:gd name="T2" fmla="*/ 0 w 72"/>
                  <a:gd name="T3" fmla="*/ 0 h 75"/>
                  <a:gd name="T4" fmla="*/ 0 w 72"/>
                  <a:gd name="T5" fmla="*/ 0 h 75"/>
                  <a:gd name="T6" fmla="*/ 0 w 72"/>
                  <a:gd name="T7" fmla="*/ 0 h 75"/>
                  <a:gd name="T8" fmla="*/ 0 w 72"/>
                  <a:gd name="T9" fmla="*/ 0 h 75"/>
                  <a:gd name="T10" fmla="*/ 0 w 72"/>
                  <a:gd name="T11" fmla="*/ 0 h 75"/>
                  <a:gd name="T12" fmla="*/ 0 w 72"/>
                  <a:gd name="T13" fmla="*/ 0 h 75"/>
                  <a:gd name="T14" fmla="*/ 0 w 72"/>
                  <a:gd name="T15" fmla="*/ 0 h 75"/>
                  <a:gd name="T16" fmla="*/ 0 w 72"/>
                  <a:gd name="T17" fmla="*/ 0 h 75"/>
                  <a:gd name="T18" fmla="*/ 0 w 72"/>
                  <a:gd name="T19" fmla="*/ 0 h 75"/>
                  <a:gd name="T20" fmla="*/ 0 w 72"/>
                  <a:gd name="T21" fmla="*/ 0 h 75"/>
                  <a:gd name="T22" fmla="*/ 0 w 72"/>
                  <a:gd name="T23" fmla="*/ 0 h 75"/>
                  <a:gd name="T24" fmla="*/ 0 w 72"/>
                  <a:gd name="T25" fmla="*/ 0 h 75"/>
                  <a:gd name="T26" fmla="*/ 0 w 72"/>
                  <a:gd name="T27" fmla="*/ 0 h 75"/>
                  <a:gd name="T28" fmla="*/ 0 w 72"/>
                  <a:gd name="T29" fmla="*/ 0 h 75"/>
                  <a:gd name="T30" fmla="*/ 0 w 72"/>
                  <a:gd name="T31" fmla="*/ 0 h 75"/>
                  <a:gd name="T32" fmla="*/ 0 w 72"/>
                  <a:gd name="T33" fmla="*/ 0 h 75"/>
                  <a:gd name="T34" fmla="*/ 0 w 72"/>
                  <a:gd name="T35" fmla="*/ 0 h 75"/>
                  <a:gd name="T36" fmla="*/ 0 w 72"/>
                  <a:gd name="T37" fmla="*/ 0 h 75"/>
                  <a:gd name="T38" fmla="*/ 0 w 72"/>
                  <a:gd name="T39" fmla="*/ 0 h 75"/>
                  <a:gd name="T40" fmla="*/ 0 w 72"/>
                  <a:gd name="T41" fmla="*/ 0 h 75"/>
                  <a:gd name="T42" fmla="*/ 0 w 72"/>
                  <a:gd name="T43" fmla="*/ 0 h 75"/>
                  <a:gd name="T44" fmla="*/ 0 w 72"/>
                  <a:gd name="T45" fmla="*/ 0 h 75"/>
                  <a:gd name="T46" fmla="*/ 0 w 72"/>
                  <a:gd name="T47" fmla="*/ 0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72"/>
                  <a:gd name="T73" fmla="*/ 0 h 75"/>
                  <a:gd name="T74" fmla="*/ 72 w 72"/>
                  <a:gd name="T75" fmla="*/ 75 h 75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97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0 w 15"/>
                  <a:gd name="T1" fmla="*/ 0 h 49"/>
                  <a:gd name="T2" fmla="*/ 0 w 15"/>
                  <a:gd name="T3" fmla="*/ 0 h 49"/>
                  <a:gd name="T4" fmla="*/ 0 w 15"/>
                  <a:gd name="T5" fmla="*/ 0 h 49"/>
                  <a:gd name="T6" fmla="*/ 0 w 15"/>
                  <a:gd name="T7" fmla="*/ 0 h 49"/>
                  <a:gd name="T8" fmla="*/ 0 w 15"/>
                  <a:gd name="T9" fmla="*/ 0 h 49"/>
                  <a:gd name="T10" fmla="*/ 0 w 15"/>
                  <a:gd name="T11" fmla="*/ 0 h 49"/>
                  <a:gd name="T12" fmla="*/ 0 w 15"/>
                  <a:gd name="T13" fmla="*/ 0 h 49"/>
                  <a:gd name="T14" fmla="*/ 0 w 15"/>
                  <a:gd name="T15" fmla="*/ 0 h 49"/>
                  <a:gd name="T16" fmla="*/ 0 w 15"/>
                  <a:gd name="T17" fmla="*/ 0 h 49"/>
                  <a:gd name="T18" fmla="*/ 0 w 15"/>
                  <a:gd name="T19" fmla="*/ 0 h 49"/>
                  <a:gd name="T20" fmla="*/ 0 w 15"/>
                  <a:gd name="T21" fmla="*/ 0 h 49"/>
                  <a:gd name="T22" fmla="*/ 0 w 15"/>
                  <a:gd name="T23" fmla="*/ 0 h 49"/>
                  <a:gd name="T24" fmla="*/ 0 w 15"/>
                  <a:gd name="T25" fmla="*/ 0 h 49"/>
                  <a:gd name="T26" fmla="*/ 0 w 15"/>
                  <a:gd name="T27" fmla="*/ 0 h 49"/>
                  <a:gd name="T28" fmla="*/ 0 w 15"/>
                  <a:gd name="T29" fmla="*/ 0 h 49"/>
                  <a:gd name="T30" fmla="*/ 0 w 15"/>
                  <a:gd name="T31" fmla="*/ 0 h 49"/>
                  <a:gd name="T32" fmla="*/ 0 w 15"/>
                  <a:gd name="T33" fmla="*/ 0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5"/>
                  <a:gd name="T52" fmla="*/ 0 h 49"/>
                  <a:gd name="T53" fmla="*/ 15 w 15"/>
                  <a:gd name="T54" fmla="*/ 49 h 4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98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0 w 47"/>
                  <a:gd name="T1" fmla="*/ 0 h 40"/>
                  <a:gd name="T2" fmla="*/ 0 w 47"/>
                  <a:gd name="T3" fmla="*/ 0 h 40"/>
                  <a:gd name="T4" fmla="*/ 0 w 47"/>
                  <a:gd name="T5" fmla="*/ 0 h 40"/>
                  <a:gd name="T6" fmla="*/ 0 w 47"/>
                  <a:gd name="T7" fmla="*/ 0 h 40"/>
                  <a:gd name="T8" fmla="*/ 0 w 47"/>
                  <a:gd name="T9" fmla="*/ 0 h 40"/>
                  <a:gd name="T10" fmla="*/ 0 w 47"/>
                  <a:gd name="T11" fmla="*/ 0 h 40"/>
                  <a:gd name="T12" fmla="*/ 0 w 47"/>
                  <a:gd name="T13" fmla="*/ 0 h 40"/>
                  <a:gd name="T14" fmla="*/ 0 w 47"/>
                  <a:gd name="T15" fmla="*/ 0 h 40"/>
                  <a:gd name="T16" fmla="*/ 0 w 47"/>
                  <a:gd name="T17" fmla="*/ 0 h 40"/>
                  <a:gd name="T18" fmla="*/ 0 w 47"/>
                  <a:gd name="T19" fmla="*/ 0 h 40"/>
                  <a:gd name="T20" fmla="*/ 0 w 47"/>
                  <a:gd name="T21" fmla="*/ 0 h 40"/>
                  <a:gd name="T22" fmla="*/ 0 w 47"/>
                  <a:gd name="T23" fmla="*/ 0 h 40"/>
                  <a:gd name="T24" fmla="*/ 0 w 47"/>
                  <a:gd name="T25" fmla="*/ 0 h 40"/>
                  <a:gd name="T26" fmla="*/ 0 w 47"/>
                  <a:gd name="T27" fmla="*/ 0 h 40"/>
                  <a:gd name="T28" fmla="*/ 0 w 47"/>
                  <a:gd name="T29" fmla="*/ 0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47"/>
                  <a:gd name="T46" fmla="*/ 0 h 40"/>
                  <a:gd name="T47" fmla="*/ 47 w 47"/>
                  <a:gd name="T48" fmla="*/ 40 h 4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99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0 w 39"/>
                  <a:gd name="T3" fmla="*/ 0 h 31"/>
                  <a:gd name="T4" fmla="*/ 0 w 39"/>
                  <a:gd name="T5" fmla="*/ 0 h 31"/>
                  <a:gd name="T6" fmla="*/ 0 w 39"/>
                  <a:gd name="T7" fmla="*/ 0 h 31"/>
                  <a:gd name="T8" fmla="*/ 0 w 39"/>
                  <a:gd name="T9" fmla="*/ 0 h 31"/>
                  <a:gd name="T10" fmla="*/ 0 w 39"/>
                  <a:gd name="T11" fmla="*/ 0 h 31"/>
                  <a:gd name="T12" fmla="*/ 0 w 39"/>
                  <a:gd name="T13" fmla="*/ 0 h 31"/>
                  <a:gd name="T14" fmla="*/ 0 w 39"/>
                  <a:gd name="T15" fmla="*/ 0 h 31"/>
                  <a:gd name="T16" fmla="*/ 0 w 39"/>
                  <a:gd name="T17" fmla="*/ 0 h 31"/>
                  <a:gd name="T18" fmla="*/ 0 w 39"/>
                  <a:gd name="T19" fmla="*/ 0 h 31"/>
                  <a:gd name="T20" fmla="*/ 0 w 39"/>
                  <a:gd name="T21" fmla="*/ 0 h 31"/>
                  <a:gd name="T22" fmla="*/ 0 w 39"/>
                  <a:gd name="T23" fmla="*/ 0 h 31"/>
                  <a:gd name="T24" fmla="*/ 0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9"/>
                  <a:gd name="T40" fmla="*/ 0 h 31"/>
                  <a:gd name="T41" fmla="*/ 39 w 39"/>
                  <a:gd name="T42" fmla="*/ 31 h 31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00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0 w 34"/>
                  <a:gd name="T3" fmla="*/ 0 h 19"/>
                  <a:gd name="T4" fmla="*/ 0 w 34"/>
                  <a:gd name="T5" fmla="*/ 0 h 19"/>
                  <a:gd name="T6" fmla="*/ 0 w 34"/>
                  <a:gd name="T7" fmla="*/ 0 h 19"/>
                  <a:gd name="T8" fmla="*/ 0 w 34"/>
                  <a:gd name="T9" fmla="*/ 0 h 19"/>
                  <a:gd name="T10" fmla="*/ 0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4"/>
                  <a:gd name="T22" fmla="*/ 0 h 19"/>
                  <a:gd name="T23" fmla="*/ 34 w 34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01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9"/>
                  <a:gd name="T13" fmla="*/ 0 h 12"/>
                  <a:gd name="T14" fmla="*/ 19 w 19"/>
                  <a:gd name="T15" fmla="*/ 12 h 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02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0 w 126"/>
                  <a:gd name="T1" fmla="*/ 0 h 166"/>
                  <a:gd name="T2" fmla="*/ 0 w 126"/>
                  <a:gd name="T3" fmla="*/ 0 h 166"/>
                  <a:gd name="T4" fmla="*/ 0 w 126"/>
                  <a:gd name="T5" fmla="*/ 0 h 166"/>
                  <a:gd name="T6" fmla="*/ 0 w 126"/>
                  <a:gd name="T7" fmla="*/ 0 h 166"/>
                  <a:gd name="T8" fmla="*/ 0 w 126"/>
                  <a:gd name="T9" fmla="*/ 0 h 166"/>
                  <a:gd name="T10" fmla="*/ 0 w 126"/>
                  <a:gd name="T11" fmla="*/ 0 h 166"/>
                  <a:gd name="T12" fmla="*/ 0 w 126"/>
                  <a:gd name="T13" fmla="*/ 0 h 166"/>
                  <a:gd name="T14" fmla="*/ 0 w 126"/>
                  <a:gd name="T15" fmla="*/ 0 h 166"/>
                  <a:gd name="T16" fmla="*/ 0 w 126"/>
                  <a:gd name="T17" fmla="*/ 0 h 166"/>
                  <a:gd name="T18" fmla="*/ 0 w 126"/>
                  <a:gd name="T19" fmla="*/ 0 h 166"/>
                  <a:gd name="T20" fmla="*/ 0 w 126"/>
                  <a:gd name="T21" fmla="*/ 0 h 166"/>
                  <a:gd name="T22" fmla="*/ 0 w 126"/>
                  <a:gd name="T23" fmla="*/ 0 h 166"/>
                  <a:gd name="T24" fmla="*/ 0 w 126"/>
                  <a:gd name="T25" fmla="*/ 0 h 166"/>
                  <a:gd name="T26" fmla="*/ 0 w 126"/>
                  <a:gd name="T27" fmla="*/ 0 h 166"/>
                  <a:gd name="T28" fmla="*/ 0 w 126"/>
                  <a:gd name="T29" fmla="*/ 0 h 166"/>
                  <a:gd name="T30" fmla="*/ 0 w 126"/>
                  <a:gd name="T31" fmla="*/ 0 h 166"/>
                  <a:gd name="T32" fmla="*/ 0 w 126"/>
                  <a:gd name="T33" fmla="*/ 0 h 166"/>
                  <a:gd name="T34" fmla="*/ 0 w 126"/>
                  <a:gd name="T35" fmla="*/ 0 h 166"/>
                  <a:gd name="T36" fmla="*/ 0 w 126"/>
                  <a:gd name="T37" fmla="*/ 0 h 166"/>
                  <a:gd name="T38" fmla="*/ 0 w 126"/>
                  <a:gd name="T39" fmla="*/ 0 h 166"/>
                  <a:gd name="T40" fmla="*/ 0 w 126"/>
                  <a:gd name="T41" fmla="*/ 0 h 166"/>
                  <a:gd name="T42" fmla="*/ 0 w 126"/>
                  <a:gd name="T43" fmla="*/ 0 h 166"/>
                  <a:gd name="T44" fmla="*/ 0 w 126"/>
                  <a:gd name="T45" fmla="*/ 0 h 166"/>
                  <a:gd name="T46" fmla="*/ 0 w 126"/>
                  <a:gd name="T47" fmla="*/ 0 h 166"/>
                  <a:gd name="T48" fmla="*/ 0 w 126"/>
                  <a:gd name="T49" fmla="*/ 0 h 166"/>
                  <a:gd name="T50" fmla="*/ 0 w 126"/>
                  <a:gd name="T51" fmla="*/ 0 h 166"/>
                  <a:gd name="T52" fmla="*/ 0 w 126"/>
                  <a:gd name="T53" fmla="*/ 0 h 166"/>
                  <a:gd name="T54" fmla="*/ 0 w 126"/>
                  <a:gd name="T55" fmla="*/ 0 h 166"/>
                  <a:gd name="T56" fmla="*/ 0 w 126"/>
                  <a:gd name="T57" fmla="*/ 0 h 166"/>
                  <a:gd name="T58" fmla="*/ 0 w 126"/>
                  <a:gd name="T59" fmla="*/ 0 h 166"/>
                  <a:gd name="T60" fmla="*/ 0 w 126"/>
                  <a:gd name="T61" fmla="*/ 0 h 166"/>
                  <a:gd name="T62" fmla="*/ 0 w 126"/>
                  <a:gd name="T63" fmla="*/ 0 h 166"/>
                  <a:gd name="T64" fmla="*/ 0 w 126"/>
                  <a:gd name="T65" fmla="*/ 0 h 166"/>
                  <a:gd name="T66" fmla="*/ 0 w 126"/>
                  <a:gd name="T67" fmla="*/ 0 h 166"/>
                  <a:gd name="T68" fmla="*/ 0 w 126"/>
                  <a:gd name="T69" fmla="*/ 0 h 166"/>
                  <a:gd name="T70" fmla="*/ 0 w 126"/>
                  <a:gd name="T71" fmla="*/ 0 h 166"/>
                  <a:gd name="T72" fmla="*/ 0 w 126"/>
                  <a:gd name="T73" fmla="*/ 0 h 166"/>
                  <a:gd name="T74" fmla="*/ 0 w 126"/>
                  <a:gd name="T75" fmla="*/ 0 h 166"/>
                  <a:gd name="T76" fmla="*/ 0 w 126"/>
                  <a:gd name="T77" fmla="*/ 0 h 166"/>
                  <a:gd name="T78" fmla="*/ 0 w 126"/>
                  <a:gd name="T79" fmla="*/ 0 h 166"/>
                  <a:gd name="T80" fmla="*/ 0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26"/>
                  <a:gd name="T124" fmla="*/ 0 h 166"/>
                  <a:gd name="T125" fmla="*/ 126 w 126"/>
                  <a:gd name="T126" fmla="*/ 166 h 16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03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0 w 259"/>
                  <a:gd name="T1" fmla="*/ 0 h 259"/>
                  <a:gd name="T2" fmla="*/ 0 w 259"/>
                  <a:gd name="T3" fmla="*/ 0 h 259"/>
                  <a:gd name="T4" fmla="*/ 0 w 259"/>
                  <a:gd name="T5" fmla="*/ 0 h 259"/>
                  <a:gd name="T6" fmla="*/ 0 w 259"/>
                  <a:gd name="T7" fmla="*/ 0 h 259"/>
                  <a:gd name="T8" fmla="*/ 0 w 259"/>
                  <a:gd name="T9" fmla="*/ 0 h 259"/>
                  <a:gd name="T10" fmla="*/ 0 w 259"/>
                  <a:gd name="T11" fmla="*/ 0 h 259"/>
                  <a:gd name="T12" fmla="*/ 0 w 259"/>
                  <a:gd name="T13" fmla="*/ 0 h 259"/>
                  <a:gd name="T14" fmla="*/ 0 w 259"/>
                  <a:gd name="T15" fmla="*/ 0 h 259"/>
                  <a:gd name="T16" fmla="*/ 0 w 259"/>
                  <a:gd name="T17" fmla="*/ 0 h 259"/>
                  <a:gd name="T18" fmla="*/ 0 w 259"/>
                  <a:gd name="T19" fmla="*/ 0 h 259"/>
                  <a:gd name="T20" fmla="*/ 0 w 259"/>
                  <a:gd name="T21" fmla="*/ 0 h 259"/>
                  <a:gd name="T22" fmla="*/ 0 w 259"/>
                  <a:gd name="T23" fmla="*/ 0 h 259"/>
                  <a:gd name="T24" fmla="*/ 0 w 259"/>
                  <a:gd name="T25" fmla="*/ 0 h 259"/>
                  <a:gd name="T26" fmla="*/ 0 w 259"/>
                  <a:gd name="T27" fmla="*/ 0 h 259"/>
                  <a:gd name="T28" fmla="*/ 0 w 259"/>
                  <a:gd name="T29" fmla="*/ 0 h 259"/>
                  <a:gd name="T30" fmla="*/ 0 w 259"/>
                  <a:gd name="T31" fmla="*/ 0 h 259"/>
                  <a:gd name="T32" fmla="*/ 0 w 259"/>
                  <a:gd name="T33" fmla="*/ 0 h 259"/>
                  <a:gd name="T34" fmla="*/ 0 w 259"/>
                  <a:gd name="T35" fmla="*/ 0 h 259"/>
                  <a:gd name="T36" fmla="*/ 0 w 259"/>
                  <a:gd name="T37" fmla="*/ 0 h 259"/>
                  <a:gd name="T38" fmla="*/ 0 w 259"/>
                  <a:gd name="T39" fmla="*/ 0 h 259"/>
                  <a:gd name="T40" fmla="*/ 0 w 259"/>
                  <a:gd name="T41" fmla="*/ 0 h 259"/>
                  <a:gd name="T42" fmla="*/ 0 w 259"/>
                  <a:gd name="T43" fmla="*/ 0 h 259"/>
                  <a:gd name="T44" fmla="*/ 0 w 259"/>
                  <a:gd name="T45" fmla="*/ 0 h 259"/>
                  <a:gd name="T46" fmla="*/ 0 w 259"/>
                  <a:gd name="T47" fmla="*/ 0 h 259"/>
                  <a:gd name="T48" fmla="*/ 0 w 259"/>
                  <a:gd name="T49" fmla="*/ 0 h 259"/>
                  <a:gd name="T50" fmla="*/ 0 w 259"/>
                  <a:gd name="T51" fmla="*/ 0 h 259"/>
                  <a:gd name="T52" fmla="*/ 0 w 259"/>
                  <a:gd name="T53" fmla="*/ 0 h 259"/>
                  <a:gd name="T54" fmla="*/ 0 w 259"/>
                  <a:gd name="T55" fmla="*/ 0 h 259"/>
                  <a:gd name="T56" fmla="*/ 0 w 259"/>
                  <a:gd name="T57" fmla="*/ 0 h 259"/>
                  <a:gd name="T58" fmla="*/ 0 w 259"/>
                  <a:gd name="T59" fmla="*/ 0 h 259"/>
                  <a:gd name="T60" fmla="*/ 0 w 259"/>
                  <a:gd name="T61" fmla="*/ 0 h 259"/>
                  <a:gd name="T62" fmla="*/ 0 w 259"/>
                  <a:gd name="T63" fmla="*/ 0 h 259"/>
                  <a:gd name="T64" fmla="*/ 0 w 259"/>
                  <a:gd name="T65" fmla="*/ 0 h 259"/>
                  <a:gd name="T66" fmla="*/ 0 w 259"/>
                  <a:gd name="T67" fmla="*/ 0 h 259"/>
                  <a:gd name="T68" fmla="*/ 0 w 259"/>
                  <a:gd name="T69" fmla="*/ 0 h 259"/>
                  <a:gd name="T70" fmla="*/ 0 w 259"/>
                  <a:gd name="T71" fmla="*/ 0 h 259"/>
                  <a:gd name="T72" fmla="*/ 0 w 259"/>
                  <a:gd name="T73" fmla="*/ 0 h 259"/>
                  <a:gd name="T74" fmla="*/ 0 w 259"/>
                  <a:gd name="T75" fmla="*/ 0 h 259"/>
                  <a:gd name="T76" fmla="*/ 0 w 259"/>
                  <a:gd name="T77" fmla="*/ 0 h 259"/>
                  <a:gd name="T78" fmla="*/ 0 w 259"/>
                  <a:gd name="T79" fmla="*/ 0 h 259"/>
                  <a:gd name="T80" fmla="*/ 0 w 259"/>
                  <a:gd name="T81" fmla="*/ 0 h 259"/>
                  <a:gd name="T82" fmla="*/ 0 w 259"/>
                  <a:gd name="T83" fmla="*/ 0 h 259"/>
                  <a:gd name="T84" fmla="*/ 0 w 259"/>
                  <a:gd name="T85" fmla="*/ 0 h 259"/>
                  <a:gd name="T86" fmla="*/ 0 w 259"/>
                  <a:gd name="T87" fmla="*/ 0 h 259"/>
                  <a:gd name="T88" fmla="*/ 0 w 259"/>
                  <a:gd name="T89" fmla="*/ 0 h 259"/>
                  <a:gd name="T90" fmla="*/ 0 w 259"/>
                  <a:gd name="T91" fmla="*/ 0 h 259"/>
                  <a:gd name="T92" fmla="*/ 0 w 259"/>
                  <a:gd name="T93" fmla="*/ 0 h 259"/>
                  <a:gd name="T94" fmla="*/ 0 w 259"/>
                  <a:gd name="T95" fmla="*/ 0 h 259"/>
                  <a:gd name="T96" fmla="*/ 0 w 259"/>
                  <a:gd name="T97" fmla="*/ 0 h 259"/>
                  <a:gd name="T98" fmla="*/ 0 w 259"/>
                  <a:gd name="T99" fmla="*/ 0 h 259"/>
                  <a:gd name="T100" fmla="*/ 0 w 259"/>
                  <a:gd name="T101" fmla="*/ 0 h 259"/>
                  <a:gd name="T102" fmla="*/ 0 w 259"/>
                  <a:gd name="T103" fmla="*/ 0 h 259"/>
                  <a:gd name="T104" fmla="*/ 0 w 259"/>
                  <a:gd name="T105" fmla="*/ 0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59"/>
                  <a:gd name="T160" fmla="*/ 0 h 259"/>
                  <a:gd name="T161" fmla="*/ 259 w 259"/>
                  <a:gd name="T162" fmla="*/ 259 h 25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04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0 w 72"/>
                  <a:gd name="T1" fmla="*/ 0 h 92"/>
                  <a:gd name="T2" fmla="*/ 0 w 72"/>
                  <a:gd name="T3" fmla="*/ 0 h 92"/>
                  <a:gd name="T4" fmla="*/ 0 w 72"/>
                  <a:gd name="T5" fmla="*/ 0 h 92"/>
                  <a:gd name="T6" fmla="*/ 0 w 72"/>
                  <a:gd name="T7" fmla="*/ 0 h 92"/>
                  <a:gd name="T8" fmla="*/ 0 w 72"/>
                  <a:gd name="T9" fmla="*/ 0 h 92"/>
                  <a:gd name="T10" fmla="*/ 0 w 72"/>
                  <a:gd name="T11" fmla="*/ 0 h 92"/>
                  <a:gd name="T12" fmla="*/ 0 w 72"/>
                  <a:gd name="T13" fmla="*/ 0 h 92"/>
                  <a:gd name="T14" fmla="*/ 0 w 72"/>
                  <a:gd name="T15" fmla="*/ 0 h 92"/>
                  <a:gd name="T16" fmla="*/ 0 w 72"/>
                  <a:gd name="T17" fmla="*/ 0 h 92"/>
                  <a:gd name="T18" fmla="*/ 0 w 72"/>
                  <a:gd name="T19" fmla="*/ 0 h 92"/>
                  <a:gd name="T20" fmla="*/ 0 w 72"/>
                  <a:gd name="T21" fmla="*/ 0 h 92"/>
                  <a:gd name="T22" fmla="*/ 0 w 72"/>
                  <a:gd name="T23" fmla="*/ 0 h 92"/>
                  <a:gd name="T24" fmla="*/ 0 w 72"/>
                  <a:gd name="T25" fmla="*/ 0 h 92"/>
                  <a:gd name="T26" fmla="*/ 0 w 72"/>
                  <a:gd name="T27" fmla="*/ 0 h 92"/>
                  <a:gd name="T28" fmla="*/ 0 w 72"/>
                  <a:gd name="T29" fmla="*/ 0 h 92"/>
                  <a:gd name="T30" fmla="*/ 0 w 72"/>
                  <a:gd name="T31" fmla="*/ 0 h 92"/>
                  <a:gd name="T32" fmla="*/ 0 w 72"/>
                  <a:gd name="T33" fmla="*/ 0 h 92"/>
                  <a:gd name="T34" fmla="*/ 0 w 72"/>
                  <a:gd name="T35" fmla="*/ 0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72"/>
                  <a:gd name="T55" fmla="*/ 0 h 92"/>
                  <a:gd name="T56" fmla="*/ 72 w 72"/>
                  <a:gd name="T57" fmla="*/ 92 h 9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05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0 w 46"/>
                  <a:gd name="T1" fmla="*/ 0 h 62"/>
                  <a:gd name="T2" fmla="*/ 0 w 46"/>
                  <a:gd name="T3" fmla="*/ 0 h 62"/>
                  <a:gd name="T4" fmla="*/ 0 w 46"/>
                  <a:gd name="T5" fmla="*/ 0 h 62"/>
                  <a:gd name="T6" fmla="*/ 0 w 46"/>
                  <a:gd name="T7" fmla="*/ 0 h 62"/>
                  <a:gd name="T8" fmla="*/ 0 w 46"/>
                  <a:gd name="T9" fmla="*/ 0 h 62"/>
                  <a:gd name="T10" fmla="*/ 0 w 46"/>
                  <a:gd name="T11" fmla="*/ 0 h 62"/>
                  <a:gd name="T12" fmla="*/ 0 w 46"/>
                  <a:gd name="T13" fmla="*/ 0 h 62"/>
                  <a:gd name="T14" fmla="*/ 0 w 46"/>
                  <a:gd name="T15" fmla="*/ 0 h 62"/>
                  <a:gd name="T16" fmla="*/ 0 w 46"/>
                  <a:gd name="T17" fmla="*/ 0 h 62"/>
                  <a:gd name="T18" fmla="*/ 0 w 46"/>
                  <a:gd name="T19" fmla="*/ 0 h 62"/>
                  <a:gd name="T20" fmla="*/ 0 w 46"/>
                  <a:gd name="T21" fmla="*/ 0 h 62"/>
                  <a:gd name="T22" fmla="*/ 0 w 46"/>
                  <a:gd name="T23" fmla="*/ 0 h 62"/>
                  <a:gd name="T24" fmla="*/ 0 w 46"/>
                  <a:gd name="T25" fmla="*/ 0 h 62"/>
                  <a:gd name="T26" fmla="*/ 0 w 46"/>
                  <a:gd name="T27" fmla="*/ 0 h 62"/>
                  <a:gd name="T28" fmla="*/ 0 w 46"/>
                  <a:gd name="T29" fmla="*/ 0 h 62"/>
                  <a:gd name="T30" fmla="*/ 0 w 46"/>
                  <a:gd name="T31" fmla="*/ 0 h 62"/>
                  <a:gd name="T32" fmla="*/ 0 w 46"/>
                  <a:gd name="T33" fmla="*/ 0 h 62"/>
                  <a:gd name="T34" fmla="*/ 0 w 46"/>
                  <a:gd name="T35" fmla="*/ 0 h 62"/>
                  <a:gd name="T36" fmla="*/ 0 w 46"/>
                  <a:gd name="T37" fmla="*/ 0 h 62"/>
                  <a:gd name="T38" fmla="*/ 0 w 46"/>
                  <a:gd name="T39" fmla="*/ 0 h 62"/>
                  <a:gd name="T40" fmla="*/ 0 w 46"/>
                  <a:gd name="T41" fmla="*/ 0 h 62"/>
                  <a:gd name="T42" fmla="*/ 0 w 46"/>
                  <a:gd name="T43" fmla="*/ 0 h 62"/>
                  <a:gd name="T44" fmla="*/ 0 w 46"/>
                  <a:gd name="T45" fmla="*/ 0 h 62"/>
                  <a:gd name="T46" fmla="*/ 0 w 46"/>
                  <a:gd name="T47" fmla="*/ 0 h 62"/>
                  <a:gd name="T48" fmla="*/ 0 w 46"/>
                  <a:gd name="T49" fmla="*/ 0 h 62"/>
                  <a:gd name="T50" fmla="*/ 0 w 46"/>
                  <a:gd name="T51" fmla="*/ 0 h 62"/>
                  <a:gd name="T52" fmla="*/ 0 w 46"/>
                  <a:gd name="T53" fmla="*/ 0 h 62"/>
                  <a:gd name="T54" fmla="*/ 0 w 46"/>
                  <a:gd name="T55" fmla="*/ 0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46"/>
                  <a:gd name="T85" fmla="*/ 0 h 62"/>
                  <a:gd name="T86" fmla="*/ 46 w 46"/>
                  <a:gd name="T87" fmla="*/ 62 h 62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06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0 w 152"/>
                  <a:gd name="T1" fmla="*/ 0 h 296"/>
                  <a:gd name="T2" fmla="*/ 0 w 152"/>
                  <a:gd name="T3" fmla="*/ 0 h 296"/>
                  <a:gd name="T4" fmla="*/ 0 w 152"/>
                  <a:gd name="T5" fmla="*/ 0 h 296"/>
                  <a:gd name="T6" fmla="*/ 0 w 152"/>
                  <a:gd name="T7" fmla="*/ 0 h 296"/>
                  <a:gd name="T8" fmla="*/ 0 w 152"/>
                  <a:gd name="T9" fmla="*/ 0 h 296"/>
                  <a:gd name="T10" fmla="*/ 0 w 152"/>
                  <a:gd name="T11" fmla="*/ 0 h 296"/>
                  <a:gd name="T12" fmla="*/ 0 w 152"/>
                  <a:gd name="T13" fmla="*/ 0 h 296"/>
                  <a:gd name="T14" fmla="*/ 0 w 152"/>
                  <a:gd name="T15" fmla="*/ 0 h 296"/>
                  <a:gd name="T16" fmla="*/ 0 w 152"/>
                  <a:gd name="T17" fmla="*/ 0 h 296"/>
                  <a:gd name="T18" fmla="*/ 0 w 152"/>
                  <a:gd name="T19" fmla="*/ 0 h 296"/>
                  <a:gd name="T20" fmla="*/ 0 w 152"/>
                  <a:gd name="T21" fmla="*/ 0 h 296"/>
                  <a:gd name="T22" fmla="*/ 0 w 152"/>
                  <a:gd name="T23" fmla="*/ 0 h 296"/>
                  <a:gd name="T24" fmla="*/ 0 w 152"/>
                  <a:gd name="T25" fmla="*/ 0 h 296"/>
                  <a:gd name="T26" fmla="*/ 0 w 152"/>
                  <a:gd name="T27" fmla="*/ 0 h 296"/>
                  <a:gd name="T28" fmla="*/ 0 w 152"/>
                  <a:gd name="T29" fmla="*/ 0 h 296"/>
                  <a:gd name="T30" fmla="*/ 0 w 152"/>
                  <a:gd name="T31" fmla="*/ 0 h 296"/>
                  <a:gd name="T32" fmla="*/ 0 w 152"/>
                  <a:gd name="T33" fmla="*/ 0 h 296"/>
                  <a:gd name="T34" fmla="*/ 0 w 152"/>
                  <a:gd name="T35" fmla="*/ 0 h 296"/>
                  <a:gd name="T36" fmla="*/ 0 w 152"/>
                  <a:gd name="T37" fmla="*/ 0 h 296"/>
                  <a:gd name="T38" fmla="*/ 0 w 152"/>
                  <a:gd name="T39" fmla="*/ 0 h 296"/>
                  <a:gd name="T40" fmla="*/ 0 w 152"/>
                  <a:gd name="T41" fmla="*/ 0 h 296"/>
                  <a:gd name="T42" fmla="*/ 0 w 152"/>
                  <a:gd name="T43" fmla="*/ 0 h 296"/>
                  <a:gd name="T44" fmla="*/ 0 w 152"/>
                  <a:gd name="T45" fmla="*/ 0 h 296"/>
                  <a:gd name="T46" fmla="*/ 0 w 152"/>
                  <a:gd name="T47" fmla="*/ 0 h 296"/>
                  <a:gd name="T48" fmla="*/ 0 w 152"/>
                  <a:gd name="T49" fmla="*/ 0 h 296"/>
                  <a:gd name="T50" fmla="*/ 0 w 152"/>
                  <a:gd name="T51" fmla="*/ 0 h 296"/>
                  <a:gd name="T52" fmla="*/ 0 w 152"/>
                  <a:gd name="T53" fmla="*/ 0 h 296"/>
                  <a:gd name="T54" fmla="*/ 0 w 152"/>
                  <a:gd name="T55" fmla="*/ 0 h 296"/>
                  <a:gd name="T56" fmla="*/ 0 w 152"/>
                  <a:gd name="T57" fmla="*/ 0 h 296"/>
                  <a:gd name="T58" fmla="*/ 0 w 152"/>
                  <a:gd name="T59" fmla="*/ 0 h 296"/>
                  <a:gd name="T60" fmla="*/ 0 w 152"/>
                  <a:gd name="T61" fmla="*/ 0 h 296"/>
                  <a:gd name="T62" fmla="*/ 0 w 152"/>
                  <a:gd name="T63" fmla="*/ 0 h 296"/>
                  <a:gd name="T64" fmla="*/ 0 w 152"/>
                  <a:gd name="T65" fmla="*/ 0 h 296"/>
                  <a:gd name="T66" fmla="*/ 0 w 152"/>
                  <a:gd name="T67" fmla="*/ 0 h 296"/>
                  <a:gd name="T68" fmla="*/ 0 w 152"/>
                  <a:gd name="T69" fmla="*/ 0 h 296"/>
                  <a:gd name="T70" fmla="*/ 0 w 152"/>
                  <a:gd name="T71" fmla="*/ 0 h 296"/>
                  <a:gd name="T72" fmla="*/ 0 w 152"/>
                  <a:gd name="T73" fmla="*/ 0 h 296"/>
                  <a:gd name="T74" fmla="*/ 0 w 152"/>
                  <a:gd name="T75" fmla="*/ 0 h 296"/>
                  <a:gd name="T76" fmla="*/ 0 w 152"/>
                  <a:gd name="T77" fmla="*/ 0 h 296"/>
                  <a:gd name="T78" fmla="*/ 0 w 152"/>
                  <a:gd name="T79" fmla="*/ 0 h 296"/>
                  <a:gd name="T80" fmla="*/ 0 w 152"/>
                  <a:gd name="T81" fmla="*/ 0 h 296"/>
                  <a:gd name="T82" fmla="*/ 0 w 152"/>
                  <a:gd name="T83" fmla="*/ 0 h 296"/>
                  <a:gd name="T84" fmla="*/ 0 w 152"/>
                  <a:gd name="T85" fmla="*/ 0 h 296"/>
                  <a:gd name="T86" fmla="*/ 0 w 152"/>
                  <a:gd name="T87" fmla="*/ 0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52"/>
                  <a:gd name="T133" fmla="*/ 0 h 296"/>
                  <a:gd name="T134" fmla="*/ 152 w 152"/>
                  <a:gd name="T135" fmla="*/ 296 h 29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07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0 w 26"/>
                  <a:gd name="T1" fmla="*/ 0 h 38"/>
                  <a:gd name="T2" fmla="*/ 0 w 26"/>
                  <a:gd name="T3" fmla="*/ 0 h 38"/>
                  <a:gd name="T4" fmla="*/ 0 w 26"/>
                  <a:gd name="T5" fmla="*/ 0 h 38"/>
                  <a:gd name="T6" fmla="*/ 0 w 26"/>
                  <a:gd name="T7" fmla="*/ 0 h 38"/>
                  <a:gd name="T8" fmla="*/ 0 w 26"/>
                  <a:gd name="T9" fmla="*/ 0 h 38"/>
                  <a:gd name="T10" fmla="*/ 0 w 26"/>
                  <a:gd name="T11" fmla="*/ 0 h 38"/>
                  <a:gd name="T12" fmla="*/ 0 w 26"/>
                  <a:gd name="T13" fmla="*/ 0 h 38"/>
                  <a:gd name="T14" fmla="*/ 0 w 26"/>
                  <a:gd name="T15" fmla="*/ 0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6"/>
                  <a:gd name="T25" fmla="*/ 0 h 38"/>
                  <a:gd name="T26" fmla="*/ 26 w 26"/>
                  <a:gd name="T27" fmla="*/ 38 h 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08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0 h 31"/>
                  <a:gd name="T2" fmla="*/ 0 w 34"/>
                  <a:gd name="T3" fmla="*/ 0 h 31"/>
                  <a:gd name="T4" fmla="*/ 0 w 34"/>
                  <a:gd name="T5" fmla="*/ 0 h 31"/>
                  <a:gd name="T6" fmla="*/ 0 w 34"/>
                  <a:gd name="T7" fmla="*/ 0 h 31"/>
                  <a:gd name="T8" fmla="*/ 0 w 34"/>
                  <a:gd name="T9" fmla="*/ 0 h 31"/>
                  <a:gd name="T10" fmla="*/ 0 w 34"/>
                  <a:gd name="T11" fmla="*/ 0 h 31"/>
                  <a:gd name="T12" fmla="*/ 0 w 34"/>
                  <a:gd name="T13" fmla="*/ 0 h 31"/>
                  <a:gd name="T14" fmla="*/ 0 w 34"/>
                  <a:gd name="T15" fmla="*/ 0 h 31"/>
                  <a:gd name="T16" fmla="*/ 0 w 34"/>
                  <a:gd name="T17" fmla="*/ 0 h 31"/>
                  <a:gd name="T18" fmla="*/ 0 w 34"/>
                  <a:gd name="T19" fmla="*/ 0 h 31"/>
                  <a:gd name="T20" fmla="*/ 0 w 34"/>
                  <a:gd name="T21" fmla="*/ 0 h 31"/>
                  <a:gd name="T22" fmla="*/ 0 w 34"/>
                  <a:gd name="T23" fmla="*/ 0 h 31"/>
                  <a:gd name="T24" fmla="*/ 0 w 34"/>
                  <a:gd name="T25" fmla="*/ 0 h 31"/>
                  <a:gd name="T26" fmla="*/ 0 w 34"/>
                  <a:gd name="T27" fmla="*/ 0 h 31"/>
                  <a:gd name="T28" fmla="*/ 0 w 34"/>
                  <a:gd name="T29" fmla="*/ 0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4"/>
                  <a:gd name="T46" fmla="*/ 0 h 31"/>
                  <a:gd name="T47" fmla="*/ 34 w 34"/>
                  <a:gd name="T48" fmla="*/ 31 h 31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09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0 h 37"/>
                  <a:gd name="T2" fmla="*/ 0 w 20"/>
                  <a:gd name="T3" fmla="*/ 0 h 37"/>
                  <a:gd name="T4" fmla="*/ 0 w 20"/>
                  <a:gd name="T5" fmla="*/ 0 h 37"/>
                  <a:gd name="T6" fmla="*/ 0 w 20"/>
                  <a:gd name="T7" fmla="*/ 0 h 37"/>
                  <a:gd name="T8" fmla="*/ 0 w 20"/>
                  <a:gd name="T9" fmla="*/ 0 h 37"/>
                  <a:gd name="T10" fmla="*/ 0 w 20"/>
                  <a:gd name="T11" fmla="*/ 0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0"/>
                  <a:gd name="T19" fmla="*/ 0 h 37"/>
                  <a:gd name="T20" fmla="*/ 20 w 20"/>
                  <a:gd name="T21" fmla="*/ 37 h 3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10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11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"/>
                  <a:gd name="T16" fmla="*/ 0 h 18"/>
                  <a:gd name="T17" fmla="*/ 13 w 13"/>
                  <a:gd name="T18" fmla="*/ 18 h 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12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13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0 w 27"/>
                  <a:gd name="T3" fmla="*/ 0 h 31"/>
                  <a:gd name="T4" fmla="*/ 0 w 27"/>
                  <a:gd name="T5" fmla="*/ 0 h 31"/>
                  <a:gd name="T6" fmla="*/ 0 60000 65536"/>
                  <a:gd name="T7" fmla="*/ 0 60000 65536"/>
                  <a:gd name="T8" fmla="*/ 0 60000 65536"/>
                  <a:gd name="T9" fmla="*/ 0 w 27"/>
                  <a:gd name="T10" fmla="*/ 0 h 31"/>
                  <a:gd name="T11" fmla="*/ 27 w 27"/>
                  <a:gd name="T12" fmla="*/ 31 h 3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14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0 w 20"/>
                  <a:gd name="T1" fmla="*/ 0 h 1"/>
                  <a:gd name="T2" fmla="*/ 0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20"/>
                  <a:gd name="T10" fmla="*/ 0 h 1"/>
                  <a:gd name="T11" fmla="*/ 20 w 20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15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0 h 13"/>
                  <a:gd name="T2" fmla="*/ 0 w 34"/>
                  <a:gd name="T3" fmla="*/ 0 h 13"/>
                  <a:gd name="T4" fmla="*/ 0 w 34"/>
                  <a:gd name="T5" fmla="*/ 0 h 13"/>
                  <a:gd name="T6" fmla="*/ 0 w 34"/>
                  <a:gd name="T7" fmla="*/ 0 h 13"/>
                  <a:gd name="T8" fmla="*/ 0 w 34"/>
                  <a:gd name="T9" fmla="*/ 0 h 13"/>
                  <a:gd name="T10" fmla="*/ 0 w 34"/>
                  <a:gd name="T11" fmla="*/ 0 h 13"/>
                  <a:gd name="T12" fmla="*/ 0 w 34"/>
                  <a:gd name="T13" fmla="*/ 0 h 13"/>
                  <a:gd name="T14" fmla="*/ 0 w 34"/>
                  <a:gd name="T15" fmla="*/ 0 h 13"/>
                  <a:gd name="T16" fmla="*/ 0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4"/>
                  <a:gd name="T28" fmla="*/ 0 h 13"/>
                  <a:gd name="T29" fmla="*/ 34 w 34"/>
                  <a:gd name="T30" fmla="*/ 13 h 1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16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0 w 34"/>
                  <a:gd name="T1" fmla="*/ 0 h 18"/>
                  <a:gd name="T2" fmla="*/ 0 w 34"/>
                  <a:gd name="T3" fmla="*/ 0 h 18"/>
                  <a:gd name="T4" fmla="*/ 0 w 34"/>
                  <a:gd name="T5" fmla="*/ 0 h 18"/>
                  <a:gd name="T6" fmla="*/ 0 w 34"/>
                  <a:gd name="T7" fmla="*/ 0 h 18"/>
                  <a:gd name="T8" fmla="*/ 0 w 34"/>
                  <a:gd name="T9" fmla="*/ 0 h 18"/>
                  <a:gd name="T10" fmla="*/ 0 w 34"/>
                  <a:gd name="T11" fmla="*/ 0 h 18"/>
                  <a:gd name="T12" fmla="*/ 0 w 34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4"/>
                  <a:gd name="T22" fmla="*/ 0 h 18"/>
                  <a:gd name="T23" fmla="*/ 34 w 34"/>
                  <a:gd name="T24" fmla="*/ 18 h 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17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0 w 59"/>
                  <a:gd name="T1" fmla="*/ 0 h 25"/>
                  <a:gd name="T2" fmla="*/ 0 w 59"/>
                  <a:gd name="T3" fmla="*/ 0 h 25"/>
                  <a:gd name="T4" fmla="*/ 0 w 59"/>
                  <a:gd name="T5" fmla="*/ 0 h 25"/>
                  <a:gd name="T6" fmla="*/ 0 w 59"/>
                  <a:gd name="T7" fmla="*/ 0 h 25"/>
                  <a:gd name="T8" fmla="*/ 0 w 59"/>
                  <a:gd name="T9" fmla="*/ 0 h 25"/>
                  <a:gd name="T10" fmla="*/ 0 w 59"/>
                  <a:gd name="T11" fmla="*/ 0 h 25"/>
                  <a:gd name="T12" fmla="*/ 0 w 59"/>
                  <a:gd name="T13" fmla="*/ 0 h 25"/>
                  <a:gd name="T14" fmla="*/ 0 w 59"/>
                  <a:gd name="T15" fmla="*/ 0 h 25"/>
                  <a:gd name="T16" fmla="*/ 0 w 59"/>
                  <a:gd name="T17" fmla="*/ 0 h 25"/>
                  <a:gd name="T18" fmla="*/ 0 w 59"/>
                  <a:gd name="T19" fmla="*/ 0 h 25"/>
                  <a:gd name="T20" fmla="*/ 0 w 59"/>
                  <a:gd name="T21" fmla="*/ 0 h 25"/>
                  <a:gd name="T22" fmla="*/ 0 w 59"/>
                  <a:gd name="T23" fmla="*/ 0 h 25"/>
                  <a:gd name="T24" fmla="*/ 0 w 59"/>
                  <a:gd name="T25" fmla="*/ 0 h 25"/>
                  <a:gd name="T26" fmla="*/ 0 w 59"/>
                  <a:gd name="T27" fmla="*/ 0 h 25"/>
                  <a:gd name="T28" fmla="*/ 0 w 59"/>
                  <a:gd name="T29" fmla="*/ 0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59"/>
                  <a:gd name="T46" fmla="*/ 0 h 25"/>
                  <a:gd name="T47" fmla="*/ 59 w 59"/>
                  <a:gd name="T48" fmla="*/ 25 h 2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18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5605" name="Freeform 307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7280275" y="3879850"/>
              <a:ext cx="14288" cy="55563"/>
            </a:xfrm>
            <a:custGeom>
              <a:avLst/>
              <a:gdLst>
                <a:gd name="T0" fmla="*/ 0 w 33"/>
                <a:gd name="T1" fmla="*/ 2147483647 h 43"/>
                <a:gd name="T2" fmla="*/ 2147483647 w 33"/>
                <a:gd name="T3" fmla="*/ 2147483647 h 43"/>
                <a:gd name="T4" fmla="*/ 2147483647 w 33"/>
                <a:gd name="T5" fmla="*/ 2147483647 h 43"/>
                <a:gd name="T6" fmla="*/ 2147483647 w 33"/>
                <a:gd name="T7" fmla="*/ 2147483647 h 43"/>
                <a:gd name="T8" fmla="*/ 2147483647 w 33"/>
                <a:gd name="T9" fmla="*/ 2147483647 h 43"/>
                <a:gd name="T10" fmla="*/ 2147483647 w 33"/>
                <a:gd name="T11" fmla="*/ 2147483647 h 43"/>
                <a:gd name="T12" fmla="*/ 2147483647 w 33"/>
                <a:gd name="T13" fmla="*/ 2147483647 h 43"/>
                <a:gd name="T14" fmla="*/ 2147483647 w 33"/>
                <a:gd name="T15" fmla="*/ 2147483647 h 43"/>
                <a:gd name="T16" fmla="*/ 2147483647 w 33"/>
                <a:gd name="T17" fmla="*/ 0 h 43"/>
                <a:gd name="T18" fmla="*/ 2147483647 w 33"/>
                <a:gd name="T19" fmla="*/ 2147483647 h 43"/>
                <a:gd name="T20" fmla="*/ 2147483647 w 33"/>
                <a:gd name="T21" fmla="*/ 2147483647 h 43"/>
                <a:gd name="T22" fmla="*/ 2147483647 w 33"/>
                <a:gd name="T23" fmla="*/ 2147483647 h 43"/>
                <a:gd name="T24" fmla="*/ 2147483647 w 33"/>
                <a:gd name="T25" fmla="*/ 2147483647 h 43"/>
                <a:gd name="T26" fmla="*/ 2147483647 w 33"/>
                <a:gd name="T27" fmla="*/ 2147483647 h 43"/>
                <a:gd name="T28" fmla="*/ 2147483647 w 33"/>
                <a:gd name="T29" fmla="*/ 2147483647 h 43"/>
                <a:gd name="T30" fmla="*/ 2147483647 w 33"/>
                <a:gd name="T31" fmla="*/ 2147483647 h 43"/>
                <a:gd name="T32" fmla="*/ 2147483647 w 33"/>
                <a:gd name="T33" fmla="*/ 2147483647 h 43"/>
                <a:gd name="T34" fmla="*/ 0 w 33"/>
                <a:gd name="T35" fmla="*/ 2147483647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3"/>
                <a:gd name="T55" fmla="*/ 0 h 43"/>
                <a:gd name="T56" fmla="*/ 33 w 33"/>
                <a:gd name="T57" fmla="*/ 43 h 4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06" name="Freeform 308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7356475" y="3819525"/>
              <a:ext cx="22225" cy="58738"/>
            </a:xfrm>
            <a:custGeom>
              <a:avLst/>
              <a:gdLst>
                <a:gd name="T0" fmla="*/ 0 w 54"/>
                <a:gd name="T1" fmla="*/ 2147483647 h 92"/>
                <a:gd name="T2" fmla="*/ 2147483647 w 54"/>
                <a:gd name="T3" fmla="*/ 2147483647 h 92"/>
                <a:gd name="T4" fmla="*/ 2147483647 w 54"/>
                <a:gd name="T5" fmla="*/ 2147483647 h 92"/>
                <a:gd name="T6" fmla="*/ 2147483647 w 54"/>
                <a:gd name="T7" fmla="*/ 2147483647 h 92"/>
                <a:gd name="T8" fmla="*/ 2147483647 w 54"/>
                <a:gd name="T9" fmla="*/ 2147483647 h 92"/>
                <a:gd name="T10" fmla="*/ 2147483647 w 54"/>
                <a:gd name="T11" fmla="*/ 2147483647 h 92"/>
                <a:gd name="T12" fmla="*/ 2147483647 w 54"/>
                <a:gd name="T13" fmla="*/ 2147483647 h 92"/>
                <a:gd name="T14" fmla="*/ 2147483647 w 54"/>
                <a:gd name="T15" fmla="*/ 2147483647 h 92"/>
                <a:gd name="T16" fmla="*/ 2147483647 w 54"/>
                <a:gd name="T17" fmla="*/ 0 h 92"/>
                <a:gd name="T18" fmla="*/ 2147483647 w 54"/>
                <a:gd name="T19" fmla="*/ 2147483647 h 92"/>
                <a:gd name="T20" fmla="*/ 2147483647 w 54"/>
                <a:gd name="T21" fmla="*/ 2147483647 h 92"/>
                <a:gd name="T22" fmla="*/ 2147483647 w 54"/>
                <a:gd name="T23" fmla="*/ 2147483647 h 92"/>
                <a:gd name="T24" fmla="*/ 2147483647 w 54"/>
                <a:gd name="T25" fmla="*/ 2147483647 h 92"/>
                <a:gd name="T26" fmla="*/ 2147483647 w 54"/>
                <a:gd name="T27" fmla="*/ 2147483647 h 92"/>
                <a:gd name="T28" fmla="*/ 2147483647 w 54"/>
                <a:gd name="T29" fmla="*/ 2147483647 h 92"/>
                <a:gd name="T30" fmla="*/ 2147483647 w 54"/>
                <a:gd name="T31" fmla="*/ 2147483647 h 92"/>
                <a:gd name="T32" fmla="*/ 2147483647 w 54"/>
                <a:gd name="T33" fmla="*/ 2147483647 h 92"/>
                <a:gd name="T34" fmla="*/ 2147483647 w 54"/>
                <a:gd name="T35" fmla="*/ 2147483647 h 92"/>
                <a:gd name="T36" fmla="*/ 2147483647 w 54"/>
                <a:gd name="T37" fmla="*/ 2147483647 h 92"/>
                <a:gd name="T38" fmla="*/ 2147483647 w 54"/>
                <a:gd name="T39" fmla="*/ 2147483647 h 92"/>
                <a:gd name="T40" fmla="*/ 2147483647 w 54"/>
                <a:gd name="T41" fmla="*/ 2147483647 h 92"/>
                <a:gd name="T42" fmla="*/ 2147483647 w 54"/>
                <a:gd name="T43" fmla="*/ 2147483647 h 92"/>
                <a:gd name="T44" fmla="*/ 2147483647 w 54"/>
                <a:gd name="T45" fmla="*/ 2147483647 h 92"/>
                <a:gd name="T46" fmla="*/ 2147483647 w 54"/>
                <a:gd name="T47" fmla="*/ 2147483647 h 92"/>
                <a:gd name="T48" fmla="*/ 2147483647 w 54"/>
                <a:gd name="T49" fmla="*/ 2147483647 h 92"/>
                <a:gd name="T50" fmla="*/ 0 w 54"/>
                <a:gd name="T51" fmla="*/ 2147483647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54"/>
                <a:gd name="T79" fmla="*/ 0 h 92"/>
                <a:gd name="T80" fmla="*/ 54 w 54"/>
                <a:gd name="T81" fmla="*/ 92 h 92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07" name="Freeform 309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7404100" y="3698875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2147483647 w 60"/>
                <a:gd name="T3" fmla="*/ 2147483647 h 18"/>
                <a:gd name="T4" fmla="*/ 2147483647 w 60"/>
                <a:gd name="T5" fmla="*/ 2147483647 h 18"/>
                <a:gd name="T6" fmla="*/ 2147483647 w 60"/>
                <a:gd name="T7" fmla="*/ 2147483647 h 18"/>
                <a:gd name="T8" fmla="*/ 2147483647 w 60"/>
                <a:gd name="T9" fmla="*/ 2147483647 h 18"/>
                <a:gd name="T10" fmla="*/ 2147483647 w 60"/>
                <a:gd name="T11" fmla="*/ 2147483647 h 18"/>
                <a:gd name="T12" fmla="*/ 2147483647 w 60"/>
                <a:gd name="T13" fmla="*/ 2147483647 h 18"/>
                <a:gd name="T14" fmla="*/ 2147483647 w 60"/>
                <a:gd name="T15" fmla="*/ 2147483647 h 18"/>
                <a:gd name="T16" fmla="*/ 2147483647 w 60"/>
                <a:gd name="T17" fmla="*/ 2147483647 h 18"/>
                <a:gd name="T18" fmla="*/ 2147483647 w 60"/>
                <a:gd name="T19" fmla="*/ 2147483647 h 18"/>
                <a:gd name="T20" fmla="*/ 0 w 60"/>
                <a:gd name="T21" fmla="*/ 2147483647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0"/>
                <a:gd name="T37" fmla="*/ 0 h 18"/>
                <a:gd name="T38" fmla="*/ 60 w 60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08" name="Freeform 310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7388225" y="3668713"/>
              <a:ext cx="25400" cy="57150"/>
            </a:xfrm>
            <a:custGeom>
              <a:avLst/>
              <a:gdLst>
                <a:gd name="T0" fmla="*/ 0 w 66"/>
                <a:gd name="T1" fmla="*/ 2147483647 h 18"/>
                <a:gd name="T2" fmla="*/ 2147483647 w 66"/>
                <a:gd name="T3" fmla="*/ 2147483647 h 18"/>
                <a:gd name="T4" fmla="*/ 2147483647 w 66"/>
                <a:gd name="T5" fmla="*/ 2147483647 h 18"/>
                <a:gd name="T6" fmla="*/ 2147483647 w 66"/>
                <a:gd name="T7" fmla="*/ 2147483647 h 18"/>
                <a:gd name="T8" fmla="*/ 2147483647 w 66"/>
                <a:gd name="T9" fmla="*/ 2147483647 h 18"/>
                <a:gd name="T10" fmla="*/ 2147483647 w 66"/>
                <a:gd name="T11" fmla="*/ 2147483647 h 18"/>
                <a:gd name="T12" fmla="*/ 2147483647 w 66"/>
                <a:gd name="T13" fmla="*/ 2147483647 h 18"/>
                <a:gd name="T14" fmla="*/ 2147483647 w 66"/>
                <a:gd name="T15" fmla="*/ 0 h 18"/>
                <a:gd name="T16" fmla="*/ 0 w 66"/>
                <a:gd name="T17" fmla="*/ 2147483647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6"/>
                <a:gd name="T28" fmla="*/ 0 h 18"/>
                <a:gd name="T29" fmla="*/ 66 w 66"/>
                <a:gd name="T30" fmla="*/ 18 h 1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09" name="Freeform 311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7213600" y="3565525"/>
              <a:ext cx="7938" cy="57150"/>
            </a:xfrm>
            <a:custGeom>
              <a:avLst/>
              <a:gdLst>
                <a:gd name="T0" fmla="*/ 0 w 17"/>
                <a:gd name="T1" fmla="*/ 2147483647 h 42"/>
                <a:gd name="T2" fmla="*/ 2147483647 w 17"/>
                <a:gd name="T3" fmla="*/ 2147483647 h 42"/>
                <a:gd name="T4" fmla="*/ 2147483647 w 17"/>
                <a:gd name="T5" fmla="*/ 2147483647 h 42"/>
                <a:gd name="T6" fmla="*/ 2147483647 w 17"/>
                <a:gd name="T7" fmla="*/ 2147483647 h 42"/>
                <a:gd name="T8" fmla="*/ 2147483647 w 17"/>
                <a:gd name="T9" fmla="*/ 2147483647 h 42"/>
                <a:gd name="T10" fmla="*/ 2147483647 w 17"/>
                <a:gd name="T11" fmla="*/ 2147483647 h 42"/>
                <a:gd name="T12" fmla="*/ 2147483647 w 17"/>
                <a:gd name="T13" fmla="*/ 2147483647 h 42"/>
                <a:gd name="T14" fmla="*/ 2147483647 w 17"/>
                <a:gd name="T15" fmla="*/ 0 h 42"/>
                <a:gd name="T16" fmla="*/ 0 w 17"/>
                <a:gd name="T17" fmla="*/ 2147483647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7"/>
                <a:gd name="T28" fmla="*/ 0 h 42"/>
                <a:gd name="T29" fmla="*/ 17 w 17"/>
                <a:gd name="T30" fmla="*/ 42 h 4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10" name="Freeform 312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7140575" y="3700463"/>
              <a:ext cx="30163" cy="58737"/>
            </a:xfrm>
            <a:custGeom>
              <a:avLst/>
              <a:gdLst>
                <a:gd name="T0" fmla="*/ 2147483647 w 72"/>
                <a:gd name="T1" fmla="*/ 2147483647 h 29"/>
                <a:gd name="T2" fmla="*/ 2147483647 w 72"/>
                <a:gd name="T3" fmla="*/ 2147483647 h 29"/>
                <a:gd name="T4" fmla="*/ 2147483647 w 72"/>
                <a:gd name="T5" fmla="*/ 2147483647 h 29"/>
                <a:gd name="T6" fmla="*/ 2147483647 w 72"/>
                <a:gd name="T7" fmla="*/ 2147483647 h 29"/>
                <a:gd name="T8" fmla="*/ 2147483647 w 72"/>
                <a:gd name="T9" fmla="*/ 2147483647 h 29"/>
                <a:gd name="T10" fmla="*/ 2147483647 w 72"/>
                <a:gd name="T11" fmla="*/ 2147483647 h 29"/>
                <a:gd name="T12" fmla="*/ 2147483647 w 72"/>
                <a:gd name="T13" fmla="*/ 2147483647 h 29"/>
                <a:gd name="T14" fmla="*/ 2147483647 w 72"/>
                <a:gd name="T15" fmla="*/ 2147483647 h 29"/>
                <a:gd name="T16" fmla="*/ 2147483647 w 72"/>
                <a:gd name="T17" fmla="*/ 2147483647 h 29"/>
                <a:gd name="T18" fmla="*/ 2147483647 w 72"/>
                <a:gd name="T19" fmla="*/ 0 h 29"/>
                <a:gd name="T20" fmla="*/ 2147483647 w 72"/>
                <a:gd name="T21" fmla="*/ 0 h 29"/>
                <a:gd name="T22" fmla="*/ 2147483647 w 72"/>
                <a:gd name="T23" fmla="*/ 2147483647 h 29"/>
                <a:gd name="T24" fmla="*/ 2147483647 w 72"/>
                <a:gd name="T25" fmla="*/ 2147483647 h 29"/>
                <a:gd name="T26" fmla="*/ 2147483647 w 72"/>
                <a:gd name="T27" fmla="*/ 2147483647 h 29"/>
                <a:gd name="T28" fmla="*/ 2147483647 w 72"/>
                <a:gd name="T29" fmla="*/ 2147483647 h 29"/>
                <a:gd name="T30" fmla="*/ 0 w 72"/>
                <a:gd name="T31" fmla="*/ 2147483647 h 29"/>
                <a:gd name="T32" fmla="*/ 2147483647 w 72"/>
                <a:gd name="T33" fmla="*/ 2147483647 h 29"/>
                <a:gd name="T34" fmla="*/ 2147483647 w 72"/>
                <a:gd name="T35" fmla="*/ 214748364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2"/>
                <a:gd name="T55" fmla="*/ 0 h 29"/>
                <a:gd name="T56" fmla="*/ 72 w 72"/>
                <a:gd name="T57" fmla="*/ 29 h 2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11" name="Freeform 313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7148513" y="3886200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2147483647 w 46"/>
                <a:gd name="T3" fmla="*/ 2147483647 h 37"/>
                <a:gd name="T4" fmla="*/ 2147483647 w 46"/>
                <a:gd name="T5" fmla="*/ 2147483647 h 37"/>
                <a:gd name="T6" fmla="*/ 2147483647 w 46"/>
                <a:gd name="T7" fmla="*/ 2147483647 h 37"/>
                <a:gd name="T8" fmla="*/ 2147483647 w 46"/>
                <a:gd name="T9" fmla="*/ 2147483647 h 37"/>
                <a:gd name="T10" fmla="*/ 2147483647 w 46"/>
                <a:gd name="T11" fmla="*/ 2147483647 h 37"/>
                <a:gd name="T12" fmla="*/ 2147483647 w 46"/>
                <a:gd name="T13" fmla="*/ 2147483647 h 37"/>
                <a:gd name="T14" fmla="*/ 2147483647 w 46"/>
                <a:gd name="T15" fmla="*/ 2147483647 h 37"/>
                <a:gd name="T16" fmla="*/ 2147483647 w 46"/>
                <a:gd name="T17" fmla="*/ 2147483647 h 37"/>
                <a:gd name="T18" fmla="*/ 2147483647 w 46"/>
                <a:gd name="T19" fmla="*/ 2147483647 h 37"/>
                <a:gd name="T20" fmla="*/ 2147483647 w 46"/>
                <a:gd name="T21" fmla="*/ 2147483647 h 37"/>
                <a:gd name="T22" fmla="*/ 2147483647 w 46"/>
                <a:gd name="T23" fmla="*/ 2147483647 h 37"/>
                <a:gd name="T24" fmla="*/ 2147483647 w 46"/>
                <a:gd name="T25" fmla="*/ 2147483647 h 37"/>
                <a:gd name="T26" fmla="*/ 2147483647 w 46"/>
                <a:gd name="T27" fmla="*/ 2147483647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6"/>
                <a:gd name="T46" fmla="*/ 0 h 37"/>
                <a:gd name="T47" fmla="*/ 46 w 46"/>
                <a:gd name="T48" fmla="*/ 37 h 3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12" name="Freeform 314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7261225" y="3705225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2147483647 w 26"/>
                <a:gd name="T3" fmla="*/ 2147483647 h 19"/>
                <a:gd name="T4" fmla="*/ 2147483647 w 26"/>
                <a:gd name="T5" fmla="*/ 2147483647 h 19"/>
                <a:gd name="T6" fmla="*/ 2147483647 w 26"/>
                <a:gd name="T7" fmla="*/ 0 h 19"/>
                <a:gd name="T8" fmla="*/ 2147483647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"/>
                <a:gd name="T19" fmla="*/ 0 h 19"/>
                <a:gd name="T20" fmla="*/ 26 w 26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13" name="Freeform 315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7121525" y="3700463"/>
              <a:ext cx="19050" cy="58737"/>
            </a:xfrm>
            <a:custGeom>
              <a:avLst/>
              <a:gdLst>
                <a:gd name="T0" fmla="*/ 2147483647 w 43"/>
                <a:gd name="T1" fmla="*/ 0 h 31"/>
                <a:gd name="T2" fmla="*/ 2147483647 w 43"/>
                <a:gd name="T3" fmla="*/ 2147483647 h 31"/>
                <a:gd name="T4" fmla="*/ 0 w 43"/>
                <a:gd name="T5" fmla="*/ 2147483647 h 31"/>
                <a:gd name="T6" fmla="*/ 0 w 43"/>
                <a:gd name="T7" fmla="*/ 2147483647 h 31"/>
                <a:gd name="T8" fmla="*/ 0 w 43"/>
                <a:gd name="T9" fmla="*/ 2147483647 h 31"/>
                <a:gd name="T10" fmla="*/ 0 w 43"/>
                <a:gd name="T11" fmla="*/ 2147483647 h 31"/>
                <a:gd name="T12" fmla="*/ 2147483647 w 43"/>
                <a:gd name="T13" fmla="*/ 2147483647 h 31"/>
                <a:gd name="T14" fmla="*/ 2147483647 w 43"/>
                <a:gd name="T15" fmla="*/ 2147483647 h 31"/>
                <a:gd name="T16" fmla="*/ 2147483647 w 43"/>
                <a:gd name="T17" fmla="*/ 2147483647 h 31"/>
                <a:gd name="T18" fmla="*/ 2147483647 w 43"/>
                <a:gd name="T19" fmla="*/ 2147483647 h 31"/>
                <a:gd name="T20" fmla="*/ 2147483647 w 43"/>
                <a:gd name="T21" fmla="*/ 0 h 31"/>
                <a:gd name="T22" fmla="*/ 2147483647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3"/>
                <a:gd name="T37" fmla="*/ 0 h 31"/>
                <a:gd name="T38" fmla="*/ 43 w 43"/>
                <a:gd name="T39" fmla="*/ 31 h 3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14" name="Freeform 316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7165975" y="3748088"/>
              <a:ext cx="30163" cy="57150"/>
            </a:xfrm>
            <a:custGeom>
              <a:avLst/>
              <a:gdLst>
                <a:gd name="T0" fmla="*/ 2147483647 w 71"/>
                <a:gd name="T1" fmla="*/ 2147483647 h 49"/>
                <a:gd name="T2" fmla="*/ 2147483647 w 71"/>
                <a:gd name="T3" fmla="*/ 2147483647 h 49"/>
                <a:gd name="T4" fmla="*/ 2147483647 w 71"/>
                <a:gd name="T5" fmla="*/ 2147483647 h 49"/>
                <a:gd name="T6" fmla="*/ 2147483647 w 71"/>
                <a:gd name="T7" fmla="*/ 2147483647 h 49"/>
                <a:gd name="T8" fmla="*/ 2147483647 w 71"/>
                <a:gd name="T9" fmla="*/ 2147483647 h 49"/>
                <a:gd name="T10" fmla="*/ 2147483647 w 71"/>
                <a:gd name="T11" fmla="*/ 2147483647 h 49"/>
                <a:gd name="T12" fmla="*/ 2147483647 w 71"/>
                <a:gd name="T13" fmla="*/ 2147483647 h 49"/>
                <a:gd name="T14" fmla="*/ 2147483647 w 71"/>
                <a:gd name="T15" fmla="*/ 2147483647 h 49"/>
                <a:gd name="T16" fmla="*/ 2147483647 w 71"/>
                <a:gd name="T17" fmla="*/ 2147483647 h 49"/>
                <a:gd name="T18" fmla="*/ 2147483647 w 71"/>
                <a:gd name="T19" fmla="*/ 2147483647 h 49"/>
                <a:gd name="T20" fmla="*/ 2147483647 w 71"/>
                <a:gd name="T21" fmla="*/ 2147483647 h 49"/>
                <a:gd name="T22" fmla="*/ 2147483647 w 71"/>
                <a:gd name="T23" fmla="*/ 2147483647 h 49"/>
                <a:gd name="T24" fmla="*/ 2147483647 w 71"/>
                <a:gd name="T25" fmla="*/ 2147483647 h 49"/>
                <a:gd name="T26" fmla="*/ 2147483647 w 71"/>
                <a:gd name="T27" fmla="*/ 2147483647 h 49"/>
                <a:gd name="T28" fmla="*/ 2147483647 w 71"/>
                <a:gd name="T29" fmla="*/ 2147483647 h 49"/>
                <a:gd name="T30" fmla="*/ 2147483647 w 71"/>
                <a:gd name="T31" fmla="*/ 2147483647 h 49"/>
                <a:gd name="T32" fmla="*/ 2147483647 w 71"/>
                <a:gd name="T33" fmla="*/ 2147483647 h 49"/>
                <a:gd name="T34" fmla="*/ 2147483647 w 71"/>
                <a:gd name="T35" fmla="*/ 2147483647 h 49"/>
                <a:gd name="T36" fmla="*/ 2147483647 w 71"/>
                <a:gd name="T37" fmla="*/ 2147483647 h 49"/>
                <a:gd name="T38" fmla="*/ 2147483647 w 71"/>
                <a:gd name="T39" fmla="*/ 2147483647 h 49"/>
                <a:gd name="T40" fmla="*/ 2147483647 w 71"/>
                <a:gd name="T41" fmla="*/ 2147483647 h 49"/>
                <a:gd name="T42" fmla="*/ 2147483647 w 71"/>
                <a:gd name="T43" fmla="*/ 2147483647 h 49"/>
                <a:gd name="T44" fmla="*/ 2147483647 w 71"/>
                <a:gd name="T45" fmla="*/ 0 h 49"/>
                <a:gd name="T46" fmla="*/ 2147483647 w 71"/>
                <a:gd name="T47" fmla="*/ 2147483647 h 49"/>
                <a:gd name="T48" fmla="*/ 2147483647 w 71"/>
                <a:gd name="T49" fmla="*/ 2147483647 h 49"/>
                <a:gd name="T50" fmla="*/ 0 w 71"/>
                <a:gd name="T51" fmla="*/ 2147483647 h 49"/>
                <a:gd name="T52" fmla="*/ 0 w 71"/>
                <a:gd name="T53" fmla="*/ 2147483647 h 49"/>
                <a:gd name="T54" fmla="*/ 2147483647 w 71"/>
                <a:gd name="T55" fmla="*/ 2147483647 h 49"/>
                <a:gd name="T56" fmla="*/ 2147483647 w 71"/>
                <a:gd name="T57" fmla="*/ 2147483647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71"/>
                <a:gd name="T88" fmla="*/ 0 h 49"/>
                <a:gd name="T89" fmla="*/ 71 w 71"/>
                <a:gd name="T90" fmla="*/ 49 h 4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15" name="Freeform 317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6967538" y="3951288"/>
              <a:ext cx="46037" cy="58737"/>
            </a:xfrm>
            <a:custGeom>
              <a:avLst/>
              <a:gdLst>
                <a:gd name="T0" fmla="*/ 2147483647 w 112"/>
                <a:gd name="T1" fmla="*/ 2147483647 h 26"/>
                <a:gd name="T2" fmla="*/ 2147483647 w 112"/>
                <a:gd name="T3" fmla="*/ 2147483647 h 26"/>
                <a:gd name="T4" fmla="*/ 2147483647 w 112"/>
                <a:gd name="T5" fmla="*/ 2147483647 h 26"/>
                <a:gd name="T6" fmla="*/ 2147483647 w 112"/>
                <a:gd name="T7" fmla="*/ 2147483647 h 26"/>
                <a:gd name="T8" fmla="*/ 2147483647 w 112"/>
                <a:gd name="T9" fmla="*/ 2147483647 h 26"/>
                <a:gd name="T10" fmla="*/ 2147483647 w 112"/>
                <a:gd name="T11" fmla="*/ 2147483647 h 26"/>
                <a:gd name="T12" fmla="*/ 2147483647 w 112"/>
                <a:gd name="T13" fmla="*/ 2147483647 h 26"/>
                <a:gd name="T14" fmla="*/ 2147483647 w 112"/>
                <a:gd name="T15" fmla="*/ 2147483647 h 26"/>
                <a:gd name="T16" fmla="*/ 2147483647 w 112"/>
                <a:gd name="T17" fmla="*/ 2147483647 h 26"/>
                <a:gd name="T18" fmla="*/ 2147483647 w 112"/>
                <a:gd name="T19" fmla="*/ 2147483647 h 26"/>
                <a:gd name="T20" fmla="*/ 2147483647 w 112"/>
                <a:gd name="T21" fmla="*/ 2147483647 h 26"/>
                <a:gd name="T22" fmla="*/ 2147483647 w 112"/>
                <a:gd name="T23" fmla="*/ 2147483647 h 26"/>
                <a:gd name="T24" fmla="*/ 2147483647 w 112"/>
                <a:gd name="T25" fmla="*/ 2147483647 h 26"/>
                <a:gd name="T26" fmla="*/ 2147483647 w 112"/>
                <a:gd name="T27" fmla="*/ 2147483647 h 26"/>
                <a:gd name="T28" fmla="*/ 2147483647 w 112"/>
                <a:gd name="T29" fmla="*/ 2147483647 h 26"/>
                <a:gd name="T30" fmla="*/ 2147483647 w 112"/>
                <a:gd name="T31" fmla="*/ 2147483647 h 26"/>
                <a:gd name="T32" fmla="*/ 2147483647 w 112"/>
                <a:gd name="T33" fmla="*/ 2147483647 h 26"/>
                <a:gd name="T34" fmla="*/ 2147483647 w 112"/>
                <a:gd name="T35" fmla="*/ 2147483647 h 26"/>
                <a:gd name="T36" fmla="*/ 0 w 112"/>
                <a:gd name="T37" fmla="*/ 2147483647 h 26"/>
                <a:gd name="T38" fmla="*/ 2147483647 w 112"/>
                <a:gd name="T39" fmla="*/ 2147483647 h 26"/>
                <a:gd name="T40" fmla="*/ 2147483647 w 112"/>
                <a:gd name="T41" fmla="*/ 2147483647 h 26"/>
                <a:gd name="T42" fmla="*/ 2147483647 w 112"/>
                <a:gd name="T43" fmla="*/ 2147483647 h 26"/>
                <a:gd name="T44" fmla="*/ 2147483647 w 112"/>
                <a:gd name="T45" fmla="*/ 0 h 26"/>
                <a:gd name="T46" fmla="*/ 2147483647 w 112"/>
                <a:gd name="T47" fmla="*/ 2147483647 h 26"/>
                <a:gd name="T48" fmla="*/ 2147483647 w 112"/>
                <a:gd name="T49" fmla="*/ 2147483647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12"/>
                <a:gd name="T76" fmla="*/ 0 h 26"/>
                <a:gd name="T77" fmla="*/ 112 w 112"/>
                <a:gd name="T78" fmla="*/ 26 h 2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16" name="Freeform 318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7065963" y="3989388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2147483647 w 41"/>
                <a:gd name="T3" fmla="*/ 0 h 25"/>
                <a:gd name="T4" fmla="*/ 2147483647 w 41"/>
                <a:gd name="T5" fmla="*/ 2147483647 h 25"/>
                <a:gd name="T6" fmla="*/ 2147483647 w 41"/>
                <a:gd name="T7" fmla="*/ 2147483647 h 25"/>
                <a:gd name="T8" fmla="*/ 2147483647 w 41"/>
                <a:gd name="T9" fmla="*/ 2147483647 h 25"/>
                <a:gd name="T10" fmla="*/ 0 w 41"/>
                <a:gd name="T11" fmla="*/ 214748364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1"/>
                <a:gd name="T22" fmla="*/ 0 h 25"/>
                <a:gd name="T23" fmla="*/ 41 w 41"/>
                <a:gd name="T24" fmla="*/ 25 h 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17" name="Freeform 319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6899275" y="3921125"/>
              <a:ext cx="36513" cy="55563"/>
            </a:xfrm>
            <a:custGeom>
              <a:avLst/>
              <a:gdLst>
                <a:gd name="T0" fmla="*/ 0 w 81"/>
                <a:gd name="T1" fmla="*/ 2147483647 h 31"/>
                <a:gd name="T2" fmla="*/ 0 w 81"/>
                <a:gd name="T3" fmla="*/ 2147483647 h 31"/>
                <a:gd name="T4" fmla="*/ 0 w 81"/>
                <a:gd name="T5" fmla="*/ 2147483647 h 31"/>
                <a:gd name="T6" fmla="*/ 0 w 81"/>
                <a:gd name="T7" fmla="*/ 2147483647 h 31"/>
                <a:gd name="T8" fmla="*/ 2147483647 w 81"/>
                <a:gd name="T9" fmla="*/ 2147483647 h 31"/>
                <a:gd name="T10" fmla="*/ 2147483647 w 81"/>
                <a:gd name="T11" fmla="*/ 2147483647 h 31"/>
                <a:gd name="T12" fmla="*/ 2147483647 w 81"/>
                <a:gd name="T13" fmla="*/ 2147483647 h 31"/>
                <a:gd name="T14" fmla="*/ 2147483647 w 81"/>
                <a:gd name="T15" fmla="*/ 2147483647 h 31"/>
                <a:gd name="T16" fmla="*/ 2147483647 w 81"/>
                <a:gd name="T17" fmla="*/ 0 h 31"/>
                <a:gd name="T18" fmla="*/ 2147483647 w 81"/>
                <a:gd name="T19" fmla="*/ 2147483647 h 31"/>
                <a:gd name="T20" fmla="*/ 2147483647 w 81"/>
                <a:gd name="T21" fmla="*/ 2147483647 h 31"/>
                <a:gd name="T22" fmla="*/ 2147483647 w 81"/>
                <a:gd name="T23" fmla="*/ 2147483647 h 31"/>
                <a:gd name="T24" fmla="*/ 2147483647 w 81"/>
                <a:gd name="T25" fmla="*/ 2147483647 h 31"/>
                <a:gd name="T26" fmla="*/ 2147483647 w 81"/>
                <a:gd name="T27" fmla="*/ 2147483647 h 31"/>
                <a:gd name="T28" fmla="*/ 2147483647 w 81"/>
                <a:gd name="T29" fmla="*/ 2147483647 h 31"/>
                <a:gd name="T30" fmla="*/ 2147483647 w 81"/>
                <a:gd name="T31" fmla="*/ 2147483647 h 31"/>
                <a:gd name="T32" fmla="*/ 2147483647 w 81"/>
                <a:gd name="T33" fmla="*/ 2147483647 h 31"/>
                <a:gd name="T34" fmla="*/ 2147483647 w 81"/>
                <a:gd name="T35" fmla="*/ 2147483647 h 31"/>
                <a:gd name="T36" fmla="*/ 2147483647 w 81"/>
                <a:gd name="T37" fmla="*/ 2147483647 h 31"/>
                <a:gd name="T38" fmla="*/ 2147483647 w 81"/>
                <a:gd name="T39" fmla="*/ 2147483647 h 31"/>
                <a:gd name="T40" fmla="*/ 2147483647 w 81"/>
                <a:gd name="T41" fmla="*/ 2147483647 h 31"/>
                <a:gd name="T42" fmla="*/ 2147483647 w 81"/>
                <a:gd name="T43" fmla="*/ 2147483647 h 31"/>
                <a:gd name="T44" fmla="*/ 2147483647 w 81"/>
                <a:gd name="T45" fmla="*/ 2147483647 h 31"/>
                <a:gd name="T46" fmla="*/ 0 w 81"/>
                <a:gd name="T47" fmla="*/ 2147483647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81"/>
                <a:gd name="T73" fmla="*/ 0 h 31"/>
                <a:gd name="T74" fmla="*/ 81 w 81"/>
                <a:gd name="T75" fmla="*/ 31 h 3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18" name="Freeform 320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6943725" y="3906838"/>
              <a:ext cx="39688" cy="55562"/>
            </a:xfrm>
            <a:custGeom>
              <a:avLst/>
              <a:gdLst>
                <a:gd name="T0" fmla="*/ 2147483647 w 89"/>
                <a:gd name="T1" fmla="*/ 2147483647 h 49"/>
                <a:gd name="T2" fmla="*/ 2147483647 w 89"/>
                <a:gd name="T3" fmla="*/ 2147483647 h 49"/>
                <a:gd name="T4" fmla="*/ 2147483647 w 89"/>
                <a:gd name="T5" fmla="*/ 2147483647 h 49"/>
                <a:gd name="T6" fmla="*/ 2147483647 w 89"/>
                <a:gd name="T7" fmla="*/ 2147483647 h 49"/>
                <a:gd name="T8" fmla="*/ 2147483647 w 89"/>
                <a:gd name="T9" fmla="*/ 2147483647 h 49"/>
                <a:gd name="T10" fmla="*/ 2147483647 w 89"/>
                <a:gd name="T11" fmla="*/ 2147483647 h 49"/>
                <a:gd name="T12" fmla="*/ 2147483647 w 89"/>
                <a:gd name="T13" fmla="*/ 2147483647 h 49"/>
                <a:gd name="T14" fmla="*/ 2147483647 w 89"/>
                <a:gd name="T15" fmla="*/ 2147483647 h 49"/>
                <a:gd name="T16" fmla="*/ 2147483647 w 89"/>
                <a:gd name="T17" fmla="*/ 2147483647 h 49"/>
                <a:gd name="T18" fmla="*/ 2147483647 w 89"/>
                <a:gd name="T19" fmla="*/ 0 h 49"/>
                <a:gd name="T20" fmla="*/ 2147483647 w 89"/>
                <a:gd name="T21" fmla="*/ 2147483647 h 49"/>
                <a:gd name="T22" fmla="*/ 2147483647 w 89"/>
                <a:gd name="T23" fmla="*/ 2147483647 h 49"/>
                <a:gd name="T24" fmla="*/ 0 w 89"/>
                <a:gd name="T25" fmla="*/ 2147483647 h 49"/>
                <a:gd name="T26" fmla="*/ 0 w 89"/>
                <a:gd name="T27" fmla="*/ 2147483647 h 49"/>
                <a:gd name="T28" fmla="*/ 0 w 89"/>
                <a:gd name="T29" fmla="*/ 2147483647 h 49"/>
                <a:gd name="T30" fmla="*/ 2147483647 w 89"/>
                <a:gd name="T31" fmla="*/ 2147483647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89"/>
                <a:gd name="T49" fmla="*/ 0 h 49"/>
                <a:gd name="T50" fmla="*/ 89 w 89"/>
                <a:gd name="T51" fmla="*/ 49 h 4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19" name="Freeform 321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6996113" y="3916363"/>
              <a:ext cx="36512" cy="58737"/>
            </a:xfrm>
            <a:custGeom>
              <a:avLst/>
              <a:gdLst>
                <a:gd name="T0" fmla="*/ 0 w 86"/>
                <a:gd name="T1" fmla="*/ 2147483647 h 46"/>
                <a:gd name="T2" fmla="*/ 2147483647 w 86"/>
                <a:gd name="T3" fmla="*/ 2147483647 h 46"/>
                <a:gd name="T4" fmla="*/ 2147483647 w 86"/>
                <a:gd name="T5" fmla="*/ 2147483647 h 46"/>
                <a:gd name="T6" fmla="*/ 2147483647 w 86"/>
                <a:gd name="T7" fmla="*/ 2147483647 h 46"/>
                <a:gd name="T8" fmla="*/ 2147483647 w 86"/>
                <a:gd name="T9" fmla="*/ 2147483647 h 46"/>
                <a:gd name="T10" fmla="*/ 2147483647 w 86"/>
                <a:gd name="T11" fmla="*/ 2147483647 h 46"/>
                <a:gd name="T12" fmla="*/ 2147483647 w 86"/>
                <a:gd name="T13" fmla="*/ 2147483647 h 46"/>
                <a:gd name="T14" fmla="*/ 2147483647 w 86"/>
                <a:gd name="T15" fmla="*/ 2147483647 h 46"/>
                <a:gd name="T16" fmla="*/ 2147483647 w 86"/>
                <a:gd name="T17" fmla="*/ 2147483647 h 46"/>
                <a:gd name="T18" fmla="*/ 2147483647 w 86"/>
                <a:gd name="T19" fmla="*/ 2147483647 h 46"/>
                <a:gd name="T20" fmla="*/ 2147483647 w 86"/>
                <a:gd name="T21" fmla="*/ 2147483647 h 46"/>
                <a:gd name="T22" fmla="*/ 2147483647 w 86"/>
                <a:gd name="T23" fmla="*/ 2147483647 h 46"/>
                <a:gd name="T24" fmla="*/ 2147483647 w 86"/>
                <a:gd name="T25" fmla="*/ 2147483647 h 46"/>
                <a:gd name="T26" fmla="*/ 2147483647 w 86"/>
                <a:gd name="T27" fmla="*/ 2147483647 h 46"/>
                <a:gd name="T28" fmla="*/ 2147483647 w 86"/>
                <a:gd name="T29" fmla="*/ 2147483647 h 46"/>
                <a:gd name="T30" fmla="*/ 2147483647 w 86"/>
                <a:gd name="T31" fmla="*/ 2147483647 h 46"/>
                <a:gd name="T32" fmla="*/ 2147483647 w 86"/>
                <a:gd name="T33" fmla="*/ 2147483647 h 46"/>
                <a:gd name="T34" fmla="*/ 2147483647 w 86"/>
                <a:gd name="T35" fmla="*/ 2147483647 h 46"/>
                <a:gd name="T36" fmla="*/ 2147483647 w 86"/>
                <a:gd name="T37" fmla="*/ 2147483647 h 46"/>
                <a:gd name="T38" fmla="*/ 2147483647 w 86"/>
                <a:gd name="T39" fmla="*/ 2147483647 h 46"/>
                <a:gd name="T40" fmla="*/ 2147483647 w 86"/>
                <a:gd name="T41" fmla="*/ 2147483647 h 46"/>
                <a:gd name="T42" fmla="*/ 2147483647 w 86"/>
                <a:gd name="T43" fmla="*/ 0 h 46"/>
                <a:gd name="T44" fmla="*/ 2147483647 w 86"/>
                <a:gd name="T45" fmla="*/ 0 h 46"/>
                <a:gd name="T46" fmla="*/ 2147483647 w 86"/>
                <a:gd name="T47" fmla="*/ 2147483647 h 46"/>
                <a:gd name="T48" fmla="*/ 2147483647 w 86"/>
                <a:gd name="T49" fmla="*/ 2147483647 h 46"/>
                <a:gd name="T50" fmla="*/ 2147483647 w 86"/>
                <a:gd name="T51" fmla="*/ 2147483647 h 46"/>
                <a:gd name="T52" fmla="*/ 2147483647 w 86"/>
                <a:gd name="T53" fmla="*/ 2147483647 h 46"/>
                <a:gd name="T54" fmla="*/ 2147483647 w 86"/>
                <a:gd name="T55" fmla="*/ 2147483647 h 46"/>
                <a:gd name="T56" fmla="*/ 0 w 86"/>
                <a:gd name="T57" fmla="*/ 2147483647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86"/>
                <a:gd name="T88" fmla="*/ 0 h 46"/>
                <a:gd name="T89" fmla="*/ 86 w 86"/>
                <a:gd name="T90" fmla="*/ 46 h 4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20" name="Freeform 322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7048500" y="3921125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2147483647 h 18"/>
                <a:gd name="T4" fmla="*/ 2147483647 w 59"/>
                <a:gd name="T5" fmla="*/ 2147483647 h 18"/>
                <a:gd name="T6" fmla="*/ 2147483647 w 59"/>
                <a:gd name="T7" fmla="*/ 2147483647 h 18"/>
                <a:gd name="T8" fmla="*/ 2147483647 w 59"/>
                <a:gd name="T9" fmla="*/ 2147483647 h 18"/>
                <a:gd name="T10" fmla="*/ 2147483647 w 59"/>
                <a:gd name="T11" fmla="*/ 2147483647 h 18"/>
                <a:gd name="T12" fmla="*/ 2147483647 w 59"/>
                <a:gd name="T13" fmla="*/ 2147483647 h 18"/>
                <a:gd name="T14" fmla="*/ 2147483647 w 59"/>
                <a:gd name="T15" fmla="*/ 2147483647 h 18"/>
                <a:gd name="T16" fmla="*/ 2147483647 w 59"/>
                <a:gd name="T17" fmla="*/ 2147483647 h 18"/>
                <a:gd name="T18" fmla="*/ 2147483647 w 59"/>
                <a:gd name="T19" fmla="*/ 2147483647 h 18"/>
                <a:gd name="T20" fmla="*/ 2147483647 w 59"/>
                <a:gd name="T21" fmla="*/ 2147483647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9"/>
                <a:gd name="T37" fmla="*/ 0 h 18"/>
                <a:gd name="T38" fmla="*/ 59 w 59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21" name="Freeform 323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7121525" y="3913188"/>
              <a:ext cx="1588" cy="55562"/>
            </a:xfrm>
            <a:custGeom>
              <a:avLst/>
              <a:gdLst>
                <a:gd name="T0" fmla="*/ 2147483647 w 4"/>
                <a:gd name="T1" fmla="*/ 2147483647 h 19"/>
                <a:gd name="T2" fmla="*/ 2147483647 w 4"/>
                <a:gd name="T3" fmla="*/ 0 h 19"/>
                <a:gd name="T4" fmla="*/ 2147483647 w 4"/>
                <a:gd name="T5" fmla="*/ 2147483647 h 19"/>
                <a:gd name="T6" fmla="*/ 2147483647 w 4"/>
                <a:gd name="T7" fmla="*/ 2147483647 h 19"/>
                <a:gd name="T8" fmla="*/ 0 w 4"/>
                <a:gd name="T9" fmla="*/ 2147483647 h 19"/>
                <a:gd name="T10" fmla="*/ 0 w 4"/>
                <a:gd name="T11" fmla="*/ 2147483647 h 19"/>
                <a:gd name="T12" fmla="*/ 0 w 4"/>
                <a:gd name="T13" fmla="*/ 2147483647 h 19"/>
                <a:gd name="T14" fmla="*/ 2147483647 w 4"/>
                <a:gd name="T15" fmla="*/ 2147483647 h 19"/>
                <a:gd name="T16" fmla="*/ 2147483647 w 4"/>
                <a:gd name="T17" fmla="*/ 2147483647 h 19"/>
                <a:gd name="T18" fmla="*/ 2147483647 w 4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9"/>
                <a:gd name="T32" fmla="*/ 4 w 4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22" name="Freeform 324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6696075" y="3727450"/>
              <a:ext cx="20638" cy="58738"/>
            </a:xfrm>
            <a:custGeom>
              <a:avLst/>
              <a:gdLst>
                <a:gd name="T0" fmla="*/ 0 w 46"/>
                <a:gd name="T1" fmla="*/ 2147483647 h 50"/>
                <a:gd name="T2" fmla="*/ 2147483647 w 46"/>
                <a:gd name="T3" fmla="*/ 0 h 50"/>
                <a:gd name="T4" fmla="*/ 2147483647 w 46"/>
                <a:gd name="T5" fmla="*/ 2147483647 h 50"/>
                <a:gd name="T6" fmla="*/ 2147483647 w 46"/>
                <a:gd name="T7" fmla="*/ 2147483647 h 50"/>
                <a:gd name="T8" fmla="*/ 2147483647 w 46"/>
                <a:gd name="T9" fmla="*/ 2147483647 h 50"/>
                <a:gd name="T10" fmla="*/ 2147483647 w 46"/>
                <a:gd name="T11" fmla="*/ 2147483647 h 50"/>
                <a:gd name="T12" fmla="*/ 2147483647 w 46"/>
                <a:gd name="T13" fmla="*/ 2147483647 h 50"/>
                <a:gd name="T14" fmla="*/ 2147483647 w 46"/>
                <a:gd name="T15" fmla="*/ 2147483647 h 50"/>
                <a:gd name="T16" fmla="*/ 2147483647 w 46"/>
                <a:gd name="T17" fmla="*/ 2147483647 h 50"/>
                <a:gd name="T18" fmla="*/ 2147483647 w 46"/>
                <a:gd name="T19" fmla="*/ 2147483647 h 50"/>
                <a:gd name="T20" fmla="*/ 2147483647 w 46"/>
                <a:gd name="T21" fmla="*/ 2147483647 h 50"/>
                <a:gd name="T22" fmla="*/ 0 w 46"/>
                <a:gd name="T23" fmla="*/ 2147483647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6"/>
                <a:gd name="T37" fmla="*/ 0 h 50"/>
                <a:gd name="T38" fmla="*/ 46 w 46"/>
                <a:gd name="T39" fmla="*/ 50 h 5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23" name="Freeform 325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6642100" y="3700463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2147483647 w 66"/>
                <a:gd name="T3" fmla="*/ 0 h 80"/>
                <a:gd name="T4" fmla="*/ 2147483647 w 66"/>
                <a:gd name="T5" fmla="*/ 0 h 80"/>
                <a:gd name="T6" fmla="*/ 2147483647 w 66"/>
                <a:gd name="T7" fmla="*/ 0 h 80"/>
                <a:gd name="T8" fmla="*/ 2147483647 w 66"/>
                <a:gd name="T9" fmla="*/ 0 h 80"/>
                <a:gd name="T10" fmla="*/ 2147483647 w 66"/>
                <a:gd name="T11" fmla="*/ 2147483647 h 80"/>
                <a:gd name="T12" fmla="*/ 2147483647 w 66"/>
                <a:gd name="T13" fmla="*/ 2147483647 h 80"/>
                <a:gd name="T14" fmla="*/ 2147483647 w 66"/>
                <a:gd name="T15" fmla="*/ 2147483647 h 80"/>
                <a:gd name="T16" fmla="*/ 2147483647 w 66"/>
                <a:gd name="T17" fmla="*/ 2147483647 h 80"/>
                <a:gd name="T18" fmla="*/ 2147483647 w 66"/>
                <a:gd name="T19" fmla="*/ 2147483647 h 80"/>
                <a:gd name="T20" fmla="*/ 2147483647 w 66"/>
                <a:gd name="T21" fmla="*/ 2147483647 h 80"/>
                <a:gd name="T22" fmla="*/ 2147483647 w 66"/>
                <a:gd name="T23" fmla="*/ 2147483647 h 80"/>
                <a:gd name="T24" fmla="*/ 2147483647 w 66"/>
                <a:gd name="T25" fmla="*/ 2147483647 h 80"/>
                <a:gd name="T26" fmla="*/ 2147483647 w 66"/>
                <a:gd name="T27" fmla="*/ 2147483647 h 80"/>
                <a:gd name="T28" fmla="*/ 2147483647 w 66"/>
                <a:gd name="T29" fmla="*/ 2147483647 h 80"/>
                <a:gd name="T30" fmla="*/ 2147483647 w 66"/>
                <a:gd name="T31" fmla="*/ 2147483647 h 80"/>
                <a:gd name="T32" fmla="*/ 2147483647 w 66"/>
                <a:gd name="T33" fmla="*/ 2147483647 h 80"/>
                <a:gd name="T34" fmla="*/ 0 w 66"/>
                <a:gd name="T35" fmla="*/ 2147483647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6"/>
                <a:gd name="T58" fmla="*/ 0 h 80"/>
                <a:gd name="T59" fmla="*/ 66 w 66"/>
                <a:gd name="T60" fmla="*/ 80 h 8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24" name="Freeform 326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6477000" y="3684588"/>
              <a:ext cx="7938" cy="57150"/>
            </a:xfrm>
            <a:custGeom>
              <a:avLst/>
              <a:gdLst>
                <a:gd name="T0" fmla="*/ 2147483647 w 20"/>
                <a:gd name="T1" fmla="*/ 2147483647 h 48"/>
                <a:gd name="T2" fmla="*/ 2147483647 w 20"/>
                <a:gd name="T3" fmla="*/ 2147483647 h 48"/>
                <a:gd name="T4" fmla="*/ 2147483647 w 20"/>
                <a:gd name="T5" fmla="*/ 2147483647 h 48"/>
                <a:gd name="T6" fmla="*/ 2147483647 w 20"/>
                <a:gd name="T7" fmla="*/ 2147483647 h 48"/>
                <a:gd name="T8" fmla="*/ 2147483647 w 20"/>
                <a:gd name="T9" fmla="*/ 2147483647 h 48"/>
                <a:gd name="T10" fmla="*/ 2147483647 w 20"/>
                <a:gd name="T11" fmla="*/ 2147483647 h 48"/>
                <a:gd name="T12" fmla="*/ 2147483647 w 20"/>
                <a:gd name="T13" fmla="*/ 2147483647 h 48"/>
                <a:gd name="T14" fmla="*/ 2147483647 w 20"/>
                <a:gd name="T15" fmla="*/ 2147483647 h 48"/>
                <a:gd name="T16" fmla="*/ 0 w 20"/>
                <a:gd name="T17" fmla="*/ 0 h 48"/>
                <a:gd name="T18" fmla="*/ 0 w 20"/>
                <a:gd name="T19" fmla="*/ 2147483647 h 48"/>
                <a:gd name="T20" fmla="*/ 2147483647 w 20"/>
                <a:gd name="T21" fmla="*/ 2147483647 h 48"/>
                <a:gd name="T22" fmla="*/ 2147483647 w 20"/>
                <a:gd name="T23" fmla="*/ 2147483647 h 48"/>
                <a:gd name="T24" fmla="*/ 2147483647 w 20"/>
                <a:gd name="T25" fmla="*/ 2147483647 h 48"/>
                <a:gd name="T26" fmla="*/ 2147483647 w 20"/>
                <a:gd name="T27" fmla="*/ 2147483647 h 48"/>
                <a:gd name="T28" fmla="*/ 2147483647 w 20"/>
                <a:gd name="T29" fmla="*/ 2147483647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0"/>
                <a:gd name="T46" fmla="*/ 0 h 48"/>
                <a:gd name="T47" fmla="*/ 20 w 20"/>
                <a:gd name="T48" fmla="*/ 48 h 4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25" name="Line 327" descr="Horizontal dunkel"/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6502400" y="3721100"/>
              <a:ext cx="4763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626" name="Freeform 328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6499225" y="3721100"/>
              <a:ext cx="7938" cy="57150"/>
            </a:xfrm>
            <a:custGeom>
              <a:avLst/>
              <a:gdLst>
                <a:gd name="T0" fmla="*/ 2147483647 w 20"/>
                <a:gd name="T1" fmla="*/ 2147483647 h 12"/>
                <a:gd name="T2" fmla="*/ 2147483647 w 20"/>
                <a:gd name="T3" fmla="*/ 2147483647 h 12"/>
                <a:gd name="T4" fmla="*/ 2147483647 w 20"/>
                <a:gd name="T5" fmla="*/ 2147483647 h 12"/>
                <a:gd name="T6" fmla="*/ 2147483647 w 20"/>
                <a:gd name="T7" fmla="*/ 2147483647 h 12"/>
                <a:gd name="T8" fmla="*/ 2147483647 w 20"/>
                <a:gd name="T9" fmla="*/ 2147483647 h 12"/>
                <a:gd name="T10" fmla="*/ 2147483647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"/>
                <a:gd name="T22" fmla="*/ 0 h 12"/>
                <a:gd name="T23" fmla="*/ 20 w 20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27" name="Freeform 329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6400800" y="3565525"/>
              <a:ext cx="22225" cy="57150"/>
            </a:xfrm>
            <a:custGeom>
              <a:avLst/>
              <a:gdLst>
                <a:gd name="T0" fmla="*/ 2147483647 w 53"/>
                <a:gd name="T1" fmla="*/ 0 h 30"/>
                <a:gd name="T2" fmla="*/ 2147483647 w 53"/>
                <a:gd name="T3" fmla="*/ 2147483647 h 30"/>
                <a:gd name="T4" fmla="*/ 2147483647 w 53"/>
                <a:gd name="T5" fmla="*/ 2147483647 h 30"/>
                <a:gd name="T6" fmla="*/ 2147483647 w 53"/>
                <a:gd name="T7" fmla="*/ 2147483647 h 30"/>
                <a:gd name="T8" fmla="*/ 2147483647 w 53"/>
                <a:gd name="T9" fmla="*/ 2147483647 h 30"/>
                <a:gd name="T10" fmla="*/ 2147483647 w 53"/>
                <a:gd name="T11" fmla="*/ 2147483647 h 30"/>
                <a:gd name="T12" fmla="*/ 2147483647 w 53"/>
                <a:gd name="T13" fmla="*/ 2147483647 h 30"/>
                <a:gd name="T14" fmla="*/ 2147483647 w 53"/>
                <a:gd name="T15" fmla="*/ 2147483647 h 30"/>
                <a:gd name="T16" fmla="*/ 2147483647 w 53"/>
                <a:gd name="T17" fmla="*/ 2147483647 h 30"/>
                <a:gd name="T18" fmla="*/ 2147483647 w 53"/>
                <a:gd name="T19" fmla="*/ 2147483647 h 30"/>
                <a:gd name="T20" fmla="*/ 2147483647 w 53"/>
                <a:gd name="T21" fmla="*/ 2147483647 h 30"/>
                <a:gd name="T22" fmla="*/ 2147483647 w 53"/>
                <a:gd name="T23" fmla="*/ 2147483647 h 30"/>
                <a:gd name="T24" fmla="*/ 0 w 53"/>
                <a:gd name="T25" fmla="*/ 2147483647 h 30"/>
                <a:gd name="T26" fmla="*/ 2147483647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3"/>
                <a:gd name="T43" fmla="*/ 0 h 30"/>
                <a:gd name="T44" fmla="*/ 53 w 53"/>
                <a:gd name="T45" fmla="*/ 30 h 3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28" name="Freeform 330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6929438" y="3929063"/>
              <a:ext cx="11112" cy="57150"/>
            </a:xfrm>
            <a:custGeom>
              <a:avLst/>
              <a:gdLst>
                <a:gd name="T0" fmla="*/ 0 w 33"/>
                <a:gd name="T1" fmla="*/ 2147483647 h 31"/>
                <a:gd name="T2" fmla="*/ 2147483647 w 33"/>
                <a:gd name="T3" fmla="*/ 2147483647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0 h 31"/>
                <a:gd name="T12" fmla="*/ 2147483647 w 33"/>
                <a:gd name="T13" fmla="*/ 0 h 31"/>
                <a:gd name="T14" fmla="*/ 2147483647 w 33"/>
                <a:gd name="T15" fmla="*/ 0 h 31"/>
                <a:gd name="T16" fmla="*/ 2147483647 w 33"/>
                <a:gd name="T17" fmla="*/ 0 h 31"/>
                <a:gd name="T18" fmla="*/ 0 w 33"/>
                <a:gd name="T19" fmla="*/ 0 h 31"/>
                <a:gd name="T20" fmla="*/ 0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31"/>
                <a:gd name="T35" fmla="*/ 33 w 33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29" name="Freeform 331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7445375" y="3886200"/>
              <a:ext cx="28575" cy="55563"/>
            </a:xfrm>
            <a:custGeom>
              <a:avLst/>
              <a:gdLst>
                <a:gd name="T0" fmla="*/ 2147483647 w 65"/>
                <a:gd name="T1" fmla="*/ 2147483647 h 68"/>
                <a:gd name="T2" fmla="*/ 2147483647 w 65"/>
                <a:gd name="T3" fmla="*/ 2147483647 h 68"/>
                <a:gd name="T4" fmla="*/ 2147483647 w 65"/>
                <a:gd name="T5" fmla="*/ 2147483647 h 68"/>
                <a:gd name="T6" fmla="*/ 2147483647 w 65"/>
                <a:gd name="T7" fmla="*/ 2147483647 h 68"/>
                <a:gd name="T8" fmla="*/ 2147483647 w 65"/>
                <a:gd name="T9" fmla="*/ 2147483647 h 68"/>
                <a:gd name="T10" fmla="*/ 2147483647 w 65"/>
                <a:gd name="T11" fmla="*/ 2147483647 h 68"/>
                <a:gd name="T12" fmla="*/ 2147483647 w 65"/>
                <a:gd name="T13" fmla="*/ 2147483647 h 68"/>
                <a:gd name="T14" fmla="*/ 0 w 65"/>
                <a:gd name="T15" fmla="*/ 2147483647 h 68"/>
                <a:gd name="T16" fmla="*/ 0 w 65"/>
                <a:gd name="T17" fmla="*/ 2147483647 h 68"/>
                <a:gd name="T18" fmla="*/ 0 w 65"/>
                <a:gd name="T19" fmla="*/ 2147483647 h 68"/>
                <a:gd name="T20" fmla="*/ 2147483647 w 65"/>
                <a:gd name="T21" fmla="*/ 2147483647 h 68"/>
                <a:gd name="T22" fmla="*/ 2147483647 w 65"/>
                <a:gd name="T23" fmla="*/ 2147483647 h 68"/>
                <a:gd name="T24" fmla="*/ 2147483647 w 65"/>
                <a:gd name="T25" fmla="*/ 2147483647 h 68"/>
                <a:gd name="T26" fmla="*/ 2147483647 w 65"/>
                <a:gd name="T27" fmla="*/ 2147483647 h 68"/>
                <a:gd name="T28" fmla="*/ 2147483647 w 65"/>
                <a:gd name="T29" fmla="*/ 2147483647 h 68"/>
                <a:gd name="T30" fmla="*/ 2147483647 w 65"/>
                <a:gd name="T31" fmla="*/ 2147483647 h 68"/>
                <a:gd name="T32" fmla="*/ 2147483647 w 65"/>
                <a:gd name="T33" fmla="*/ 0 h 68"/>
                <a:gd name="T34" fmla="*/ 2147483647 w 65"/>
                <a:gd name="T35" fmla="*/ 0 h 68"/>
                <a:gd name="T36" fmla="*/ 2147483647 w 65"/>
                <a:gd name="T37" fmla="*/ 0 h 68"/>
                <a:gd name="T38" fmla="*/ 2147483647 w 65"/>
                <a:gd name="T39" fmla="*/ 2147483647 h 68"/>
                <a:gd name="T40" fmla="*/ 2147483647 w 65"/>
                <a:gd name="T41" fmla="*/ 2147483647 h 68"/>
                <a:gd name="T42" fmla="*/ 2147483647 w 65"/>
                <a:gd name="T43" fmla="*/ 2147483647 h 68"/>
                <a:gd name="T44" fmla="*/ 2147483647 w 65"/>
                <a:gd name="T45" fmla="*/ 2147483647 h 68"/>
                <a:gd name="T46" fmla="*/ 2147483647 w 65"/>
                <a:gd name="T47" fmla="*/ 2147483647 h 68"/>
                <a:gd name="T48" fmla="*/ 2147483647 w 65"/>
                <a:gd name="T49" fmla="*/ 2147483647 h 68"/>
                <a:gd name="T50" fmla="*/ 2147483647 w 65"/>
                <a:gd name="T51" fmla="*/ 2147483647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5"/>
                <a:gd name="T79" fmla="*/ 0 h 68"/>
                <a:gd name="T80" fmla="*/ 65 w 65"/>
                <a:gd name="T81" fmla="*/ 68 h 6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30" name="Freeform 332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6383338" y="3468688"/>
              <a:ext cx="274637" cy="368300"/>
            </a:xfrm>
            <a:custGeom>
              <a:avLst/>
              <a:gdLst>
                <a:gd name="T0" fmla="*/ 2147483647 w 625"/>
                <a:gd name="T1" fmla="*/ 2147483647 h 694"/>
                <a:gd name="T2" fmla="*/ 2147483647 w 625"/>
                <a:gd name="T3" fmla="*/ 2147483647 h 694"/>
                <a:gd name="T4" fmla="*/ 2147483647 w 625"/>
                <a:gd name="T5" fmla="*/ 2147483647 h 694"/>
                <a:gd name="T6" fmla="*/ 2147483647 w 625"/>
                <a:gd name="T7" fmla="*/ 2147483647 h 694"/>
                <a:gd name="T8" fmla="*/ 2147483647 w 625"/>
                <a:gd name="T9" fmla="*/ 2147483647 h 694"/>
                <a:gd name="T10" fmla="*/ 2147483647 w 625"/>
                <a:gd name="T11" fmla="*/ 2147483647 h 694"/>
                <a:gd name="T12" fmla="*/ 2147483647 w 625"/>
                <a:gd name="T13" fmla="*/ 2147483647 h 694"/>
                <a:gd name="T14" fmla="*/ 2147483647 w 625"/>
                <a:gd name="T15" fmla="*/ 2147483647 h 694"/>
                <a:gd name="T16" fmla="*/ 2147483647 w 625"/>
                <a:gd name="T17" fmla="*/ 2147483647 h 694"/>
                <a:gd name="T18" fmla="*/ 2147483647 w 625"/>
                <a:gd name="T19" fmla="*/ 2147483647 h 694"/>
                <a:gd name="T20" fmla="*/ 2147483647 w 625"/>
                <a:gd name="T21" fmla="*/ 2147483647 h 694"/>
                <a:gd name="T22" fmla="*/ 2147483647 w 625"/>
                <a:gd name="T23" fmla="*/ 2147483647 h 694"/>
                <a:gd name="T24" fmla="*/ 2147483647 w 625"/>
                <a:gd name="T25" fmla="*/ 2147483647 h 694"/>
                <a:gd name="T26" fmla="*/ 2147483647 w 625"/>
                <a:gd name="T27" fmla="*/ 2147483647 h 694"/>
                <a:gd name="T28" fmla="*/ 2147483647 w 625"/>
                <a:gd name="T29" fmla="*/ 2147483647 h 694"/>
                <a:gd name="T30" fmla="*/ 2147483647 w 625"/>
                <a:gd name="T31" fmla="*/ 2147483647 h 694"/>
                <a:gd name="T32" fmla="*/ 2147483647 w 625"/>
                <a:gd name="T33" fmla="*/ 2147483647 h 694"/>
                <a:gd name="T34" fmla="*/ 2147483647 w 625"/>
                <a:gd name="T35" fmla="*/ 2147483647 h 694"/>
                <a:gd name="T36" fmla="*/ 2147483647 w 625"/>
                <a:gd name="T37" fmla="*/ 2147483647 h 694"/>
                <a:gd name="T38" fmla="*/ 2147483647 w 625"/>
                <a:gd name="T39" fmla="*/ 2147483647 h 694"/>
                <a:gd name="T40" fmla="*/ 2147483647 w 625"/>
                <a:gd name="T41" fmla="*/ 2147483647 h 694"/>
                <a:gd name="T42" fmla="*/ 2147483647 w 625"/>
                <a:gd name="T43" fmla="*/ 2147483647 h 694"/>
                <a:gd name="T44" fmla="*/ 2147483647 w 625"/>
                <a:gd name="T45" fmla="*/ 2147483647 h 694"/>
                <a:gd name="T46" fmla="*/ 2147483647 w 625"/>
                <a:gd name="T47" fmla="*/ 2147483647 h 694"/>
                <a:gd name="T48" fmla="*/ 2147483647 w 625"/>
                <a:gd name="T49" fmla="*/ 2147483647 h 694"/>
                <a:gd name="T50" fmla="*/ 2147483647 w 625"/>
                <a:gd name="T51" fmla="*/ 2147483647 h 694"/>
                <a:gd name="T52" fmla="*/ 2147483647 w 625"/>
                <a:gd name="T53" fmla="*/ 2147483647 h 694"/>
                <a:gd name="T54" fmla="*/ 2147483647 w 625"/>
                <a:gd name="T55" fmla="*/ 2147483647 h 694"/>
                <a:gd name="T56" fmla="*/ 2147483647 w 625"/>
                <a:gd name="T57" fmla="*/ 2147483647 h 694"/>
                <a:gd name="T58" fmla="*/ 2147483647 w 625"/>
                <a:gd name="T59" fmla="*/ 2147483647 h 694"/>
                <a:gd name="T60" fmla="*/ 2147483647 w 625"/>
                <a:gd name="T61" fmla="*/ 2147483647 h 694"/>
                <a:gd name="T62" fmla="*/ 2147483647 w 625"/>
                <a:gd name="T63" fmla="*/ 2147483647 h 694"/>
                <a:gd name="T64" fmla="*/ 2147483647 w 625"/>
                <a:gd name="T65" fmla="*/ 2147483647 h 694"/>
                <a:gd name="T66" fmla="*/ 2147483647 w 625"/>
                <a:gd name="T67" fmla="*/ 2147483647 h 694"/>
                <a:gd name="T68" fmla="*/ 2147483647 w 625"/>
                <a:gd name="T69" fmla="*/ 2147483647 h 694"/>
                <a:gd name="T70" fmla="*/ 2147483647 w 625"/>
                <a:gd name="T71" fmla="*/ 2147483647 h 694"/>
                <a:gd name="T72" fmla="*/ 2147483647 w 625"/>
                <a:gd name="T73" fmla="*/ 2147483647 h 694"/>
                <a:gd name="T74" fmla="*/ 2147483647 w 625"/>
                <a:gd name="T75" fmla="*/ 2147483647 h 694"/>
                <a:gd name="T76" fmla="*/ 2147483647 w 625"/>
                <a:gd name="T77" fmla="*/ 2147483647 h 694"/>
                <a:gd name="T78" fmla="*/ 2147483647 w 625"/>
                <a:gd name="T79" fmla="*/ 2147483647 h 694"/>
                <a:gd name="T80" fmla="*/ 2147483647 w 625"/>
                <a:gd name="T81" fmla="*/ 2147483647 h 694"/>
                <a:gd name="T82" fmla="*/ 2147483647 w 625"/>
                <a:gd name="T83" fmla="*/ 2147483647 h 694"/>
                <a:gd name="T84" fmla="*/ 2147483647 w 625"/>
                <a:gd name="T85" fmla="*/ 2147483647 h 694"/>
                <a:gd name="T86" fmla="*/ 2147483647 w 625"/>
                <a:gd name="T87" fmla="*/ 2147483647 h 694"/>
                <a:gd name="T88" fmla="*/ 2147483647 w 625"/>
                <a:gd name="T89" fmla="*/ 2147483647 h 694"/>
                <a:gd name="T90" fmla="*/ 2147483647 w 625"/>
                <a:gd name="T91" fmla="*/ 2147483647 h 694"/>
                <a:gd name="T92" fmla="*/ 2147483647 w 625"/>
                <a:gd name="T93" fmla="*/ 2147483647 h 694"/>
                <a:gd name="T94" fmla="*/ 2147483647 w 625"/>
                <a:gd name="T95" fmla="*/ 2147483647 h 694"/>
                <a:gd name="T96" fmla="*/ 2147483647 w 625"/>
                <a:gd name="T97" fmla="*/ 2147483647 h 694"/>
                <a:gd name="T98" fmla="*/ 2147483647 w 625"/>
                <a:gd name="T99" fmla="*/ 2147483647 h 694"/>
                <a:gd name="T100" fmla="*/ 2147483647 w 625"/>
                <a:gd name="T101" fmla="*/ 2147483647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25"/>
                <a:gd name="T154" fmla="*/ 0 h 694"/>
                <a:gd name="T155" fmla="*/ 625 w 625"/>
                <a:gd name="T156" fmla="*/ 694 h 6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31" name="Freeform 333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6724650" y="3517900"/>
              <a:ext cx="254000" cy="257175"/>
            </a:xfrm>
            <a:custGeom>
              <a:avLst/>
              <a:gdLst>
                <a:gd name="T0" fmla="*/ 2147483647 w 585"/>
                <a:gd name="T1" fmla="*/ 2147483647 h 493"/>
                <a:gd name="T2" fmla="*/ 2147483647 w 585"/>
                <a:gd name="T3" fmla="*/ 2147483647 h 493"/>
                <a:gd name="T4" fmla="*/ 2147483647 w 585"/>
                <a:gd name="T5" fmla="*/ 2147483647 h 493"/>
                <a:gd name="T6" fmla="*/ 2147483647 w 585"/>
                <a:gd name="T7" fmla="*/ 2147483647 h 493"/>
                <a:gd name="T8" fmla="*/ 2147483647 w 585"/>
                <a:gd name="T9" fmla="*/ 2147483647 h 493"/>
                <a:gd name="T10" fmla="*/ 2147483647 w 585"/>
                <a:gd name="T11" fmla="*/ 2147483647 h 493"/>
                <a:gd name="T12" fmla="*/ 2147483647 w 585"/>
                <a:gd name="T13" fmla="*/ 2147483647 h 493"/>
                <a:gd name="T14" fmla="*/ 2147483647 w 585"/>
                <a:gd name="T15" fmla="*/ 2147483647 h 493"/>
                <a:gd name="T16" fmla="*/ 2147483647 w 585"/>
                <a:gd name="T17" fmla="*/ 2147483647 h 493"/>
                <a:gd name="T18" fmla="*/ 2147483647 w 585"/>
                <a:gd name="T19" fmla="*/ 2147483647 h 493"/>
                <a:gd name="T20" fmla="*/ 2147483647 w 585"/>
                <a:gd name="T21" fmla="*/ 2147483647 h 493"/>
                <a:gd name="T22" fmla="*/ 2147483647 w 585"/>
                <a:gd name="T23" fmla="*/ 2147483647 h 493"/>
                <a:gd name="T24" fmla="*/ 2147483647 w 585"/>
                <a:gd name="T25" fmla="*/ 2147483647 h 493"/>
                <a:gd name="T26" fmla="*/ 2147483647 w 585"/>
                <a:gd name="T27" fmla="*/ 2147483647 h 493"/>
                <a:gd name="T28" fmla="*/ 2147483647 w 585"/>
                <a:gd name="T29" fmla="*/ 2147483647 h 493"/>
                <a:gd name="T30" fmla="*/ 2147483647 w 585"/>
                <a:gd name="T31" fmla="*/ 2147483647 h 493"/>
                <a:gd name="T32" fmla="*/ 2147483647 w 585"/>
                <a:gd name="T33" fmla="*/ 2147483647 h 493"/>
                <a:gd name="T34" fmla="*/ 2147483647 w 585"/>
                <a:gd name="T35" fmla="*/ 2147483647 h 493"/>
                <a:gd name="T36" fmla="*/ 2147483647 w 585"/>
                <a:gd name="T37" fmla="*/ 2147483647 h 493"/>
                <a:gd name="T38" fmla="*/ 2147483647 w 585"/>
                <a:gd name="T39" fmla="*/ 2147483647 h 493"/>
                <a:gd name="T40" fmla="*/ 2147483647 w 585"/>
                <a:gd name="T41" fmla="*/ 2147483647 h 493"/>
                <a:gd name="T42" fmla="*/ 2147483647 w 585"/>
                <a:gd name="T43" fmla="*/ 2147483647 h 493"/>
                <a:gd name="T44" fmla="*/ 2147483647 w 585"/>
                <a:gd name="T45" fmla="*/ 2147483647 h 493"/>
                <a:gd name="T46" fmla="*/ 2147483647 w 585"/>
                <a:gd name="T47" fmla="*/ 2147483647 h 493"/>
                <a:gd name="T48" fmla="*/ 2147483647 w 585"/>
                <a:gd name="T49" fmla="*/ 2147483647 h 493"/>
                <a:gd name="T50" fmla="*/ 2147483647 w 585"/>
                <a:gd name="T51" fmla="*/ 2147483647 h 493"/>
                <a:gd name="T52" fmla="*/ 2147483647 w 585"/>
                <a:gd name="T53" fmla="*/ 2147483647 h 493"/>
                <a:gd name="T54" fmla="*/ 2147483647 w 585"/>
                <a:gd name="T55" fmla="*/ 2147483647 h 493"/>
                <a:gd name="T56" fmla="*/ 2147483647 w 585"/>
                <a:gd name="T57" fmla="*/ 2147483647 h 493"/>
                <a:gd name="T58" fmla="*/ 2147483647 w 585"/>
                <a:gd name="T59" fmla="*/ 2147483647 h 493"/>
                <a:gd name="T60" fmla="*/ 2147483647 w 585"/>
                <a:gd name="T61" fmla="*/ 2147483647 h 493"/>
                <a:gd name="T62" fmla="*/ 2147483647 w 585"/>
                <a:gd name="T63" fmla="*/ 2147483647 h 493"/>
                <a:gd name="T64" fmla="*/ 2147483647 w 585"/>
                <a:gd name="T65" fmla="*/ 2147483647 h 493"/>
                <a:gd name="T66" fmla="*/ 2147483647 w 585"/>
                <a:gd name="T67" fmla="*/ 2147483647 h 493"/>
                <a:gd name="T68" fmla="*/ 2147483647 w 585"/>
                <a:gd name="T69" fmla="*/ 2147483647 h 493"/>
                <a:gd name="T70" fmla="*/ 2147483647 w 585"/>
                <a:gd name="T71" fmla="*/ 2147483647 h 493"/>
                <a:gd name="T72" fmla="*/ 2147483647 w 585"/>
                <a:gd name="T73" fmla="*/ 2147483647 h 493"/>
                <a:gd name="T74" fmla="*/ 2147483647 w 585"/>
                <a:gd name="T75" fmla="*/ 2147483647 h 493"/>
                <a:gd name="T76" fmla="*/ 2147483647 w 585"/>
                <a:gd name="T77" fmla="*/ 2147483647 h 493"/>
                <a:gd name="T78" fmla="*/ 2147483647 w 585"/>
                <a:gd name="T79" fmla="*/ 2147483647 h 493"/>
                <a:gd name="T80" fmla="*/ 2147483647 w 585"/>
                <a:gd name="T81" fmla="*/ 2147483647 h 493"/>
                <a:gd name="T82" fmla="*/ 2147483647 w 585"/>
                <a:gd name="T83" fmla="*/ 2147483647 h 493"/>
                <a:gd name="T84" fmla="*/ 2147483647 w 585"/>
                <a:gd name="T85" fmla="*/ 2147483647 h 493"/>
                <a:gd name="T86" fmla="*/ 2147483647 w 585"/>
                <a:gd name="T87" fmla="*/ 2147483647 h 493"/>
                <a:gd name="T88" fmla="*/ 2147483647 w 585"/>
                <a:gd name="T89" fmla="*/ 2147483647 h 493"/>
                <a:gd name="T90" fmla="*/ 2147483647 w 585"/>
                <a:gd name="T91" fmla="*/ 2147483647 h 493"/>
                <a:gd name="T92" fmla="*/ 2147483647 w 585"/>
                <a:gd name="T93" fmla="*/ 2147483647 h 493"/>
                <a:gd name="T94" fmla="*/ 2147483647 w 585"/>
                <a:gd name="T95" fmla="*/ 2147483647 h 493"/>
                <a:gd name="T96" fmla="*/ 2147483647 w 585"/>
                <a:gd name="T97" fmla="*/ 2147483647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85"/>
                <a:gd name="T148" fmla="*/ 0 h 493"/>
                <a:gd name="T149" fmla="*/ 585 w 585"/>
                <a:gd name="T150" fmla="*/ 493 h 49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32" name="Freeform 334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7080250" y="3924300"/>
              <a:ext cx="92075" cy="57150"/>
            </a:xfrm>
            <a:custGeom>
              <a:avLst/>
              <a:gdLst>
                <a:gd name="T0" fmla="*/ 0 w 212"/>
                <a:gd name="T1" fmla="*/ 2147483647 h 105"/>
                <a:gd name="T2" fmla="*/ 2147483647 w 212"/>
                <a:gd name="T3" fmla="*/ 2147483647 h 105"/>
                <a:gd name="T4" fmla="*/ 2147483647 w 212"/>
                <a:gd name="T5" fmla="*/ 2147483647 h 105"/>
                <a:gd name="T6" fmla="*/ 2147483647 w 212"/>
                <a:gd name="T7" fmla="*/ 2147483647 h 105"/>
                <a:gd name="T8" fmla="*/ 2147483647 w 212"/>
                <a:gd name="T9" fmla="*/ 2147483647 h 105"/>
                <a:gd name="T10" fmla="*/ 2147483647 w 212"/>
                <a:gd name="T11" fmla="*/ 2147483647 h 105"/>
                <a:gd name="T12" fmla="*/ 2147483647 w 212"/>
                <a:gd name="T13" fmla="*/ 2147483647 h 105"/>
                <a:gd name="T14" fmla="*/ 2147483647 w 212"/>
                <a:gd name="T15" fmla="*/ 2147483647 h 105"/>
                <a:gd name="T16" fmla="*/ 2147483647 w 212"/>
                <a:gd name="T17" fmla="*/ 2147483647 h 105"/>
                <a:gd name="T18" fmla="*/ 2147483647 w 212"/>
                <a:gd name="T19" fmla="*/ 2147483647 h 105"/>
                <a:gd name="T20" fmla="*/ 2147483647 w 212"/>
                <a:gd name="T21" fmla="*/ 2147483647 h 105"/>
                <a:gd name="T22" fmla="*/ 2147483647 w 212"/>
                <a:gd name="T23" fmla="*/ 2147483647 h 105"/>
                <a:gd name="T24" fmla="*/ 2147483647 w 212"/>
                <a:gd name="T25" fmla="*/ 0 h 105"/>
                <a:gd name="T26" fmla="*/ 2147483647 w 212"/>
                <a:gd name="T27" fmla="*/ 0 h 105"/>
                <a:gd name="T28" fmla="*/ 2147483647 w 212"/>
                <a:gd name="T29" fmla="*/ 2147483647 h 105"/>
                <a:gd name="T30" fmla="*/ 2147483647 w 212"/>
                <a:gd name="T31" fmla="*/ 2147483647 h 105"/>
                <a:gd name="T32" fmla="*/ 2147483647 w 212"/>
                <a:gd name="T33" fmla="*/ 2147483647 h 105"/>
                <a:gd name="T34" fmla="*/ 2147483647 w 212"/>
                <a:gd name="T35" fmla="*/ 2147483647 h 105"/>
                <a:gd name="T36" fmla="*/ 2147483647 w 212"/>
                <a:gd name="T37" fmla="*/ 2147483647 h 105"/>
                <a:gd name="T38" fmla="*/ 2147483647 w 212"/>
                <a:gd name="T39" fmla="*/ 2147483647 h 105"/>
                <a:gd name="T40" fmla="*/ 2147483647 w 212"/>
                <a:gd name="T41" fmla="*/ 2147483647 h 105"/>
                <a:gd name="T42" fmla="*/ 2147483647 w 212"/>
                <a:gd name="T43" fmla="*/ 2147483647 h 105"/>
                <a:gd name="T44" fmla="*/ 2147483647 w 212"/>
                <a:gd name="T45" fmla="*/ 2147483647 h 105"/>
                <a:gd name="T46" fmla="*/ 0 w 212"/>
                <a:gd name="T47" fmla="*/ 2147483647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12"/>
                <a:gd name="T73" fmla="*/ 0 h 105"/>
                <a:gd name="T74" fmla="*/ 212 w 212"/>
                <a:gd name="T75" fmla="*/ 105 h 10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33" name="Freeform 335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7196138" y="3590925"/>
              <a:ext cx="42862" cy="88900"/>
            </a:xfrm>
            <a:custGeom>
              <a:avLst/>
              <a:gdLst>
                <a:gd name="T0" fmla="*/ 0 w 92"/>
                <a:gd name="T1" fmla="*/ 2147483647 h 166"/>
                <a:gd name="T2" fmla="*/ 0 w 92"/>
                <a:gd name="T3" fmla="*/ 2147483647 h 166"/>
                <a:gd name="T4" fmla="*/ 2147483647 w 92"/>
                <a:gd name="T5" fmla="*/ 2147483647 h 166"/>
                <a:gd name="T6" fmla="*/ 2147483647 w 92"/>
                <a:gd name="T7" fmla="*/ 2147483647 h 166"/>
                <a:gd name="T8" fmla="*/ 2147483647 w 92"/>
                <a:gd name="T9" fmla="*/ 2147483647 h 166"/>
                <a:gd name="T10" fmla="*/ 2147483647 w 92"/>
                <a:gd name="T11" fmla="*/ 2147483647 h 166"/>
                <a:gd name="T12" fmla="*/ 2147483647 w 92"/>
                <a:gd name="T13" fmla="*/ 2147483647 h 166"/>
                <a:gd name="T14" fmla="*/ 2147483647 w 92"/>
                <a:gd name="T15" fmla="*/ 2147483647 h 166"/>
                <a:gd name="T16" fmla="*/ 2147483647 w 92"/>
                <a:gd name="T17" fmla="*/ 2147483647 h 166"/>
                <a:gd name="T18" fmla="*/ 2147483647 w 92"/>
                <a:gd name="T19" fmla="*/ 2147483647 h 166"/>
                <a:gd name="T20" fmla="*/ 2147483647 w 92"/>
                <a:gd name="T21" fmla="*/ 2147483647 h 166"/>
                <a:gd name="T22" fmla="*/ 2147483647 w 92"/>
                <a:gd name="T23" fmla="*/ 2147483647 h 166"/>
                <a:gd name="T24" fmla="*/ 2147483647 w 92"/>
                <a:gd name="T25" fmla="*/ 2147483647 h 166"/>
                <a:gd name="T26" fmla="*/ 2147483647 w 92"/>
                <a:gd name="T27" fmla="*/ 2147483647 h 166"/>
                <a:gd name="T28" fmla="*/ 2147483647 w 92"/>
                <a:gd name="T29" fmla="*/ 2147483647 h 166"/>
                <a:gd name="T30" fmla="*/ 2147483647 w 92"/>
                <a:gd name="T31" fmla="*/ 2147483647 h 166"/>
                <a:gd name="T32" fmla="*/ 2147483647 w 92"/>
                <a:gd name="T33" fmla="*/ 2147483647 h 166"/>
                <a:gd name="T34" fmla="*/ 2147483647 w 92"/>
                <a:gd name="T35" fmla="*/ 2147483647 h 166"/>
                <a:gd name="T36" fmla="*/ 2147483647 w 92"/>
                <a:gd name="T37" fmla="*/ 2147483647 h 166"/>
                <a:gd name="T38" fmla="*/ 2147483647 w 92"/>
                <a:gd name="T39" fmla="*/ 2147483647 h 166"/>
                <a:gd name="T40" fmla="*/ 2147483647 w 92"/>
                <a:gd name="T41" fmla="*/ 2147483647 h 166"/>
                <a:gd name="T42" fmla="*/ 2147483647 w 92"/>
                <a:gd name="T43" fmla="*/ 2147483647 h 166"/>
                <a:gd name="T44" fmla="*/ 2147483647 w 92"/>
                <a:gd name="T45" fmla="*/ 2147483647 h 166"/>
                <a:gd name="T46" fmla="*/ 2147483647 w 92"/>
                <a:gd name="T47" fmla="*/ 2147483647 h 166"/>
                <a:gd name="T48" fmla="*/ 2147483647 w 92"/>
                <a:gd name="T49" fmla="*/ 2147483647 h 166"/>
                <a:gd name="T50" fmla="*/ 2147483647 w 92"/>
                <a:gd name="T51" fmla="*/ 2147483647 h 166"/>
                <a:gd name="T52" fmla="*/ 2147483647 w 92"/>
                <a:gd name="T53" fmla="*/ 2147483647 h 166"/>
                <a:gd name="T54" fmla="*/ 2147483647 w 92"/>
                <a:gd name="T55" fmla="*/ 2147483647 h 166"/>
                <a:gd name="T56" fmla="*/ 2147483647 w 92"/>
                <a:gd name="T57" fmla="*/ 2147483647 h 166"/>
                <a:gd name="T58" fmla="*/ 2147483647 w 92"/>
                <a:gd name="T59" fmla="*/ 2147483647 h 166"/>
                <a:gd name="T60" fmla="*/ 2147483647 w 92"/>
                <a:gd name="T61" fmla="*/ 2147483647 h 166"/>
                <a:gd name="T62" fmla="*/ 2147483647 w 92"/>
                <a:gd name="T63" fmla="*/ 2147483647 h 166"/>
                <a:gd name="T64" fmla="*/ 2147483647 w 92"/>
                <a:gd name="T65" fmla="*/ 2147483647 h 166"/>
                <a:gd name="T66" fmla="*/ 2147483647 w 92"/>
                <a:gd name="T67" fmla="*/ 2147483647 h 166"/>
                <a:gd name="T68" fmla="*/ 2147483647 w 92"/>
                <a:gd name="T69" fmla="*/ 2147483647 h 166"/>
                <a:gd name="T70" fmla="*/ 2147483647 w 92"/>
                <a:gd name="T71" fmla="*/ 2147483647 h 166"/>
                <a:gd name="T72" fmla="*/ 2147483647 w 92"/>
                <a:gd name="T73" fmla="*/ 2147483647 h 166"/>
                <a:gd name="T74" fmla="*/ 2147483647 w 92"/>
                <a:gd name="T75" fmla="*/ 2147483647 h 166"/>
                <a:gd name="T76" fmla="*/ 2147483647 w 92"/>
                <a:gd name="T77" fmla="*/ 2147483647 h 166"/>
                <a:gd name="T78" fmla="*/ 2147483647 w 92"/>
                <a:gd name="T79" fmla="*/ 2147483647 h 166"/>
                <a:gd name="T80" fmla="*/ 2147483647 w 92"/>
                <a:gd name="T81" fmla="*/ 2147483647 h 166"/>
                <a:gd name="T82" fmla="*/ 2147483647 w 92"/>
                <a:gd name="T83" fmla="*/ 2147483647 h 166"/>
                <a:gd name="T84" fmla="*/ 2147483647 w 92"/>
                <a:gd name="T85" fmla="*/ 2147483647 h 166"/>
                <a:gd name="T86" fmla="*/ 2147483647 w 92"/>
                <a:gd name="T87" fmla="*/ 2147483647 h 166"/>
                <a:gd name="T88" fmla="*/ 2147483647 w 92"/>
                <a:gd name="T89" fmla="*/ 2147483647 h 166"/>
                <a:gd name="T90" fmla="*/ 0 w 92"/>
                <a:gd name="T91" fmla="*/ 0 h 166"/>
                <a:gd name="T92" fmla="*/ 0 w 92"/>
                <a:gd name="T93" fmla="*/ 2147483647 h 166"/>
                <a:gd name="T94" fmla="*/ 0 w 92"/>
                <a:gd name="T95" fmla="*/ 2147483647 h 166"/>
                <a:gd name="T96" fmla="*/ 0 w 92"/>
                <a:gd name="T97" fmla="*/ 2147483647 h 166"/>
                <a:gd name="T98" fmla="*/ 0 w 92"/>
                <a:gd name="T99" fmla="*/ 2147483647 h 166"/>
                <a:gd name="T100" fmla="*/ 0 w 92"/>
                <a:gd name="T101" fmla="*/ 2147483647 h 166"/>
                <a:gd name="T102" fmla="*/ 0 w 92"/>
                <a:gd name="T103" fmla="*/ 2147483647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2"/>
                <a:gd name="T157" fmla="*/ 0 h 166"/>
                <a:gd name="T158" fmla="*/ 92 w 92"/>
                <a:gd name="T159" fmla="*/ 166 h 16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34" name="Freeform 336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7208838" y="3735388"/>
              <a:ext cx="71437" cy="55562"/>
            </a:xfrm>
            <a:custGeom>
              <a:avLst/>
              <a:gdLst>
                <a:gd name="T0" fmla="*/ 2147483647 w 166"/>
                <a:gd name="T1" fmla="*/ 0 h 62"/>
                <a:gd name="T2" fmla="*/ 2147483647 w 166"/>
                <a:gd name="T3" fmla="*/ 2147483647 h 62"/>
                <a:gd name="T4" fmla="*/ 2147483647 w 166"/>
                <a:gd name="T5" fmla="*/ 2147483647 h 62"/>
                <a:gd name="T6" fmla="*/ 2147483647 w 166"/>
                <a:gd name="T7" fmla="*/ 2147483647 h 62"/>
                <a:gd name="T8" fmla="*/ 2147483647 w 166"/>
                <a:gd name="T9" fmla="*/ 2147483647 h 62"/>
                <a:gd name="T10" fmla="*/ 2147483647 w 166"/>
                <a:gd name="T11" fmla="*/ 2147483647 h 62"/>
                <a:gd name="T12" fmla="*/ 2147483647 w 166"/>
                <a:gd name="T13" fmla="*/ 2147483647 h 62"/>
                <a:gd name="T14" fmla="*/ 2147483647 w 166"/>
                <a:gd name="T15" fmla="*/ 2147483647 h 62"/>
                <a:gd name="T16" fmla="*/ 2147483647 w 166"/>
                <a:gd name="T17" fmla="*/ 2147483647 h 62"/>
                <a:gd name="T18" fmla="*/ 2147483647 w 166"/>
                <a:gd name="T19" fmla="*/ 2147483647 h 62"/>
                <a:gd name="T20" fmla="*/ 2147483647 w 166"/>
                <a:gd name="T21" fmla="*/ 0 h 62"/>
                <a:gd name="T22" fmla="*/ 2147483647 w 166"/>
                <a:gd name="T23" fmla="*/ 2147483647 h 62"/>
                <a:gd name="T24" fmla="*/ 2147483647 w 166"/>
                <a:gd name="T25" fmla="*/ 2147483647 h 62"/>
                <a:gd name="T26" fmla="*/ 2147483647 w 166"/>
                <a:gd name="T27" fmla="*/ 2147483647 h 62"/>
                <a:gd name="T28" fmla="*/ 2147483647 w 166"/>
                <a:gd name="T29" fmla="*/ 2147483647 h 62"/>
                <a:gd name="T30" fmla="*/ 2147483647 w 166"/>
                <a:gd name="T31" fmla="*/ 2147483647 h 62"/>
                <a:gd name="T32" fmla="*/ 2147483647 w 166"/>
                <a:gd name="T33" fmla="*/ 2147483647 h 62"/>
                <a:gd name="T34" fmla="*/ 2147483647 w 166"/>
                <a:gd name="T35" fmla="*/ 2147483647 h 62"/>
                <a:gd name="T36" fmla="*/ 2147483647 w 166"/>
                <a:gd name="T37" fmla="*/ 2147483647 h 62"/>
                <a:gd name="T38" fmla="*/ 2147483647 w 166"/>
                <a:gd name="T39" fmla="*/ 2147483647 h 62"/>
                <a:gd name="T40" fmla="*/ 2147483647 w 166"/>
                <a:gd name="T41" fmla="*/ 2147483647 h 62"/>
                <a:gd name="T42" fmla="*/ 2147483647 w 166"/>
                <a:gd name="T43" fmla="*/ 2147483647 h 62"/>
                <a:gd name="T44" fmla="*/ 2147483647 w 166"/>
                <a:gd name="T45" fmla="*/ 2147483647 h 62"/>
                <a:gd name="T46" fmla="*/ 2147483647 w 166"/>
                <a:gd name="T47" fmla="*/ 2147483647 h 62"/>
                <a:gd name="T48" fmla="*/ 2147483647 w 166"/>
                <a:gd name="T49" fmla="*/ 2147483647 h 62"/>
                <a:gd name="T50" fmla="*/ 2147483647 w 166"/>
                <a:gd name="T51" fmla="*/ 2147483647 h 62"/>
                <a:gd name="T52" fmla="*/ 2147483647 w 166"/>
                <a:gd name="T53" fmla="*/ 2147483647 h 62"/>
                <a:gd name="T54" fmla="*/ 2147483647 w 166"/>
                <a:gd name="T55" fmla="*/ 2147483647 h 62"/>
                <a:gd name="T56" fmla="*/ 2147483647 w 166"/>
                <a:gd name="T57" fmla="*/ 2147483647 h 62"/>
                <a:gd name="T58" fmla="*/ 2147483647 w 166"/>
                <a:gd name="T59" fmla="*/ 2147483647 h 62"/>
                <a:gd name="T60" fmla="*/ 2147483647 w 166"/>
                <a:gd name="T61" fmla="*/ 2147483647 h 62"/>
                <a:gd name="T62" fmla="*/ 2147483647 w 166"/>
                <a:gd name="T63" fmla="*/ 2147483647 h 62"/>
                <a:gd name="T64" fmla="*/ 2147483647 w 166"/>
                <a:gd name="T65" fmla="*/ 2147483647 h 62"/>
                <a:gd name="T66" fmla="*/ 2147483647 w 166"/>
                <a:gd name="T67" fmla="*/ 2147483647 h 62"/>
                <a:gd name="T68" fmla="*/ 2147483647 w 166"/>
                <a:gd name="T69" fmla="*/ 2147483647 h 62"/>
                <a:gd name="T70" fmla="*/ 2147483647 w 166"/>
                <a:gd name="T71" fmla="*/ 2147483647 h 62"/>
                <a:gd name="T72" fmla="*/ 2147483647 w 166"/>
                <a:gd name="T73" fmla="*/ 2147483647 h 62"/>
                <a:gd name="T74" fmla="*/ 2147483647 w 166"/>
                <a:gd name="T75" fmla="*/ 2147483647 h 62"/>
                <a:gd name="T76" fmla="*/ 2147483647 w 166"/>
                <a:gd name="T77" fmla="*/ 2147483647 h 62"/>
                <a:gd name="T78" fmla="*/ 2147483647 w 166"/>
                <a:gd name="T79" fmla="*/ 2147483647 h 62"/>
                <a:gd name="T80" fmla="*/ 2147483647 w 166"/>
                <a:gd name="T81" fmla="*/ 2147483647 h 62"/>
                <a:gd name="T82" fmla="*/ 2147483647 w 166"/>
                <a:gd name="T83" fmla="*/ 2147483647 h 62"/>
                <a:gd name="T84" fmla="*/ 2147483647 w 166"/>
                <a:gd name="T85" fmla="*/ 2147483647 h 62"/>
                <a:gd name="T86" fmla="*/ 0 w 166"/>
                <a:gd name="T87" fmla="*/ 2147483647 h 62"/>
                <a:gd name="T88" fmla="*/ 2147483647 w 166"/>
                <a:gd name="T89" fmla="*/ 2147483647 h 62"/>
                <a:gd name="T90" fmla="*/ 2147483647 w 166"/>
                <a:gd name="T91" fmla="*/ 2147483647 h 62"/>
                <a:gd name="T92" fmla="*/ 2147483647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66"/>
                <a:gd name="T142" fmla="*/ 0 h 62"/>
                <a:gd name="T143" fmla="*/ 166 w 166"/>
                <a:gd name="T144" fmla="*/ 62 h 6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35" name="Freeform 337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7285038" y="3659188"/>
              <a:ext cx="85725" cy="63500"/>
            </a:xfrm>
            <a:custGeom>
              <a:avLst/>
              <a:gdLst>
                <a:gd name="T0" fmla="*/ 2147483647 w 193"/>
                <a:gd name="T1" fmla="*/ 2147483647 h 121"/>
                <a:gd name="T2" fmla="*/ 2147483647 w 193"/>
                <a:gd name="T3" fmla="*/ 2147483647 h 121"/>
                <a:gd name="T4" fmla="*/ 2147483647 w 193"/>
                <a:gd name="T5" fmla="*/ 2147483647 h 121"/>
                <a:gd name="T6" fmla="*/ 2147483647 w 193"/>
                <a:gd name="T7" fmla="*/ 2147483647 h 121"/>
                <a:gd name="T8" fmla="*/ 2147483647 w 193"/>
                <a:gd name="T9" fmla="*/ 2147483647 h 121"/>
                <a:gd name="T10" fmla="*/ 2147483647 w 193"/>
                <a:gd name="T11" fmla="*/ 2147483647 h 121"/>
                <a:gd name="T12" fmla="*/ 2147483647 w 193"/>
                <a:gd name="T13" fmla="*/ 2147483647 h 121"/>
                <a:gd name="T14" fmla="*/ 2147483647 w 193"/>
                <a:gd name="T15" fmla="*/ 2147483647 h 121"/>
                <a:gd name="T16" fmla="*/ 2147483647 w 193"/>
                <a:gd name="T17" fmla="*/ 2147483647 h 121"/>
                <a:gd name="T18" fmla="*/ 2147483647 w 193"/>
                <a:gd name="T19" fmla="*/ 2147483647 h 121"/>
                <a:gd name="T20" fmla="*/ 2147483647 w 193"/>
                <a:gd name="T21" fmla="*/ 2147483647 h 121"/>
                <a:gd name="T22" fmla="*/ 2147483647 w 193"/>
                <a:gd name="T23" fmla="*/ 2147483647 h 121"/>
                <a:gd name="T24" fmla="*/ 2147483647 w 193"/>
                <a:gd name="T25" fmla="*/ 2147483647 h 121"/>
                <a:gd name="T26" fmla="*/ 2147483647 w 193"/>
                <a:gd name="T27" fmla="*/ 2147483647 h 121"/>
                <a:gd name="T28" fmla="*/ 2147483647 w 193"/>
                <a:gd name="T29" fmla="*/ 2147483647 h 121"/>
                <a:gd name="T30" fmla="*/ 2147483647 w 193"/>
                <a:gd name="T31" fmla="*/ 2147483647 h 121"/>
                <a:gd name="T32" fmla="*/ 2147483647 w 193"/>
                <a:gd name="T33" fmla="*/ 2147483647 h 121"/>
                <a:gd name="T34" fmla="*/ 2147483647 w 193"/>
                <a:gd name="T35" fmla="*/ 2147483647 h 121"/>
                <a:gd name="T36" fmla="*/ 2147483647 w 193"/>
                <a:gd name="T37" fmla="*/ 2147483647 h 121"/>
                <a:gd name="T38" fmla="*/ 2147483647 w 193"/>
                <a:gd name="T39" fmla="*/ 2147483647 h 121"/>
                <a:gd name="T40" fmla="*/ 2147483647 w 193"/>
                <a:gd name="T41" fmla="*/ 2147483647 h 121"/>
                <a:gd name="T42" fmla="*/ 2147483647 w 193"/>
                <a:gd name="T43" fmla="*/ 2147483647 h 121"/>
                <a:gd name="T44" fmla="*/ 2147483647 w 193"/>
                <a:gd name="T45" fmla="*/ 2147483647 h 121"/>
                <a:gd name="T46" fmla="*/ 2147483647 w 193"/>
                <a:gd name="T47" fmla="*/ 2147483647 h 121"/>
                <a:gd name="T48" fmla="*/ 2147483647 w 193"/>
                <a:gd name="T49" fmla="*/ 2147483647 h 121"/>
                <a:gd name="T50" fmla="*/ 2147483647 w 193"/>
                <a:gd name="T51" fmla="*/ 2147483647 h 121"/>
                <a:gd name="T52" fmla="*/ 2147483647 w 193"/>
                <a:gd name="T53" fmla="*/ 2147483647 h 121"/>
                <a:gd name="T54" fmla="*/ 2147483647 w 193"/>
                <a:gd name="T55" fmla="*/ 2147483647 h 121"/>
                <a:gd name="T56" fmla="*/ 2147483647 w 193"/>
                <a:gd name="T57" fmla="*/ 2147483647 h 121"/>
                <a:gd name="T58" fmla="*/ 0 w 193"/>
                <a:gd name="T59" fmla="*/ 2147483647 h 121"/>
                <a:gd name="T60" fmla="*/ 2147483647 w 193"/>
                <a:gd name="T61" fmla="*/ 2147483647 h 121"/>
                <a:gd name="T62" fmla="*/ 2147483647 w 193"/>
                <a:gd name="T63" fmla="*/ 2147483647 h 121"/>
                <a:gd name="T64" fmla="*/ 2147483647 w 193"/>
                <a:gd name="T65" fmla="*/ 2147483647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93"/>
                <a:gd name="T100" fmla="*/ 0 h 121"/>
                <a:gd name="T101" fmla="*/ 193 w 193"/>
                <a:gd name="T102" fmla="*/ 121 h 12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36" name="Freeform 338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6973888" y="3597275"/>
              <a:ext cx="166687" cy="230188"/>
            </a:xfrm>
            <a:custGeom>
              <a:avLst/>
              <a:gdLst>
                <a:gd name="T0" fmla="*/ 2147483647 w 379"/>
                <a:gd name="T1" fmla="*/ 2147483647 h 437"/>
                <a:gd name="T2" fmla="*/ 2147483647 w 379"/>
                <a:gd name="T3" fmla="*/ 2147483647 h 437"/>
                <a:gd name="T4" fmla="*/ 2147483647 w 379"/>
                <a:gd name="T5" fmla="*/ 2147483647 h 437"/>
                <a:gd name="T6" fmla="*/ 2147483647 w 379"/>
                <a:gd name="T7" fmla="*/ 2147483647 h 437"/>
                <a:gd name="T8" fmla="*/ 2147483647 w 379"/>
                <a:gd name="T9" fmla="*/ 2147483647 h 437"/>
                <a:gd name="T10" fmla="*/ 2147483647 w 379"/>
                <a:gd name="T11" fmla="*/ 2147483647 h 437"/>
                <a:gd name="T12" fmla="*/ 2147483647 w 379"/>
                <a:gd name="T13" fmla="*/ 2147483647 h 437"/>
                <a:gd name="T14" fmla="*/ 2147483647 w 379"/>
                <a:gd name="T15" fmla="*/ 2147483647 h 437"/>
                <a:gd name="T16" fmla="*/ 2147483647 w 379"/>
                <a:gd name="T17" fmla="*/ 2147483647 h 437"/>
                <a:gd name="T18" fmla="*/ 2147483647 w 379"/>
                <a:gd name="T19" fmla="*/ 2147483647 h 437"/>
                <a:gd name="T20" fmla="*/ 2147483647 w 379"/>
                <a:gd name="T21" fmla="*/ 2147483647 h 437"/>
                <a:gd name="T22" fmla="*/ 2147483647 w 379"/>
                <a:gd name="T23" fmla="*/ 2147483647 h 437"/>
                <a:gd name="T24" fmla="*/ 2147483647 w 379"/>
                <a:gd name="T25" fmla="*/ 2147483647 h 437"/>
                <a:gd name="T26" fmla="*/ 2147483647 w 379"/>
                <a:gd name="T27" fmla="*/ 2147483647 h 437"/>
                <a:gd name="T28" fmla="*/ 2147483647 w 379"/>
                <a:gd name="T29" fmla="*/ 2147483647 h 437"/>
                <a:gd name="T30" fmla="*/ 2147483647 w 379"/>
                <a:gd name="T31" fmla="*/ 2147483647 h 437"/>
                <a:gd name="T32" fmla="*/ 2147483647 w 379"/>
                <a:gd name="T33" fmla="*/ 2147483647 h 437"/>
                <a:gd name="T34" fmla="*/ 2147483647 w 379"/>
                <a:gd name="T35" fmla="*/ 2147483647 h 437"/>
                <a:gd name="T36" fmla="*/ 2147483647 w 379"/>
                <a:gd name="T37" fmla="*/ 2147483647 h 437"/>
                <a:gd name="T38" fmla="*/ 2147483647 w 379"/>
                <a:gd name="T39" fmla="*/ 2147483647 h 437"/>
                <a:gd name="T40" fmla="*/ 2147483647 w 379"/>
                <a:gd name="T41" fmla="*/ 2147483647 h 437"/>
                <a:gd name="T42" fmla="*/ 2147483647 w 379"/>
                <a:gd name="T43" fmla="*/ 2147483647 h 437"/>
                <a:gd name="T44" fmla="*/ 2147483647 w 379"/>
                <a:gd name="T45" fmla="*/ 2147483647 h 437"/>
                <a:gd name="T46" fmla="*/ 2147483647 w 379"/>
                <a:gd name="T47" fmla="*/ 2147483647 h 437"/>
                <a:gd name="T48" fmla="*/ 2147483647 w 379"/>
                <a:gd name="T49" fmla="*/ 2147483647 h 437"/>
                <a:gd name="T50" fmla="*/ 2147483647 w 379"/>
                <a:gd name="T51" fmla="*/ 2147483647 h 437"/>
                <a:gd name="T52" fmla="*/ 2147483647 w 379"/>
                <a:gd name="T53" fmla="*/ 2147483647 h 437"/>
                <a:gd name="T54" fmla="*/ 2147483647 w 379"/>
                <a:gd name="T55" fmla="*/ 2147483647 h 437"/>
                <a:gd name="T56" fmla="*/ 2147483647 w 379"/>
                <a:gd name="T57" fmla="*/ 2147483647 h 437"/>
                <a:gd name="T58" fmla="*/ 2147483647 w 379"/>
                <a:gd name="T59" fmla="*/ 2147483647 h 437"/>
                <a:gd name="T60" fmla="*/ 2147483647 w 379"/>
                <a:gd name="T61" fmla="*/ 2147483647 h 437"/>
                <a:gd name="T62" fmla="*/ 2147483647 w 379"/>
                <a:gd name="T63" fmla="*/ 2147483647 h 437"/>
                <a:gd name="T64" fmla="*/ 2147483647 w 379"/>
                <a:gd name="T65" fmla="*/ 2147483647 h 437"/>
                <a:gd name="T66" fmla="*/ 2147483647 w 379"/>
                <a:gd name="T67" fmla="*/ 2147483647 h 437"/>
                <a:gd name="T68" fmla="*/ 2147483647 w 379"/>
                <a:gd name="T69" fmla="*/ 2147483647 h 437"/>
                <a:gd name="T70" fmla="*/ 2147483647 w 379"/>
                <a:gd name="T71" fmla="*/ 2147483647 h 437"/>
                <a:gd name="T72" fmla="*/ 2147483647 w 379"/>
                <a:gd name="T73" fmla="*/ 2147483647 h 437"/>
                <a:gd name="T74" fmla="*/ 2147483647 w 379"/>
                <a:gd name="T75" fmla="*/ 2147483647 h 437"/>
                <a:gd name="T76" fmla="*/ 2147483647 w 379"/>
                <a:gd name="T77" fmla="*/ 2147483647 h 437"/>
                <a:gd name="T78" fmla="*/ 2147483647 w 379"/>
                <a:gd name="T79" fmla="*/ 2147483647 h 437"/>
                <a:gd name="T80" fmla="*/ 2147483647 w 379"/>
                <a:gd name="T81" fmla="*/ 2147483647 h 437"/>
                <a:gd name="T82" fmla="*/ 2147483647 w 379"/>
                <a:gd name="T83" fmla="*/ 2147483647 h 437"/>
                <a:gd name="T84" fmla="*/ 2147483647 w 379"/>
                <a:gd name="T85" fmla="*/ 2147483647 h 437"/>
                <a:gd name="T86" fmla="*/ 2147483647 w 379"/>
                <a:gd name="T87" fmla="*/ 2147483647 h 437"/>
                <a:gd name="T88" fmla="*/ 2147483647 w 379"/>
                <a:gd name="T89" fmla="*/ 2147483647 h 437"/>
                <a:gd name="T90" fmla="*/ 2147483647 w 379"/>
                <a:gd name="T91" fmla="*/ 2147483647 h 437"/>
                <a:gd name="T92" fmla="*/ 2147483647 w 379"/>
                <a:gd name="T93" fmla="*/ 2147483647 h 437"/>
                <a:gd name="T94" fmla="*/ 2147483647 w 379"/>
                <a:gd name="T95" fmla="*/ 2147483647 h 437"/>
                <a:gd name="T96" fmla="*/ 2147483647 w 379"/>
                <a:gd name="T97" fmla="*/ 2147483647 h 437"/>
                <a:gd name="T98" fmla="*/ 2147483647 w 379"/>
                <a:gd name="T99" fmla="*/ 2147483647 h 437"/>
                <a:gd name="T100" fmla="*/ 2147483647 w 379"/>
                <a:gd name="T101" fmla="*/ 2147483647 h 437"/>
                <a:gd name="T102" fmla="*/ 2147483647 w 379"/>
                <a:gd name="T103" fmla="*/ 2147483647 h 437"/>
                <a:gd name="T104" fmla="*/ 2147483647 w 379"/>
                <a:gd name="T105" fmla="*/ 2147483647 h 437"/>
                <a:gd name="T106" fmla="*/ 2147483647 w 379"/>
                <a:gd name="T107" fmla="*/ 2147483647 h 437"/>
                <a:gd name="T108" fmla="*/ 2147483647 w 379"/>
                <a:gd name="T109" fmla="*/ 2147483647 h 437"/>
                <a:gd name="T110" fmla="*/ 2147483647 w 379"/>
                <a:gd name="T111" fmla="*/ 2147483647 h 437"/>
                <a:gd name="T112" fmla="*/ 2147483647 w 379"/>
                <a:gd name="T113" fmla="*/ 2147483647 h 437"/>
                <a:gd name="T114" fmla="*/ 2147483647 w 379"/>
                <a:gd name="T115" fmla="*/ 2147483647 h 437"/>
                <a:gd name="T116" fmla="*/ 2147483647 w 379"/>
                <a:gd name="T117" fmla="*/ 2147483647 h 437"/>
                <a:gd name="T118" fmla="*/ 2147483647 w 379"/>
                <a:gd name="T119" fmla="*/ 2147483647 h 437"/>
                <a:gd name="T120" fmla="*/ 2147483647 w 379"/>
                <a:gd name="T121" fmla="*/ 2147483647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79"/>
                <a:gd name="T184" fmla="*/ 0 h 437"/>
                <a:gd name="T185" fmla="*/ 379 w 379"/>
                <a:gd name="T186" fmla="*/ 437 h 43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37" name="Freeform 339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6638925" y="3838575"/>
              <a:ext cx="250825" cy="95250"/>
            </a:xfrm>
            <a:custGeom>
              <a:avLst/>
              <a:gdLst>
                <a:gd name="T0" fmla="*/ 2147483647 w 578"/>
                <a:gd name="T1" fmla="*/ 2147483647 h 184"/>
                <a:gd name="T2" fmla="*/ 2147483647 w 578"/>
                <a:gd name="T3" fmla="*/ 2147483647 h 184"/>
                <a:gd name="T4" fmla="*/ 2147483647 w 578"/>
                <a:gd name="T5" fmla="*/ 2147483647 h 184"/>
                <a:gd name="T6" fmla="*/ 2147483647 w 578"/>
                <a:gd name="T7" fmla="*/ 0 h 184"/>
                <a:gd name="T8" fmla="*/ 2147483647 w 578"/>
                <a:gd name="T9" fmla="*/ 2147483647 h 184"/>
                <a:gd name="T10" fmla="*/ 2147483647 w 578"/>
                <a:gd name="T11" fmla="*/ 2147483647 h 184"/>
                <a:gd name="T12" fmla="*/ 2147483647 w 578"/>
                <a:gd name="T13" fmla="*/ 2147483647 h 184"/>
                <a:gd name="T14" fmla="*/ 2147483647 w 578"/>
                <a:gd name="T15" fmla="*/ 2147483647 h 184"/>
                <a:gd name="T16" fmla="*/ 2147483647 w 578"/>
                <a:gd name="T17" fmla="*/ 2147483647 h 184"/>
                <a:gd name="T18" fmla="*/ 2147483647 w 578"/>
                <a:gd name="T19" fmla="*/ 2147483647 h 184"/>
                <a:gd name="T20" fmla="*/ 2147483647 w 578"/>
                <a:gd name="T21" fmla="*/ 2147483647 h 184"/>
                <a:gd name="T22" fmla="*/ 2147483647 w 578"/>
                <a:gd name="T23" fmla="*/ 2147483647 h 184"/>
                <a:gd name="T24" fmla="*/ 2147483647 w 578"/>
                <a:gd name="T25" fmla="*/ 2147483647 h 184"/>
                <a:gd name="T26" fmla="*/ 2147483647 w 578"/>
                <a:gd name="T27" fmla="*/ 2147483647 h 184"/>
                <a:gd name="T28" fmla="*/ 2147483647 w 578"/>
                <a:gd name="T29" fmla="*/ 2147483647 h 184"/>
                <a:gd name="T30" fmla="*/ 2147483647 w 578"/>
                <a:gd name="T31" fmla="*/ 2147483647 h 184"/>
                <a:gd name="T32" fmla="*/ 2147483647 w 578"/>
                <a:gd name="T33" fmla="*/ 2147483647 h 184"/>
                <a:gd name="T34" fmla="*/ 2147483647 w 578"/>
                <a:gd name="T35" fmla="*/ 2147483647 h 184"/>
                <a:gd name="T36" fmla="*/ 2147483647 w 578"/>
                <a:gd name="T37" fmla="*/ 2147483647 h 184"/>
                <a:gd name="T38" fmla="*/ 2147483647 w 578"/>
                <a:gd name="T39" fmla="*/ 2147483647 h 184"/>
                <a:gd name="T40" fmla="*/ 2147483647 w 578"/>
                <a:gd name="T41" fmla="*/ 2147483647 h 184"/>
                <a:gd name="T42" fmla="*/ 2147483647 w 578"/>
                <a:gd name="T43" fmla="*/ 2147483647 h 184"/>
                <a:gd name="T44" fmla="*/ 2147483647 w 578"/>
                <a:gd name="T45" fmla="*/ 2147483647 h 184"/>
                <a:gd name="T46" fmla="*/ 2147483647 w 578"/>
                <a:gd name="T47" fmla="*/ 2147483647 h 184"/>
                <a:gd name="T48" fmla="*/ 2147483647 w 578"/>
                <a:gd name="T49" fmla="*/ 2147483647 h 184"/>
                <a:gd name="T50" fmla="*/ 2147483647 w 578"/>
                <a:gd name="T51" fmla="*/ 2147483647 h 184"/>
                <a:gd name="T52" fmla="*/ 2147483647 w 578"/>
                <a:gd name="T53" fmla="*/ 2147483647 h 184"/>
                <a:gd name="T54" fmla="*/ 2147483647 w 578"/>
                <a:gd name="T55" fmla="*/ 2147483647 h 184"/>
                <a:gd name="T56" fmla="*/ 2147483647 w 578"/>
                <a:gd name="T57" fmla="*/ 2147483647 h 184"/>
                <a:gd name="T58" fmla="*/ 2147483647 w 578"/>
                <a:gd name="T59" fmla="*/ 2147483647 h 184"/>
                <a:gd name="T60" fmla="*/ 2147483647 w 578"/>
                <a:gd name="T61" fmla="*/ 2147483647 h 184"/>
                <a:gd name="T62" fmla="*/ 2147483647 w 578"/>
                <a:gd name="T63" fmla="*/ 2147483647 h 184"/>
                <a:gd name="T64" fmla="*/ 2147483647 w 578"/>
                <a:gd name="T65" fmla="*/ 2147483647 h 184"/>
                <a:gd name="T66" fmla="*/ 2147483647 w 578"/>
                <a:gd name="T67" fmla="*/ 2147483647 h 184"/>
                <a:gd name="T68" fmla="*/ 2147483647 w 578"/>
                <a:gd name="T69" fmla="*/ 2147483647 h 184"/>
                <a:gd name="T70" fmla="*/ 2147483647 w 578"/>
                <a:gd name="T71" fmla="*/ 2147483647 h 184"/>
                <a:gd name="T72" fmla="*/ 2147483647 w 578"/>
                <a:gd name="T73" fmla="*/ 2147483647 h 184"/>
                <a:gd name="T74" fmla="*/ 2147483647 w 578"/>
                <a:gd name="T75" fmla="*/ 2147483647 h 184"/>
                <a:gd name="T76" fmla="*/ 2147483647 w 578"/>
                <a:gd name="T77" fmla="*/ 2147483647 h 184"/>
                <a:gd name="T78" fmla="*/ 2147483647 w 578"/>
                <a:gd name="T79" fmla="*/ 2147483647 h 184"/>
                <a:gd name="T80" fmla="*/ 2147483647 w 578"/>
                <a:gd name="T81" fmla="*/ 2147483647 h 184"/>
                <a:gd name="T82" fmla="*/ 2147483647 w 578"/>
                <a:gd name="T83" fmla="*/ 2147483647 h 184"/>
                <a:gd name="T84" fmla="*/ 2147483647 w 578"/>
                <a:gd name="T85" fmla="*/ 2147483647 h 184"/>
                <a:gd name="T86" fmla="*/ 2147483647 w 578"/>
                <a:gd name="T87" fmla="*/ 2147483647 h 184"/>
                <a:gd name="T88" fmla="*/ 2147483647 w 578"/>
                <a:gd name="T89" fmla="*/ 2147483647 h 184"/>
                <a:gd name="T90" fmla="*/ 2147483647 w 578"/>
                <a:gd name="T91" fmla="*/ 2147483647 h 184"/>
                <a:gd name="T92" fmla="*/ 2147483647 w 578"/>
                <a:gd name="T93" fmla="*/ 2147483647 h 184"/>
                <a:gd name="T94" fmla="*/ 2147483647 w 578"/>
                <a:gd name="T95" fmla="*/ 2147483647 h 184"/>
                <a:gd name="T96" fmla="*/ 2147483647 w 578"/>
                <a:gd name="T97" fmla="*/ 2147483647 h 184"/>
                <a:gd name="T98" fmla="*/ 2147483647 w 578"/>
                <a:gd name="T99" fmla="*/ 2147483647 h 184"/>
                <a:gd name="T100" fmla="*/ 2147483647 w 578"/>
                <a:gd name="T101" fmla="*/ 2147483647 h 184"/>
                <a:gd name="T102" fmla="*/ 2147483647 w 578"/>
                <a:gd name="T103" fmla="*/ 2147483647 h 184"/>
                <a:gd name="T104" fmla="*/ 2147483647 w 578"/>
                <a:gd name="T105" fmla="*/ 2147483647 h 184"/>
                <a:gd name="T106" fmla="*/ 0 w 578"/>
                <a:gd name="T107" fmla="*/ 2147483647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78"/>
                <a:gd name="T163" fmla="*/ 0 h 184"/>
                <a:gd name="T164" fmla="*/ 578 w 578"/>
                <a:gd name="T165" fmla="*/ 184 h 18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38" name="Freeform 340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7319963" y="3695700"/>
              <a:ext cx="214312" cy="252413"/>
            </a:xfrm>
            <a:custGeom>
              <a:avLst/>
              <a:gdLst>
                <a:gd name="T0" fmla="*/ 2147483647 w 491"/>
                <a:gd name="T1" fmla="*/ 2147483647 h 481"/>
                <a:gd name="T2" fmla="*/ 2147483647 w 491"/>
                <a:gd name="T3" fmla="*/ 2147483647 h 481"/>
                <a:gd name="T4" fmla="*/ 2147483647 w 491"/>
                <a:gd name="T5" fmla="*/ 2147483647 h 481"/>
                <a:gd name="T6" fmla="*/ 2147483647 w 491"/>
                <a:gd name="T7" fmla="*/ 2147483647 h 481"/>
                <a:gd name="T8" fmla="*/ 2147483647 w 491"/>
                <a:gd name="T9" fmla="*/ 2147483647 h 481"/>
                <a:gd name="T10" fmla="*/ 2147483647 w 491"/>
                <a:gd name="T11" fmla="*/ 2147483647 h 481"/>
                <a:gd name="T12" fmla="*/ 2147483647 w 491"/>
                <a:gd name="T13" fmla="*/ 2147483647 h 481"/>
                <a:gd name="T14" fmla="*/ 2147483647 w 491"/>
                <a:gd name="T15" fmla="*/ 2147483647 h 481"/>
                <a:gd name="T16" fmla="*/ 2147483647 w 491"/>
                <a:gd name="T17" fmla="*/ 2147483647 h 481"/>
                <a:gd name="T18" fmla="*/ 2147483647 w 491"/>
                <a:gd name="T19" fmla="*/ 2147483647 h 481"/>
                <a:gd name="T20" fmla="*/ 2147483647 w 491"/>
                <a:gd name="T21" fmla="*/ 2147483647 h 481"/>
                <a:gd name="T22" fmla="*/ 2147483647 w 491"/>
                <a:gd name="T23" fmla="*/ 2147483647 h 481"/>
                <a:gd name="T24" fmla="*/ 2147483647 w 491"/>
                <a:gd name="T25" fmla="*/ 2147483647 h 481"/>
                <a:gd name="T26" fmla="*/ 2147483647 w 491"/>
                <a:gd name="T27" fmla="*/ 2147483647 h 481"/>
                <a:gd name="T28" fmla="*/ 2147483647 w 491"/>
                <a:gd name="T29" fmla="*/ 2147483647 h 481"/>
                <a:gd name="T30" fmla="*/ 2147483647 w 491"/>
                <a:gd name="T31" fmla="*/ 2147483647 h 481"/>
                <a:gd name="T32" fmla="*/ 2147483647 w 491"/>
                <a:gd name="T33" fmla="*/ 2147483647 h 481"/>
                <a:gd name="T34" fmla="*/ 2147483647 w 491"/>
                <a:gd name="T35" fmla="*/ 2147483647 h 481"/>
                <a:gd name="T36" fmla="*/ 2147483647 w 491"/>
                <a:gd name="T37" fmla="*/ 2147483647 h 481"/>
                <a:gd name="T38" fmla="*/ 2147483647 w 491"/>
                <a:gd name="T39" fmla="*/ 2147483647 h 481"/>
                <a:gd name="T40" fmla="*/ 2147483647 w 491"/>
                <a:gd name="T41" fmla="*/ 2147483647 h 481"/>
                <a:gd name="T42" fmla="*/ 2147483647 w 491"/>
                <a:gd name="T43" fmla="*/ 2147483647 h 481"/>
                <a:gd name="T44" fmla="*/ 2147483647 w 491"/>
                <a:gd name="T45" fmla="*/ 2147483647 h 481"/>
                <a:gd name="T46" fmla="*/ 2147483647 w 491"/>
                <a:gd name="T47" fmla="*/ 2147483647 h 481"/>
                <a:gd name="T48" fmla="*/ 2147483647 w 491"/>
                <a:gd name="T49" fmla="*/ 2147483647 h 481"/>
                <a:gd name="T50" fmla="*/ 2147483647 w 491"/>
                <a:gd name="T51" fmla="*/ 2147483647 h 481"/>
                <a:gd name="T52" fmla="*/ 2147483647 w 491"/>
                <a:gd name="T53" fmla="*/ 2147483647 h 481"/>
                <a:gd name="T54" fmla="*/ 2147483647 w 491"/>
                <a:gd name="T55" fmla="*/ 2147483647 h 481"/>
                <a:gd name="T56" fmla="*/ 2147483647 w 491"/>
                <a:gd name="T57" fmla="*/ 2147483647 h 481"/>
                <a:gd name="T58" fmla="*/ 2147483647 w 491"/>
                <a:gd name="T59" fmla="*/ 2147483647 h 481"/>
                <a:gd name="T60" fmla="*/ 2147483647 w 491"/>
                <a:gd name="T61" fmla="*/ 2147483647 h 481"/>
                <a:gd name="T62" fmla="*/ 0 w 491"/>
                <a:gd name="T63" fmla="*/ 2147483647 h 481"/>
                <a:gd name="T64" fmla="*/ 2147483647 w 491"/>
                <a:gd name="T65" fmla="*/ 2147483647 h 481"/>
                <a:gd name="T66" fmla="*/ 2147483647 w 491"/>
                <a:gd name="T67" fmla="*/ 2147483647 h 481"/>
                <a:gd name="T68" fmla="*/ 2147483647 w 491"/>
                <a:gd name="T69" fmla="*/ 2147483647 h 481"/>
                <a:gd name="T70" fmla="*/ 2147483647 w 491"/>
                <a:gd name="T71" fmla="*/ 2147483647 h 481"/>
                <a:gd name="T72" fmla="*/ 2147483647 w 491"/>
                <a:gd name="T73" fmla="*/ 2147483647 h 481"/>
                <a:gd name="T74" fmla="*/ 2147483647 w 491"/>
                <a:gd name="T75" fmla="*/ 2147483647 h 481"/>
                <a:gd name="T76" fmla="*/ 2147483647 w 491"/>
                <a:gd name="T77" fmla="*/ 2147483647 h 481"/>
                <a:gd name="T78" fmla="*/ 2147483647 w 491"/>
                <a:gd name="T79" fmla="*/ 2147483647 h 481"/>
                <a:gd name="T80" fmla="*/ 2147483647 w 491"/>
                <a:gd name="T81" fmla="*/ 2147483647 h 481"/>
                <a:gd name="T82" fmla="*/ 2147483647 w 491"/>
                <a:gd name="T83" fmla="*/ 2147483647 h 481"/>
                <a:gd name="T84" fmla="*/ 2147483647 w 491"/>
                <a:gd name="T85" fmla="*/ 2147483647 h 481"/>
                <a:gd name="T86" fmla="*/ 2147483647 w 491"/>
                <a:gd name="T87" fmla="*/ 2147483647 h 481"/>
                <a:gd name="T88" fmla="*/ 2147483647 w 491"/>
                <a:gd name="T89" fmla="*/ 2147483647 h 481"/>
                <a:gd name="T90" fmla="*/ 2147483647 w 491"/>
                <a:gd name="T91" fmla="*/ 2147483647 h 481"/>
                <a:gd name="T92" fmla="*/ 2147483647 w 491"/>
                <a:gd name="T93" fmla="*/ 2147483647 h 481"/>
                <a:gd name="T94" fmla="*/ 2147483647 w 491"/>
                <a:gd name="T95" fmla="*/ 0 h 481"/>
                <a:gd name="T96" fmla="*/ 2147483647 w 491"/>
                <a:gd name="T97" fmla="*/ 2147483647 h 481"/>
                <a:gd name="T98" fmla="*/ 2147483647 w 491"/>
                <a:gd name="T99" fmla="*/ 2147483647 h 481"/>
                <a:gd name="T100" fmla="*/ 2147483647 w 491"/>
                <a:gd name="T101" fmla="*/ 2147483647 h 481"/>
                <a:gd name="T102" fmla="*/ 2147483647 w 491"/>
                <a:gd name="T103" fmla="*/ 2147483647 h 481"/>
                <a:gd name="T104" fmla="*/ 2147483647 w 491"/>
                <a:gd name="T105" fmla="*/ 2147483647 h 481"/>
                <a:gd name="T106" fmla="*/ 2147483647 w 491"/>
                <a:gd name="T107" fmla="*/ 2147483647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491"/>
                <a:gd name="T163" fmla="*/ 0 h 481"/>
                <a:gd name="T164" fmla="*/ 491 w 491"/>
                <a:gd name="T165" fmla="*/ 481 h 481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39" name="Freeform 341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5851525" y="2527300"/>
              <a:ext cx="53975" cy="60325"/>
            </a:xfrm>
            <a:custGeom>
              <a:avLst/>
              <a:gdLst>
                <a:gd name="T0" fmla="*/ 0 w 133"/>
                <a:gd name="T1" fmla="*/ 2147483647 h 117"/>
                <a:gd name="T2" fmla="*/ 2147483647 w 133"/>
                <a:gd name="T3" fmla="*/ 0 h 117"/>
                <a:gd name="T4" fmla="*/ 2147483647 w 133"/>
                <a:gd name="T5" fmla="*/ 2147483647 h 117"/>
                <a:gd name="T6" fmla="*/ 2147483647 w 133"/>
                <a:gd name="T7" fmla="*/ 2147483647 h 117"/>
                <a:gd name="T8" fmla="*/ 2147483647 w 133"/>
                <a:gd name="T9" fmla="*/ 2147483647 h 117"/>
                <a:gd name="T10" fmla="*/ 2147483647 w 133"/>
                <a:gd name="T11" fmla="*/ 2147483647 h 117"/>
                <a:gd name="T12" fmla="*/ 2147483647 w 133"/>
                <a:gd name="T13" fmla="*/ 2147483647 h 117"/>
                <a:gd name="T14" fmla="*/ 2147483647 w 133"/>
                <a:gd name="T15" fmla="*/ 2147483647 h 117"/>
                <a:gd name="T16" fmla="*/ 2147483647 w 133"/>
                <a:gd name="T17" fmla="*/ 2147483647 h 117"/>
                <a:gd name="T18" fmla="*/ 2147483647 w 133"/>
                <a:gd name="T19" fmla="*/ 2147483647 h 117"/>
                <a:gd name="T20" fmla="*/ 2147483647 w 133"/>
                <a:gd name="T21" fmla="*/ 2147483647 h 117"/>
                <a:gd name="T22" fmla="*/ 2147483647 w 133"/>
                <a:gd name="T23" fmla="*/ 2147483647 h 117"/>
                <a:gd name="T24" fmla="*/ 2147483647 w 133"/>
                <a:gd name="T25" fmla="*/ 2147483647 h 117"/>
                <a:gd name="T26" fmla="*/ 2147483647 w 133"/>
                <a:gd name="T27" fmla="*/ 2147483647 h 117"/>
                <a:gd name="T28" fmla="*/ 2147483647 w 133"/>
                <a:gd name="T29" fmla="*/ 2147483647 h 117"/>
                <a:gd name="T30" fmla="*/ 2147483647 w 133"/>
                <a:gd name="T31" fmla="*/ 2147483647 h 117"/>
                <a:gd name="T32" fmla="*/ 2147483647 w 133"/>
                <a:gd name="T33" fmla="*/ 2147483647 h 117"/>
                <a:gd name="T34" fmla="*/ 2147483647 w 133"/>
                <a:gd name="T35" fmla="*/ 2147483647 h 117"/>
                <a:gd name="T36" fmla="*/ 2147483647 w 133"/>
                <a:gd name="T37" fmla="*/ 2147483647 h 117"/>
                <a:gd name="T38" fmla="*/ 2147483647 w 133"/>
                <a:gd name="T39" fmla="*/ 2147483647 h 117"/>
                <a:gd name="T40" fmla="*/ 2147483647 w 133"/>
                <a:gd name="T41" fmla="*/ 2147483647 h 117"/>
                <a:gd name="T42" fmla="*/ 2147483647 w 133"/>
                <a:gd name="T43" fmla="*/ 2147483647 h 117"/>
                <a:gd name="T44" fmla="*/ 2147483647 w 133"/>
                <a:gd name="T45" fmla="*/ 2147483647 h 117"/>
                <a:gd name="T46" fmla="*/ 2147483647 w 133"/>
                <a:gd name="T47" fmla="*/ 2147483647 h 117"/>
                <a:gd name="T48" fmla="*/ 2147483647 w 133"/>
                <a:gd name="T49" fmla="*/ 2147483647 h 117"/>
                <a:gd name="T50" fmla="*/ 0 w 133"/>
                <a:gd name="T51" fmla="*/ 2147483647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3"/>
                <a:gd name="T79" fmla="*/ 0 h 117"/>
                <a:gd name="T80" fmla="*/ 133 w 133"/>
                <a:gd name="T81" fmla="*/ 117 h 117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40" name="Freeform 342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4308475" y="1931988"/>
              <a:ext cx="220663" cy="177800"/>
            </a:xfrm>
            <a:custGeom>
              <a:avLst/>
              <a:gdLst>
                <a:gd name="T0" fmla="*/ 2147483647 w 505"/>
                <a:gd name="T1" fmla="*/ 2147483647 h 339"/>
                <a:gd name="T2" fmla="*/ 2147483647 w 505"/>
                <a:gd name="T3" fmla="*/ 2147483647 h 339"/>
                <a:gd name="T4" fmla="*/ 2147483647 w 505"/>
                <a:gd name="T5" fmla="*/ 2147483647 h 339"/>
                <a:gd name="T6" fmla="*/ 2147483647 w 505"/>
                <a:gd name="T7" fmla="*/ 2147483647 h 339"/>
                <a:gd name="T8" fmla="*/ 2147483647 w 505"/>
                <a:gd name="T9" fmla="*/ 2147483647 h 339"/>
                <a:gd name="T10" fmla="*/ 2147483647 w 505"/>
                <a:gd name="T11" fmla="*/ 2147483647 h 339"/>
                <a:gd name="T12" fmla="*/ 2147483647 w 505"/>
                <a:gd name="T13" fmla="*/ 2147483647 h 339"/>
                <a:gd name="T14" fmla="*/ 2147483647 w 505"/>
                <a:gd name="T15" fmla="*/ 2147483647 h 339"/>
                <a:gd name="T16" fmla="*/ 2147483647 w 505"/>
                <a:gd name="T17" fmla="*/ 2147483647 h 339"/>
                <a:gd name="T18" fmla="*/ 2147483647 w 505"/>
                <a:gd name="T19" fmla="*/ 2147483647 h 339"/>
                <a:gd name="T20" fmla="*/ 2147483647 w 505"/>
                <a:gd name="T21" fmla="*/ 2147483647 h 339"/>
                <a:gd name="T22" fmla="*/ 2147483647 w 505"/>
                <a:gd name="T23" fmla="*/ 2147483647 h 339"/>
                <a:gd name="T24" fmla="*/ 2147483647 w 505"/>
                <a:gd name="T25" fmla="*/ 2147483647 h 339"/>
                <a:gd name="T26" fmla="*/ 2147483647 w 505"/>
                <a:gd name="T27" fmla="*/ 2147483647 h 339"/>
                <a:gd name="T28" fmla="*/ 2147483647 w 505"/>
                <a:gd name="T29" fmla="*/ 2147483647 h 339"/>
                <a:gd name="T30" fmla="*/ 2147483647 w 505"/>
                <a:gd name="T31" fmla="*/ 2147483647 h 339"/>
                <a:gd name="T32" fmla="*/ 2147483647 w 505"/>
                <a:gd name="T33" fmla="*/ 2147483647 h 339"/>
                <a:gd name="T34" fmla="*/ 2147483647 w 505"/>
                <a:gd name="T35" fmla="*/ 2147483647 h 339"/>
                <a:gd name="T36" fmla="*/ 2147483647 w 505"/>
                <a:gd name="T37" fmla="*/ 2147483647 h 339"/>
                <a:gd name="T38" fmla="*/ 2147483647 w 505"/>
                <a:gd name="T39" fmla="*/ 2147483647 h 339"/>
                <a:gd name="T40" fmla="*/ 2147483647 w 505"/>
                <a:gd name="T41" fmla="*/ 2147483647 h 339"/>
                <a:gd name="T42" fmla="*/ 2147483647 w 505"/>
                <a:gd name="T43" fmla="*/ 2147483647 h 339"/>
                <a:gd name="T44" fmla="*/ 2147483647 w 505"/>
                <a:gd name="T45" fmla="*/ 2147483647 h 339"/>
                <a:gd name="T46" fmla="*/ 2147483647 w 505"/>
                <a:gd name="T47" fmla="*/ 2147483647 h 339"/>
                <a:gd name="T48" fmla="*/ 2147483647 w 505"/>
                <a:gd name="T49" fmla="*/ 2147483647 h 339"/>
                <a:gd name="T50" fmla="*/ 2147483647 w 505"/>
                <a:gd name="T51" fmla="*/ 2147483647 h 339"/>
                <a:gd name="T52" fmla="*/ 2147483647 w 505"/>
                <a:gd name="T53" fmla="*/ 2147483647 h 339"/>
                <a:gd name="T54" fmla="*/ 2147483647 w 505"/>
                <a:gd name="T55" fmla="*/ 2147483647 h 339"/>
                <a:gd name="T56" fmla="*/ 2147483647 w 505"/>
                <a:gd name="T57" fmla="*/ 2147483647 h 339"/>
                <a:gd name="T58" fmla="*/ 2147483647 w 505"/>
                <a:gd name="T59" fmla="*/ 2147483647 h 339"/>
                <a:gd name="T60" fmla="*/ 2147483647 w 505"/>
                <a:gd name="T61" fmla="*/ 2147483647 h 339"/>
                <a:gd name="T62" fmla="*/ 2147483647 w 505"/>
                <a:gd name="T63" fmla="*/ 2147483647 h 339"/>
                <a:gd name="T64" fmla="*/ 2147483647 w 505"/>
                <a:gd name="T65" fmla="*/ 2147483647 h 339"/>
                <a:gd name="T66" fmla="*/ 2147483647 w 505"/>
                <a:gd name="T67" fmla="*/ 2147483647 h 339"/>
                <a:gd name="T68" fmla="*/ 2147483647 w 505"/>
                <a:gd name="T69" fmla="*/ 2147483647 h 339"/>
                <a:gd name="T70" fmla="*/ 2147483647 w 505"/>
                <a:gd name="T71" fmla="*/ 2147483647 h 339"/>
                <a:gd name="T72" fmla="*/ 2147483647 w 505"/>
                <a:gd name="T73" fmla="*/ 2147483647 h 339"/>
                <a:gd name="T74" fmla="*/ 2147483647 w 505"/>
                <a:gd name="T75" fmla="*/ 2147483647 h 339"/>
                <a:gd name="T76" fmla="*/ 2147483647 w 505"/>
                <a:gd name="T77" fmla="*/ 2147483647 h 339"/>
                <a:gd name="T78" fmla="*/ 2147483647 w 505"/>
                <a:gd name="T79" fmla="*/ 2147483647 h 339"/>
                <a:gd name="T80" fmla="*/ 2147483647 w 505"/>
                <a:gd name="T81" fmla="*/ 2147483647 h 339"/>
                <a:gd name="T82" fmla="*/ 2147483647 w 505"/>
                <a:gd name="T83" fmla="*/ 2147483647 h 339"/>
                <a:gd name="T84" fmla="*/ 2147483647 w 505"/>
                <a:gd name="T85" fmla="*/ 2147483647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05"/>
                <a:gd name="T130" fmla="*/ 0 h 339"/>
                <a:gd name="T131" fmla="*/ 505 w 505"/>
                <a:gd name="T132" fmla="*/ 339 h 33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41" name="Freeform 343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4371975" y="2136775"/>
              <a:ext cx="146050" cy="71438"/>
            </a:xfrm>
            <a:custGeom>
              <a:avLst/>
              <a:gdLst>
                <a:gd name="T0" fmla="*/ 2147483647 w 338"/>
                <a:gd name="T1" fmla="*/ 0 h 141"/>
                <a:gd name="T2" fmla="*/ 2147483647 w 338"/>
                <a:gd name="T3" fmla="*/ 0 h 141"/>
                <a:gd name="T4" fmla="*/ 2147483647 w 338"/>
                <a:gd name="T5" fmla="*/ 2147483647 h 141"/>
                <a:gd name="T6" fmla="*/ 2147483647 w 338"/>
                <a:gd name="T7" fmla="*/ 2147483647 h 141"/>
                <a:gd name="T8" fmla="*/ 2147483647 w 338"/>
                <a:gd name="T9" fmla="*/ 2147483647 h 141"/>
                <a:gd name="T10" fmla="*/ 2147483647 w 338"/>
                <a:gd name="T11" fmla="*/ 2147483647 h 141"/>
                <a:gd name="T12" fmla="*/ 2147483647 w 338"/>
                <a:gd name="T13" fmla="*/ 2147483647 h 141"/>
                <a:gd name="T14" fmla="*/ 2147483647 w 338"/>
                <a:gd name="T15" fmla="*/ 2147483647 h 141"/>
                <a:gd name="T16" fmla="*/ 2147483647 w 338"/>
                <a:gd name="T17" fmla="*/ 2147483647 h 141"/>
                <a:gd name="T18" fmla="*/ 2147483647 w 338"/>
                <a:gd name="T19" fmla="*/ 2147483647 h 141"/>
                <a:gd name="T20" fmla="*/ 2147483647 w 338"/>
                <a:gd name="T21" fmla="*/ 2147483647 h 141"/>
                <a:gd name="T22" fmla="*/ 2147483647 w 338"/>
                <a:gd name="T23" fmla="*/ 2147483647 h 141"/>
                <a:gd name="T24" fmla="*/ 2147483647 w 338"/>
                <a:gd name="T25" fmla="*/ 2147483647 h 141"/>
                <a:gd name="T26" fmla="*/ 2147483647 w 338"/>
                <a:gd name="T27" fmla="*/ 2147483647 h 141"/>
                <a:gd name="T28" fmla="*/ 2147483647 w 338"/>
                <a:gd name="T29" fmla="*/ 2147483647 h 141"/>
                <a:gd name="T30" fmla="*/ 2147483647 w 338"/>
                <a:gd name="T31" fmla="*/ 2147483647 h 141"/>
                <a:gd name="T32" fmla="*/ 2147483647 w 338"/>
                <a:gd name="T33" fmla="*/ 2147483647 h 141"/>
                <a:gd name="T34" fmla="*/ 2147483647 w 338"/>
                <a:gd name="T35" fmla="*/ 2147483647 h 141"/>
                <a:gd name="T36" fmla="*/ 2147483647 w 338"/>
                <a:gd name="T37" fmla="*/ 2147483647 h 141"/>
                <a:gd name="T38" fmla="*/ 2147483647 w 338"/>
                <a:gd name="T39" fmla="*/ 2147483647 h 141"/>
                <a:gd name="T40" fmla="*/ 2147483647 w 338"/>
                <a:gd name="T41" fmla="*/ 2147483647 h 141"/>
                <a:gd name="T42" fmla="*/ 0 w 338"/>
                <a:gd name="T43" fmla="*/ 2147483647 h 141"/>
                <a:gd name="T44" fmla="*/ 2147483647 w 338"/>
                <a:gd name="T45" fmla="*/ 2147483647 h 141"/>
                <a:gd name="T46" fmla="*/ 2147483647 w 338"/>
                <a:gd name="T47" fmla="*/ 2147483647 h 141"/>
                <a:gd name="T48" fmla="*/ 2147483647 w 338"/>
                <a:gd name="T49" fmla="*/ 2147483647 h 141"/>
                <a:gd name="T50" fmla="*/ 2147483647 w 338"/>
                <a:gd name="T51" fmla="*/ 2147483647 h 141"/>
                <a:gd name="T52" fmla="*/ 2147483647 w 338"/>
                <a:gd name="T53" fmla="*/ 2147483647 h 141"/>
                <a:gd name="T54" fmla="*/ 2147483647 w 338"/>
                <a:gd name="T55" fmla="*/ 2147483647 h 141"/>
                <a:gd name="T56" fmla="*/ 2147483647 w 338"/>
                <a:gd name="T57" fmla="*/ 2147483647 h 141"/>
                <a:gd name="T58" fmla="*/ 2147483647 w 338"/>
                <a:gd name="T59" fmla="*/ 2147483647 h 141"/>
                <a:gd name="T60" fmla="*/ 2147483647 w 338"/>
                <a:gd name="T61" fmla="*/ 2147483647 h 141"/>
                <a:gd name="T62" fmla="*/ 2147483647 w 338"/>
                <a:gd name="T63" fmla="*/ 2147483647 h 141"/>
                <a:gd name="T64" fmla="*/ 2147483647 w 338"/>
                <a:gd name="T65" fmla="*/ 2147483647 h 141"/>
                <a:gd name="T66" fmla="*/ 2147483647 w 338"/>
                <a:gd name="T67" fmla="*/ 2147483647 h 141"/>
                <a:gd name="T68" fmla="*/ 2147483647 w 338"/>
                <a:gd name="T69" fmla="*/ 2147483647 h 141"/>
                <a:gd name="T70" fmla="*/ 2147483647 w 338"/>
                <a:gd name="T71" fmla="*/ 2147483647 h 141"/>
                <a:gd name="T72" fmla="*/ 2147483647 w 338"/>
                <a:gd name="T73" fmla="*/ 2147483647 h 141"/>
                <a:gd name="T74" fmla="*/ 2147483647 w 338"/>
                <a:gd name="T75" fmla="*/ 2147483647 h 141"/>
                <a:gd name="T76" fmla="*/ 2147483647 w 338"/>
                <a:gd name="T77" fmla="*/ 2147483647 h 141"/>
                <a:gd name="T78" fmla="*/ 2147483647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38"/>
                <a:gd name="T121" fmla="*/ 0 h 141"/>
                <a:gd name="T122" fmla="*/ 338 w 338"/>
                <a:gd name="T123" fmla="*/ 141 h 141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42" name="Freeform 344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4471988" y="1792288"/>
              <a:ext cx="111125" cy="65087"/>
            </a:xfrm>
            <a:custGeom>
              <a:avLst/>
              <a:gdLst>
                <a:gd name="T0" fmla="*/ 2147483647 w 259"/>
                <a:gd name="T1" fmla="*/ 2147483647 h 129"/>
                <a:gd name="T2" fmla="*/ 2147483647 w 259"/>
                <a:gd name="T3" fmla="*/ 2147483647 h 129"/>
                <a:gd name="T4" fmla="*/ 2147483647 w 259"/>
                <a:gd name="T5" fmla="*/ 2147483647 h 129"/>
                <a:gd name="T6" fmla="*/ 2147483647 w 259"/>
                <a:gd name="T7" fmla="*/ 2147483647 h 129"/>
                <a:gd name="T8" fmla="*/ 2147483647 w 259"/>
                <a:gd name="T9" fmla="*/ 2147483647 h 129"/>
                <a:gd name="T10" fmla="*/ 2147483647 w 259"/>
                <a:gd name="T11" fmla="*/ 2147483647 h 129"/>
                <a:gd name="T12" fmla="*/ 2147483647 w 259"/>
                <a:gd name="T13" fmla="*/ 2147483647 h 129"/>
                <a:gd name="T14" fmla="*/ 2147483647 w 259"/>
                <a:gd name="T15" fmla="*/ 2147483647 h 129"/>
                <a:gd name="T16" fmla="*/ 2147483647 w 259"/>
                <a:gd name="T17" fmla="*/ 2147483647 h 129"/>
                <a:gd name="T18" fmla="*/ 2147483647 w 259"/>
                <a:gd name="T19" fmla="*/ 2147483647 h 129"/>
                <a:gd name="T20" fmla="*/ 2147483647 w 259"/>
                <a:gd name="T21" fmla="*/ 2147483647 h 129"/>
                <a:gd name="T22" fmla="*/ 2147483647 w 259"/>
                <a:gd name="T23" fmla="*/ 2147483647 h 129"/>
                <a:gd name="T24" fmla="*/ 2147483647 w 259"/>
                <a:gd name="T25" fmla="*/ 2147483647 h 129"/>
                <a:gd name="T26" fmla="*/ 2147483647 w 259"/>
                <a:gd name="T27" fmla="*/ 2147483647 h 129"/>
                <a:gd name="T28" fmla="*/ 2147483647 w 259"/>
                <a:gd name="T29" fmla="*/ 2147483647 h 129"/>
                <a:gd name="T30" fmla="*/ 2147483647 w 259"/>
                <a:gd name="T31" fmla="*/ 2147483647 h 129"/>
                <a:gd name="T32" fmla="*/ 2147483647 w 259"/>
                <a:gd name="T33" fmla="*/ 2147483647 h 129"/>
                <a:gd name="T34" fmla="*/ 2147483647 w 259"/>
                <a:gd name="T35" fmla="*/ 2147483647 h 129"/>
                <a:gd name="T36" fmla="*/ 2147483647 w 259"/>
                <a:gd name="T37" fmla="*/ 2147483647 h 129"/>
                <a:gd name="T38" fmla="*/ 2147483647 w 259"/>
                <a:gd name="T39" fmla="*/ 2147483647 h 129"/>
                <a:gd name="T40" fmla="*/ 2147483647 w 259"/>
                <a:gd name="T41" fmla="*/ 2147483647 h 129"/>
                <a:gd name="T42" fmla="*/ 2147483647 w 259"/>
                <a:gd name="T43" fmla="*/ 2147483647 h 129"/>
                <a:gd name="T44" fmla="*/ 2147483647 w 259"/>
                <a:gd name="T45" fmla="*/ 0 h 129"/>
                <a:gd name="T46" fmla="*/ 2147483647 w 259"/>
                <a:gd name="T47" fmla="*/ 0 h 129"/>
                <a:gd name="T48" fmla="*/ 2147483647 w 259"/>
                <a:gd name="T49" fmla="*/ 0 h 129"/>
                <a:gd name="T50" fmla="*/ 2147483647 w 259"/>
                <a:gd name="T51" fmla="*/ 0 h 129"/>
                <a:gd name="T52" fmla="*/ 2147483647 w 259"/>
                <a:gd name="T53" fmla="*/ 2147483647 h 129"/>
                <a:gd name="T54" fmla="*/ 2147483647 w 259"/>
                <a:gd name="T55" fmla="*/ 2147483647 h 129"/>
                <a:gd name="T56" fmla="*/ 2147483647 w 259"/>
                <a:gd name="T57" fmla="*/ 2147483647 h 129"/>
                <a:gd name="T58" fmla="*/ 2147483647 w 259"/>
                <a:gd name="T59" fmla="*/ 2147483647 h 129"/>
                <a:gd name="T60" fmla="*/ 2147483647 w 259"/>
                <a:gd name="T61" fmla="*/ 2147483647 h 129"/>
                <a:gd name="T62" fmla="*/ 2147483647 w 259"/>
                <a:gd name="T63" fmla="*/ 2147483647 h 129"/>
                <a:gd name="T64" fmla="*/ 2147483647 w 259"/>
                <a:gd name="T65" fmla="*/ 2147483647 h 129"/>
                <a:gd name="T66" fmla="*/ 0 w 259"/>
                <a:gd name="T67" fmla="*/ 2147483647 h 129"/>
                <a:gd name="T68" fmla="*/ 0 w 259"/>
                <a:gd name="T69" fmla="*/ 2147483647 h 129"/>
                <a:gd name="T70" fmla="*/ 0 w 259"/>
                <a:gd name="T71" fmla="*/ 2147483647 h 129"/>
                <a:gd name="T72" fmla="*/ 2147483647 w 259"/>
                <a:gd name="T73" fmla="*/ 2147483647 h 129"/>
                <a:gd name="T74" fmla="*/ 2147483647 w 259"/>
                <a:gd name="T75" fmla="*/ 2147483647 h 129"/>
                <a:gd name="T76" fmla="*/ 2147483647 w 259"/>
                <a:gd name="T77" fmla="*/ 2147483647 h 129"/>
                <a:gd name="T78" fmla="*/ 2147483647 w 259"/>
                <a:gd name="T79" fmla="*/ 2147483647 h 129"/>
                <a:gd name="T80" fmla="*/ 2147483647 w 259"/>
                <a:gd name="T81" fmla="*/ 2147483647 h 129"/>
                <a:gd name="T82" fmla="*/ 2147483647 w 259"/>
                <a:gd name="T83" fmla="*/ 2147483647 h 129"/>
                <a:gd name="T84" fmla="*/ 2147483647 w 259"/>
                <a:gd name="T85" fmla="*/ 2147483647 h 129"/>
                <a:gd name="T86" fmla="*/ 2147483647 w 259"/>
                <a:gd name="T87" fmla="*/ 2147483647 h 129"/>
                <a:gd name="T88" fmla="*/ 2147483647 w 259"/>
                <a:gd name="T89" fmla="*/ 2147483647 h 129"/>
                <a:gd name="T90" fmla="*/ 2147483647 w 259"/>
                <a:gd name="T91" fmla="*/ 2147483647 h 129"/>
                <a:gd name="T92" fmla="*/ 2147483647 w 259"/>
                <a:gd name="T93" fmla="*/ 2147483647 h 129"/>
                <a:gd name="T94" fmla="*/ 2147483647 w 259"/>
                <a:gd name="T95" fmla="*/ 2147483647 h 129"/>
                <a:gd name="T96" fmla="*/ 2147483647 w 259"/>
                <a:gd name="T97" fmla="*/ 2147483647 h 129"/>
                <a:gd name="T98" fmla="*/ 2147483647 w 259"/>
                <a:gd name="T99" fmla="*/ 2147483647 h 129"/>
                <a:gd name="T100" fmla="*/ 2147483647 w 259"/>
                <a:gd name="T101" fmla="*/ 2147483647 h 129"/>
                <a:gd name="T102" fmla="*/ 2147483647 w 259"/>
                <a:gd name="T103" fmla="*/ 2147483647 h 129"/>
                <a:gd name="T104" fmla="*/ 2147483647 w 259"/>
                <a:gd name="T105" fmla="*/ 2147483647 h 129"/>
                <a:gd name="T106" fmla="*/ 2147483647 w 259"/>
                <a:gd name="T107" fmla="*/ 2147483647 h 129"/>
                <a:gd name="T108" fmla="*/ 2147483647 w 259"/>
                <a:gd name="T109" fmla="*/ 2147483647 h 129"/>
                <a:gd name="T110" fmla="*/ 2147483647 w 259"/>
                <a:gd name="T111" fmla="*/ 2147483647 h 129"/>
                <a:gd name="T112" fmla="*/ 2147483647 w 259"/>
                <a:gd name="T113" fmla="*/ 2147483647 h 129"/>
                <a:gd name="T114" fmla="*/ 2147483647 w 259"/>
                <a:gd name="T115" fmla="*/ 2147483647 h 129"/>
                <a:gd name="T116" fmla="*/ 2147483647 w 259"/>
                <a:gd name="T117" fmla="*/ 214748364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59"/>
                <a:gd name="T178" fmla="*/ 0 h 129"/>
                <a:gd name="T179" fmla="*/ 259 w 259"/>
                <a:gd name="T180" fmla="*/ 129 h 12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43" name="Freeform 345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4484688" y="2139950"/>
              <a:ext cx="179387" cy="142875"/>
            </a:xfrm>
            <a:custGeom>
              <a:avLst/>
              <a:gdLst>
                <a:gd name="T0" fmla="*/ 2147483647 w 425"/>
                <a:gd name="T1" fmla="*/ 2147483647 h 272"/>
                <a:gd name="T2" fmla="*/ 2147483647 w 425"/>
                <a:gd name="T3" fmla="*/ 2147483647 h 272"/>
                <a:gd name="T4" fmla="*/ 2147483647 w 425"/>
                <a:gd name="T5" fmla="*/ 2147483647 h 272"/>
                <a:gd name="T6" fmla="*/ 2147483647 w 425"/>
                <a:gd name="T7" fmla="*/ 2147483647 h 272"/>
                <a:gd name="T8" fmla="*/ 2147483647 w 425"/>
                <a:gd name="T9" fmla="*/ 2147483647 h 272"/>
                <a:gd name="T10" fmla="*/ 2147483647 w 425"/>
                <a:gd name="T11" fmla="*/ 2147483647 h 272"/>
                <a:gd name="T12" fmla="*/ 2147483647 w 425"/>
                <a:gd name="T13" fmla="*/ 2147483647 h 272"/>
                <a:gd name="T14" fmla="*/ 2147483647 w 425"/>
                <a:gd name="T15" fmla="*/ 2147483647 h 272"/>
                <a:gd name="T16" fmla="*/ 2147483647 w 425"/>
                <a:gd name="T17" fmla="*/ 2147483647 h 272"/>
                <a:gd name="T18" fmla="*/ 2147483647 w 425"/>
                <a:gd name="T19" fmla="*/ 2147483647 h 272"/>
                <a:gd name="T20" fmla="*/ 2147483647 w 425"/>
                <a:gd name="T21" fmla="*/ 2147483647 h 272"/>
                <a:gd name="T22" fmla="*/ 2147483647 w 425"/>
                <a:gd name="T23" fmla="*/ 2147483647 h 272"/>
                <a:gd name="T24" fmla="*/ 2147483647 w 425"/>
                <a:gd name="T25" fmla="*/ 2147483647 h 272"/>
                <a:gd name="T26" fmla="*/ 2147483647 w 425"/>
                <a:gd name="T27" fmla="*/ 2147483647 h 272"/>
                <a:gd name="T28" fmla="*/ 2147483647 w 425"/>
                <a:gd name="T29" fmla="*/ 2147483647 h 272"/>
                <a:gd name="T30" fmla="*/ 2147483647 w 425"/>
                <a:gd name="T31" fmla="*/ 2147483647 h 272"/>
                <a:gd name="T32" fmla="*/ 2147483647 w 425"/>
                <a:gd name="T33" fmla="*/ 2147483647 h 272"/>
                <a:gd name="T34" fmla="*/ 2147483647 w 425"/>
                <a:gd name="T35" fmla="*/ 2147483647 h 272"/>
                <a:gd name="T36" fmla="*/ 2147483647 w 425"/>
                <a:gd name="T37" fmla="*/ 2147483647 h 272"/>
                <a:gd name="T38" fmla="*/ 0 w 425"/>
                <a:gd name="T39" fmla="*/ 2147483647 h 272"/>
                <a:gd name="T40" fmla="*/ 2147483647 w 425"/>
                <a:gd name="T41" fmla="*/ 2147483647 h 272"/>
                <a:gd name="T42" fmla="*/ 2147483647 w 425"/>
                <a:gd name="T43" fmla="*/ 2147483647 h 272"/>
                <a:gd name="T44" fmla="*/ 2147483647 w 425"/>
                <a:gd name="T45" fmla="*/ 2147483647 h 272"/>
                <a:gd name="T46" fmla="*/ 2147483647 w 425"/>
                <a:gd name="T47" fmla="*/ 2147483647 h 272"/>
                <a:gd name="T48" fmla="*/ 2147483647 w 425"/>
                <a:gd name="T49" fmla="*/ 2147483647 h 272"/>
                <a:gd name="T50" fmla="*/ 2147483647 w 425"/>
                <a:gd name="T51" fmla="*/ 2147483647 h 272"/>
                <a:gd name="T52" fmla="*/ 2147483647 w 425"/>
                <a:gd name="T53" fmla="*/ 2147483647 h 272"/>
                <a:gd name="T54" fmla="*/ 2147483647 w 425"/>
                <a:gd name="T55" fmla="*/ 2147483647 h 272"/>
                <a:gd name="T56" fmla="*/ 2147483647 w 425"/>
                <a:gd name="T57" fmla="*/ 2147483647 h 272"/>
                <a:gd name="T58" fmla="*/ 2147483647 w 425"/>
                <a:gd name="T59" fmla="*/ 2147483647 h 272"/>
                <a:gd name="T60" fmla="*/ 2147483647 w 425"/>
                <a:gd name="T61" fmla="*/ 2147483647 h 272"/>
                <a:gd name="T62" fmla="*/ 2147483647 w 425"/>
                <a:gd name="T63" fmla="*/ 2147483647 h 272"/>
                <a:gd name="T64" fmla="*/ 2147483647 w 425"/>
                <a:gd name="T65" fmla="*/ 2147483647 h 272"/>
                <a:gd name="T66" fmla="*/ 2147483647 w 425"/>
                <a:gd name="T67" fmla="*/ 0 h 272"/>
                <a:gd name="T68" fmla="*/ 2147483647 w 425"/>
                <a:gd name="T69" fmla="*/ 2147483647 h 272"/>
                <a:gd name="T70" fmla="*/ 2147483647 w 425"/>
                <a:gd name="T71" fmla="*/ 2147483647 h 272"/>
                <a:gd name="T72" fmla="*/ 2147483647 w 425"/>
                <a:gd name="T73" fmla="*/ 2147483647 h 272"/>
                <a:gd name="T74" fmla="*/ 2147483647 w 425"/>
                <a:gd name="T75" fmla="*/ 2147483647 h 272"/>
                <a:gd name="T76" fmla="*/ 2147483647 w 425"/>
                <a:gd name="T77" fmla="*/ 2147483647 h 272"/>
                <a:gd name="T78" fmla="*/ 2147483647 w 425"/>
                <a:gd name="T79" fmla="*/ 2147483647 h 272"/>
                <a:gd name="T80" fmla="*/ 2147483647 w 425"/>
                <a:gd name="T81" fmla="*/ 2147483647 h 272"/>
                <a:gd name="T82" fmla="*/ 2147483647 w 425"/>
                <a:gd name="T83" fmla="*/ 2147483647 h 272"/>
                <a:gd name="T84" fmla="*/ 2147483647 w 425"/>
                <a:gd name="T85" fmla="*/ 2147483647 h 272"/>
                <a:gd name="T86" fmla="*/ 2147483647 w 425"/>
                <a:gd name="T87" fmla="*/ 2147483647 h 272"/>
                <a:gd name="T88" fmla="*/ 2147483647 w 425"/>
                <a:gd name="T89" fmla="*/ 2147483647 h 272"/>
                <a:gd name="T90" fmla="*/ 2147483647 w 425"/>
                <a:gd name="T91" fmla="*/ 2147483647 h 272"/>
                <a:gd name="T92" fmla="*/ 2147483647 w 425"/>
                <a:gd name="T93" fmla="*/ 2147483647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25"/>
                <a:gd name="T142" fmla="*/ 0 h 272"/>
                <a:gd name="T143" fmla="*/ 425 w 425"/>
                <a:gd name="T144" fmla="*/ 272 h 27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44" name="Freeform 346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2484438" y="3178175"/>
              <a:ext cx="14287" cy="55563"/>
            </a:xfrm>
            <a:custGeom>
              <a:avLst/>
              <a:gdLst>
                <a:gd name="T0" fmla="*/ 2147483647 w 33"/>
                <a:gd name="T1" fmla="*/ 2147483647 h 31"/>
                <a:gd name="T2" fmla="*/ 0 w 33"/>
                <a:gd name="T3" fmla="*/ 2147483647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0 h 31"/>
                <a:gd name="T18" fmla="*/ 2147483647 w 33"/>
                <a:gd name="T19" fmla="*/ 0 h 31"/>
                <a:gd name="T20" fmla="*/ 2147483647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31"/>
                <a:gd name="T35" fmla="*/ 33 w 33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45" name="Freeform 347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4589463" y="2132013"/>
              <a:ext cx="85725" cy="79375"/>
            </a:xfrm>
            <a:custGeom>
              <a:avLst/>
              <a:gdLst>
                <a:gd name="T0" fmla="*/ 2147483647 w 192"/>
                <a:gd name="T1" fmla="*/ 2147483647 h 154"/>
                <a:gd name="T2" fmla="*/ 2147483647 w 192"/>
                <a:gd name="T3" fmla="*/ 0 h 154"/>
                <a:gd name="T4" fmla="*/ 2147483647 w 192"/>
                <a:gd name="T5" fmla="*/ 2147483647 h 154"/>
                <a:gd name="T6" fmla="*/ 2147483647 w 192"/>
                <a:gd name="T7" fmla="*/ 2147483647 h 154"/>
                <a:gd name="T8" fmla="*/ 2147483647 w 192"/>
                <a:gd name="T9" fmla="*/ 2147483647 h 154"/>
                <a:gd name="T10" fmla="*/ 2147483647 w 192"/>
                <a:gd name="T11" fmla="*/ 2147483647 h 154"/>
                <a:gd name="T12" fmla="*/ 2147483647 w 192"/>
                <a:gd name="T13" fmla="*/ 2147483647 h 154"/>
                <a:gd name="T14" fmla="*/ 2147483647 w 192"/>
                <a:gd name="T15" fmla="*/ 2147483647 h 154"/>
                <a:gd name="T16" fmla="*/ 2147483647 w 192"/>
                <a:gd name="T17" fmla="*/ 2147483647 h 154"/>
                <a:gd name="T18" fmla="*/ 2147483647 w 192"/>
                <a:gd name="T19" fmla="*/ 2147483647 h 154"/>
                <a:gd name="T20" fmla="*/ 2147483647 w 192"/>
                <a:gd name="T21" fmla="*/ 2147483647 h 154"/>
                <a:gd name="T22" fmla="*/ 2147483647 w 192"/>
                <a:gd name="T23" fmla="*/ 2147483647 h 154"/>
                <a:gd name="T24" fmla="*/ 2147483647 w 192"/>
                <a:gd name="T25" fmla="*/ 2147483647 h 154"/>
                <a:gd name="T26" fmla="*/ 2147483647 w 192"/>
                <a:gd name="T27" fmla="*/ 2147483647 h 154"/>
                <a:gd name="T28" fmla="*/ 2147483647 w 192"/>
                <a:gd name="T29" fmla="*/ 2147483647 h 154"/>
                <a:gd name="T30" fmla="*/ 2147483647 w 192"/>
                <a:gd name="T31" fmla="*/ 2147483647 h 154"/>
                <a:gd name="T32" fmla="*/ 2147483647 w 192"/>
                <a:gd name="T33" fmla="*/ 2147483647 h 154"/>
                <a:gd name="T34" fmla="*/ 2147483647 w 192"/>
                <a:gd name="T35" fmla="*/ 2147483647 h 154"/>
                <a:gd name="T36" fmla="*/ 2147483647 w 192"/>
                <a:gd name="T37" fmla="*/ 2147483647 h 154"/>
                <a:gd name="T38" fmla="*/ 2147483647 w 192"/>
                <a:gd name="T39" fmla="*/ 2147483647 h 154"/>
                <a:gd name="T40" fmla="*/ 2147483647 w 192"/>
                <a:gd name="T41" fmla="*/ 2147483647 h 154"/>
                <a:gd name="T42" fmla="*/ 2147483647 w 192"/>
                <a:gd name="T43" fmla="*/ 2147483647 h 154"/>
                <a:gd name="T44" fmla="*/ 2147483647 w 192"/>
                <a:gd name="T45" fmla="*/ 2147483647 h 154"/>
                <a:gd name="T46" fmla="*/ 2147483647 w 192"/>
                <a:gd name="T47" fmla="*/ 2147483647 h 154"/>
                <a:gd name="T48" fmla="*/ 2147483647 w 192"/>
                <a:gd name="T49" fmla="*/ 2147483647 h 154"/>
                <a:gd name="T50" fmla="*/ 2147483647 w 192"/>
                <a:gd name="T51" fmla="*/ 2147483647 h 154"/>
                <a:gd name="T52" fmla="*/ 0 w 192"/>
                <a:gd name="T53" fmla="*/ 2147483647 h 154"/>
                <a:gd name="T54" fmla="*/ 2147483647 w 192"/>
                <a:gd name="T55" fmla="*/ 2147483647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92"/>
                <a:gd name="T85" fmla="*/ 0 h 154"/>
                <a:gd name="T86" fmla="*/ 192 w 192"/>
                <a:gd name="T87" fmla="*/ 154 h 15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46" name="Freeform 348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4506913" y="2014538"/>
              <a:ext cx="381000" cy="247650"/>
            </a:xfrm>
            <a:custGeom>
              <a:avLst/>
              <a:gdLst>
                <a:gd name="T0" fmla="*/ 2147483647 w 877"/>
                <a:gd name="T1" fmla="*/ 2147483647 h 469"/>
                <a:gd name="T2" fmla="*/ 2147483647 w 877"/>
                <a:gd name="T3" fmla="*/ 2147483647 h 469"/>
                <a:gd name="T4" fmla="*/ 2147483647 w 877"/>
                <a:gd name="T5" fmla="*/ 2147483647 h 469"/>
                <a:gd name="T6" fmla="*/ 2147483647 w 877"/>
                <a:gd name="T7" fmla="*/ 2147483647 h 469"/>
                <a:gd name="T8" fmla="*/ 2147483647 w 877"/>
                <a:gd name="T9" fmla="*/ 2147483647 h 469"/>
                <a:gd name="T10" fmla="*/ 2147483647 w 877"/>
                <a:gd name="T11" fmla="*/ 2147483647 h 469"/>
                <a:gd name="T12" fmla="*/ 2147483647 w 877"/>
                <a:gd name="T13" fmla="*/ 2147483647 h 469"/>
                <a:gd name="T14" fmla="*/ 2147483647 w 877"/>
                <a:gd name="T15" fmla="*/ 2147483647 h 469"/>
                <a:gd name="T16" fmla="*/ 2147483647 w 877"/>
                <a:gd name="T17" fmla="*/ 2147483647 h 469"/>
                <a:gd name="T18" fmla="*/ 2147483647 w 877"/>
                <a:gd name="T19" fmla="*/ 2147483647 h 469"/>
                <a:gd name="T20" fmla="*/ 2147483647 w 877"/>
                <a:gd name="T21" fmla="*/ 2147483647 h 469"/>
                <a:gd name="T22" fmla="*/ 2147483647 w 877"/>
                <a:gd name="T23" fmla="*/ 2147483647 h 469"/>
                <a:gd name="T24" fmla="*/ 2147483647 w 877"/>
                <a:gd name="T25" fmla="*/ 2147483647 h 469"/>
                <a:gd name="T26" fmla="*/ 2147483647 w 877"/>
                <a:gd name="T27" fmla="*/ 2147483647 h 469"/>
                <a:gd name="T28" fmla="*/ 2147483647 w 877"/>
                <a:gd name="T29" fmla="*/ 2147483647 h 469"/>
                <a:gd name="T30" fmla="*/ 2147483647 w 877"/>
                <a:gd name="T31" fmla="*/ 2147483647 h 469"/>
                <a:gd name="T32" fmla="*/ 2147483647 w 877"/>
                <a:gd name="T33" fmla="*/ 2147483647 h 469"/>
                <a:gd name="T34" fmla="*/ 2147483647 w 877"/>
                <a:gd name="T35" fmla="*/ 2147483647 h 469"/>
                <a:gd name="T36" fmla="*/ 2147483647 w 877"/>
                <a:gd name="T37" fmla="*/ 2147483647 h 469"/>
                <a:gd name="T38" fmla="*/ 2147483647 w 877"/>
                <a:gd name="T39" fmla="*/ 2147483647 h 469"/>
                <a:gd name="T40" fmla="*/ 2147483647 w 877"/>
                <a:gd name="T41" fmla="*/ 0 h 469"/>
                <a:gd name="T42" fmla="*/ 2147483647 w 877"/>
                <a:gd name="T43" fmla="*/ 2147483647 h 469"/>
                <a:gd name="T44" fmla="*/ 2147483647 w 877"/>
                <a:gd name="T45" fmla="*/ 2147483647 h 469"/>
                <a:gd name="T46" fmla="*/ 2147483647 w 877"/>
                <a:gd name="T47" fmla="*/ 2147483647 h 469"/>
                <a:gd name="T48" fmla="*/ 2147483647 w 877"/>
                <a:gd name="T49" fmla="*/ 2147483647 h 469"/>
                <a:gd name="T50" fmla="*/ 2147483647 w 877"/>
                <a:gd name="T51" fmla="*/ 2147483647 h 469"/>
                <a:gd name="T52" fmla="*/ 2147483647 w 877"/>
                <a:gd name="T53" fmla="*/ 2147483647 h 469"/>
                <a:gd name="T54" fmla="*/ 2147483647 w 877"/>
                <a:gd name="T55" fmla="*/ 2147483647 h 469"/>
                <a:gd name="T56" fmla="*/ 2147483647 w 877"/>
                <a:gd name="T57" fmla="*/ 2147483647 h 469"/>
                <a:gd name="T58" fmla="*/ 2147483647 w 877"/>
                <a:gd name="T59" fmla="*/ 2147483647 h 469"/>
                <a:gd name="T60" fmla="*/ 2147483647 w 877"/>
                <a:gd name="T61" fmla="*/ 2147483647 h 469"/>
                <a:gd name="T62" fmla="*/ 2147483647 w 877"/>
                <a:gd name="T63" fmla="*/ 2147483647 h 469"/>
                <a:gd name="T64" fmla="*/ 2147483647 w 877"/>
                <a:gd name="T65" fmla="*/ 2147483647 h 469"/>
                <a:gd name="T66" fmla="*/ 2147483647 w 877"/>
                <a:gd name="T67" fmla="*/ 2147483647 h 469"/>
                <a:gd name="T68" fmla="*/ 2147483647 w 877"/>
                <a:gd name="T69" fmla="*/ 2147483647 h 469"/>
                <a:gd name="T70" fmla="*/ 2147483647 w 877"/>
                <a:gd name="T71" fmla="*/ 2147483647 h 469"/>
                <a:gd name="T72" fmla="*/ 2147483647 w 877"/>
                <a:gd name="T73" fmla="*/ 2147483647 h 469"/>
                <a:gd name="T74" fmla="*/ 2147483647 w 877"/>
                <a:gd name="T75" fmla="*/ 2147483647 h 469"/>
                <a:gd name="T76" fmla="*/ 2147483647 w 877"/>
                <a:gd name="T77" fmla="*/ 2147483647 h 469"/>
                <a:gd name="T78" fmla="*/ 2147483647 w 877"/>
                <a:gd name="T79" fmla="*/ 2147483647 h 469"/>
                <a:gd name="T80" fmla="*/ 2147483647 w 877"/>
                <a:gd name="T81" fmla="*/ 2147483647 h 469"/>
                <a:gd name="T82" fmla="*/ 2147483647 w 877"/>
                <a:gd name="T83" fmla="*/ 2147483647 h 469"/>
                <a:gd name="T84" fmla="*/ 2147483647 w 877"/>
                <a:gd name="T85" fmla="*/ 2147483647 h 469"/>
                <a:gd name="T86" fmla="*/ 2147483647 w 877"/>
                <a:gd name="T87" fmla="*/ 2147483647 h 469"/>
                <a:gd name="T88" fmla="*/ 2147483647 w 877"/>
                <a:gd name="T89" fmla="*/ 2147483647 h 469"/>
                <a:gd name="T90" fmla="*/ 2147483647 w 877"/>
                <a:gd name="T91" fmla="*/ 2147483647 h 469"/>
                <a:gd name="T92" fmla="*/ 2147483647 w 877"/>
                <a:gd name="T93" fmla="*/ 2147483647 h 469"/>
                <a:gd name="T94" fmla="*/ 2147483647 w 877"/>
                <a:gd name="T95" fmla="*/ 2147483647 h 469"/>
                <a:gd name="T96" fmla="*/ 2147483647 w 877"/>
                <a:gd name="T97" fmla="*/ 2147483647 h 469"/>
                <a:gd name="T98" fmla="*/ 2147483647 w 877"/>
                <a:gd name="T99" fmla="*/ 2147483647 h 469"/>
                <a:gd name="T100" fmla="*/ 2147483647 w 877"/>
                <a:gd name="T101" fmla="*/ 2147483647 h 469"/>
                <a:gd name="T102" fmla="*/ 2147483647 w 877"/>
                <a:gd name="T103" fmla="*/ 2147483647 h 469"/>
                <a:gd name="T104" fmla="*/ 2147483647 w 877"/>
                <a:gd name="T105" fmla="*/ 2147483647 h 469"/>
                <a:gd name="T106" fmla="*/ 2147483647 w 877"/>
                <a:gd name="T107" fmla="*/ 2147483647 h 469"/>
                <a:gd name="T108" fmla="*/ 2147483647 w 877"/>
                <a:gd name="T109" fmla="*/ 2147483647 h 469"/>
                <a:gd name="T110" fmla="*/ 2147483647 w 877"/>
                <a:gd name="T111" fmla="*/ 2147483647 h 469"/>
                <a:gd name="T112" fmla="*/ 2147483647 w 877"/>
                <a:gd name="T113" fmla="*/ 2147483647 h 469"/>
                <a:gd name="T114" fmla="*/ 2147483647 w 877"/>
                <a:gd name="T115" fmla="*/ 2147483647 h 469"/>
                <a:gd name="T116" fmla="*/ 2147483647 w 877"/>
                <a:gd name="T117" fmla="*/ 2147483647 h 469"/>
                <a:gd name="T118" fmla="*/ 2147483647 w 877"/>
                <a:gd name="T119" fmla="*/ 2147483647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7"/>
                <a:gd name="T181" fmla="*/ 0 h 469"/>
                <a:gd name="T182" fmla="*/ 877 w 877"/>
                <a:gd name="T183" fmla="*/ 469 h 46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chemeClr val="accent1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47" name="Freeform 349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5018088" y="2357438"/>
              <a:ext cx="47625" cy="63500"/>
            </a:xfrm>
            <a:custGeom>
              <a:avLst/>
              <a:gdLst>
                <a:gd name="T0" fmla="*/ 2147483647 w 107"/>
                <a:gd name="T1" fmla="*/ 0 h 123"/>
                <a:gd name="T2" fmla="*/ 2147483647 w 107"/>
                <a:gd name="T3" fmla="*/ 2147483647 h 123"/>
                <a:gd name="T4" fmla="*/ 2147483647 w 107"/>
                <a:gd name="T5" fmla="*/ 2147483647 h 123"/>
                <a:gd name="T6" fmla="*/ 2147483647 w 107"/>
                <a:gd name="T7" fmla="*/ 2147483647 h 123"/>
                <a:gd name="T8" fmla="*/ 2147483647 w 107"/>
                <a:gd name="T9" fmla="*/ 2147483647 h 123"/>
                <a:gd name="T10" fmla="*/ 2147483647 w 107"/>
                <a:gd name="T11" fmla="*/ 2147483647 h 123"/>
                <a:gd name="T12" fmla="*/ 2147483647 w 107"/>
                <a:gd name="T13" fmla="*/ 2147483647 h 123"/>
                <a:gd name="T14" fmla="*/ 2147483647 w 107"/>
                <a:gd name="T15" fmla="*/ 2147483647 h 123"/>
                <a:gd name="T16" fmla="*/ 2147483647 w 107"/>
                <a:gd name="T17" fmla="*/ 2147483647 h 123"/>
                <a:gd name="T18" fmla="*/ 2147483647 w 107"/>
                <a:gd name="T19" fmla="*/ 2147483647 h 123"/>
                <a:gd name="T20" fmla="*/ 2147483647 w 107"/>
                <a:gd name="T21" fmla="*/ 2147483647 h 123"/>
                <a:gd name="T22" fmla="*/ 2147483647 w 107"/>
                <a:gd name="T23" fmla="*/ 2147483647 h 123"/>
                <a:gd name="T24" fmla="*/ 2147483647 w 107"/>
                <a:gd name="T25" fmla="*/ 2147483647 h 123"/>
                <a:gd name="T26" fmla="*/ 2147483647 w 107"/>
                <a:gd name="T27" fmla="*/ 2147483647 h 123"/>
                <a:gd name="T28" fmla="*/ 2147483647 w 107"/>
                <a:gd name="T29" fmla="*/ 2147483647 h 123"/>
                <a:gd name="T30" fmla="*/ 2147483647 w 107"/>
                <a:gd name="T31" fmla="*/ 2147483647 h 123"/>
                <a:gd name="T32" fmla="*/ 2147483647 w 107"/>
                <a:gd name="T33" fmla="*/ 2147483647 h 123"/>
                <a:gd name="T34" fmla="*/ 2147483647 w 107"/>
                <a:gd name="T35" fmla="*/ 2147483647 h 123"/>
                <a:gd name="T36" fmla="*/ 2147483647 w 107"/>
                <a:gd name="T37" fmla="*/ 2147483647 h 123"/>
                <a:gd name="T38" fmla="*/ 2147483647 w 107"/>
                <a:gd name="T39" fmla="*/ 2147483647 h 123"/>
                <a:gd name="T40" fmla="*/ 2147483647 w 107"/>
                <a:gd name="T41" fmla="*/ 2147483647 h 123"/>
                <a:gd name="T42" fmla="*/ 0 w 107"/>
                <a:gd name="T43" fmla="*/ 2147483647 h 123"/>
                <a:gd name="T44" fmla="*/ 2147483647 w 107"/>
                <a:gd name="T45" fmla="*/ 0 h 123"/>
                <a:gd name="T46" fmla="*/ 2147483647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07"/>
                <a:gd name="T73" fmla="*/ 0 h 123"/>
                <a:gd name="T74" fmla="*/ 107 w 107"/>
                <a:gd name="T75" fmla="*/ 123 h 12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48" name="Freeform 350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5561013" y="2371725"/>
              <a:ext cx="207962" cy="122238"/>
            </a:xfrm>
            <a:custGeom>
              <a:avLst/>
              <a:gdLst>
                <a:gd name="T0" fmla="*/ 2147483647 w 471"/>
                <a:gd name="T1" fmla="*/ 2147483647 h 234"/>
                <a:gd name="T2" fmla="*/ 2147483647 w 471"/>
                <a:gd name="T3" fmla="*/ 2147483647 h 234"/>
                <a:gd name="T4" fmla="*/ 2147483647 w 471"/>
                <a:gd name="T5" fmla="*/ 2147483647 h 234"/>
                <a:gd name="T6" fmla="*/ 2147483647 w 471"/>
                <a:gd name="T7" fmla="*/ 2147483647 h 234"/>
                <a:gd name="T8" fmla="*/ 2147483647 w 471"/>
                <a:gd name="T9" fmla="*/ 2147483647 h 234"/>
                <a:gd name="T10" fmla="*/ 2147483647 w 471"/>
                <a:gd name="T11" fmla="*/ 2147483647 h 234"/>
                <a:gd name="T12" fmla="*/ 2147483647 w 471"/>
                <a:gd name="T13" fmla="*/ 2147483647 h 234"/>
                <a:gd name="T14" fmla="*/ 2147483647 w 471"/>
                <a:gd name="T15" fmla="*/ 2147483647 h 234"/>
                <a:gd name="T16" fmla="*/ 2147483647 w 471"/>
                <a:gd name="T17" fmla="*/ 2147483647 h 234"/>
                <a:gd name="T18" fmla="*/ 2147483647 w 471"/>
                <a:gd name="T19" fmla="*/ 2147483647 h 234"/>
                <a:gd name="T20" fmla="*/ 2147483647 w 471"/>
                <a:gd name="T21" fmla="*/ 2147483647 h 234"/>
                <a:gd name="T22" fmla="*/ 2147483647 w 471"/>
                <a:gd name="T23" fmla="*/ 2147483647 h 234"/>
                <a:gd name="T24" fmla="*/ 2147483647 w 471"/>
                <a:gd name="T25" fmla="*/ 2147483647 h 234"/>
                <a:gd name="T26" fmla="*/ 2147483647 w 471"/>
                <a:gd name="T27" fmla="*/ 2147483647 h 234"/>
                <a:gd name="T28" fmla="*/ 2147483647 w 471"/>
                <a:gd name="T29" fmla="*/ 2147483647 h 234"/>
                <a:gd name="T30" fmla="*/ 2147483647 w 471"/>
                <a:gd name="T31" fmla="*/ 2147483647 h 234"/>
                <a:gd name="T32" fmla="*/ 2147483647 w 471"/>
                <a:gd name="T33" fmla="*/ 2147483647 h 234"/>
                <a:gd name="T34" fmla="*/ 2147483647 w 471"/>
                <a:gd name="T35" fmla="*/ 2147483647 h 234"/>
                <a:gd name="T36" fmla="*/ 2147483647 w 471"/>
                <a:gd name="T37" fmla="*/ 2147483647 h 234"/>
                <a:gd name="T38" fmla="*/ 2147483647 w 471"/>
                <a:gd name="T39" fmla="*/ 2147483647 h 234"/>
                <a:gd name="T40" fmla="*/ 2147483647 w 471"/>
                <a:gd name="T41" fmla="*/ 2147483647 h 234"/>
                <a:gd name="T42" fmla="*/ 2147483647 w 471"/>
                <a:gd name="T43" fmla="*/ 2147483647 h 234"/>
                <a:gd name="T44" fmla="*/ 2147483647 w 471"/>
                <a:gd name="T45" fmla="*/ 2147483647 h 234"/>
                <a:gd name="T46" fmla="*/ 2147483647 w 471"/>
                <a:gd name="T47" fmla="*/ 2147483647 h 234"/>
                <a:gd name="T48" fmla="*/ 2147483647 w 471"/>
                <a:gd name="T49" fmla="*/ 2147483647 h 234"/>
                <a:gd name="T50" fmla="*/ 2147483647 w 471"/>
                <a:gd name="T51" fmla="*/ 2147483647 h 234"/>
                <a:gd name="T52" fmla="*/ 2147483647 w 471"/>
                <a:gd name="T53" fmla="*/ 2147483647 h 234"/>
                <a:gd name="T54" fmla="*/ 2147483647 w 471"/>
                <a:gd name="T55" fmla="*/ 2147483647 h 234"/>
                <a:gd name="T56" fmla="*/ 2147483647 w 471"/>
                <a:gd name="T57" fmla="*/ 2147483647 h 234"/>
                <a:gd name="T58" fmla="*/ 2147483647 w 471"/>
                <a:gd name="T59" fmla="*/ 2147483647 h 234"/>
                <a:gd name="T60" fmla="*/ 2147483647 w 471"/>
                <a:gd name="T61" fmla="*/ 2147483647 h 234"/>
                <a:gd name="T62" fmla="*/ 2147483647 w 471"/>
                <a:gd name="T63" fmla="*/ 2147483647 h 234"/>
                <a:gd name="T64" fmla="*/ 2147483647 w 471"/>
                <a:gd name="T65" fmla="*/ 2147483647 h 234"/>
                <a:gd name="T66" fmla="*/ 2147483647 w 471"/>
                <a:gd name="T67" fmla="*/ 2147483647 h 234"/>
                <a:gd name="T68" fmla="*/ 2147483647 w 471"/>
                <a:gd name="T69" fmla="*/ 2147483647 h 234"/>
                <a:gd name="T70" fmla="*/ 2147483647 w 471"/>
                <a:gd name="T71" fmla="*/ 2147483647 h 234"/>
                <a:gd name="T72" fmla="*/ 2147483647 w 471"/>
                <a:gd name="T73" fmla="*/ 2147483647 h 234"/>
                <a:gd name="T74" fmla="*/ 2147483647 w 471"/>
                <a:gd name="T75" fmla="*/ 2147483647 h 234"/>
                <a:gd name="T76" fmla="*/ 2147483647 w 471"/>
                <a:gd name="T77" fmla="*/ 2147483647 h 234"/>
                <a:gd name="T78" fmla="*/ 0 w 471"/>
                <a:gd name="T79" fmla="*/ 2147483647 h 234"/>
                <a:gd name="T80" fmla="*/ 2147483647 w 471"/>
                <a:gd name="T81" fmla="*/ 2147483647 h 234"/>
                <a:gd name="T82" fmla="*/ 2147483647 w 471"/>
                <a:gd name="T83" fmla="*/ 2147483647 h 234"/>
                <a:gd name="T84" fmla="*/ 2147483647 w 471"/>
                <a:gd name="T85" fmla="*/ 0 h 234"/>
                <a:gd name="T86" fmla="*/ 2147483647 w 471"/>
                <a:gd name="T87" fmla="*/ 2147483647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71"/>
                <a:gd name="T133" fmla="*/ 0 h 234"/>
                <a:gd name="T134" fmla="*/ 471 w 471"/>
                <a:gd name="T135" fmla="*/ 234 h 23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49" name="Freeform 351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5610225" y="2300288"/>
              <a:ext cx="225425" cy="125412"/>
            </a:xfrm>
            <a:custGeom>
              <a:avLst/>
              <a:gdLst>
                <a:gd name="T0" fmla="*/ 2147483647 w 525"/>
                <a:gd name="T1" fmla="*/ 2147483647 h 241"/>
                <a:gd name="T2" fmla="*/ 2147483647 w 525"/>
                <a:gd name="T3" fmla="*/ 2147483647 h 241"/>
                <a:gd name="T4" fmla="*/ 2147483647 w 525"/>
                <a:gd name="T5" fmla="*/ 2147483647 h 241"/>
                <a:gd name="T6" fmla="*/ 2147483647 w 525"/>
                <a:gd name="T7" fmla="*/ 2147483647 h 241"/>
                <a:gd name="T8" fmla="*/ 2147483647 w 525"/>
                <a:gd name="T9" fmla="*/ 2147483647 h 241"/>
                <a:gd name="T10" fmla="*/ 2147483647 w 525"/>
                <a:gd name="T11" fmla="*/ 2147483647 h 241"/>
                <a:gd name="T12" fmla="*/ 2147483647 w 525"/>
                <a:gd name="T13" fmla="*/ 2147483647 h 241"/>
                <a:gd name="T14" fmla="*/ 2147483647 w 525"/>
                <a:gd name="T15" fmla="*/ 0 h 241"/>
                <a:gd name="T16" fmla="*/ 2147483647 w 525"/>
                <a:gd name="T17" fmla="*/ 2147483647 h 241"/>
                <a:gd name="T18" fmla="*/ 2147483647 w 525"/>
                <a:gd name="T19" fmla="*/ 2147483647 h 241"/>
                <a:gd name="T20" fmla="*/ 2147483647 w 525"/>
                <a:gd name="T21" fmla="*/ 2147483647 h 241"/>
                <a:gd name="T22" fmla="*/ 2147483647 w 525"/>
                <a:gd name="T23" fmla="*/ 2147483647 h 241"/>
                <a:gd name="T24" fmla="*/ 2147483647 w 525"/>
                <a:gd name="T25" fmla="*/ 2147483647 h 241"/>
                <a:gd name="T26" fmla="*/ 2147483647 w 525"/>
                <a:gd name="T27" fmla="*/ 2147483647 h 241"/>
                <a:gd name="T28" fmla="*/ 2147483647 w 525"/>
                <a:gd name="T29" fmla="*/ 2147483647 h 241"/>
                <a:gd name="T30" fmla="*/ 2147483647 w 525"/>
                <a:gd name="T31" fmla="*/ 2147483647 h 241"/>
                <a:gd name="T32" fmla="*/ 2147483647 w 525"/>
                <a:gd name="T33" fmla="*/ 2147483647 h 241"/>
                <a:gd name="T34" fmla="*/ 2147483647 w 525"/>
                <a:gd name="T35" fmla="*/ 2147483647 h 241"/>
                <a:gd name="T36" fmla="*/ 2147483647 w 525"/>
                <a:gd name="T37" fmla="*/ 2147483647 h 241"/>
                <a:gd name="T38" fmla="*/ 2147483647 w 525"/>
                <a:gd name="T39" fmla="*/ 2147483647 h 241"/>
                <a:gd name="T40" fmla="*/ 2147483647 w 525"/>
                <a:gd name="T41" fmla="*/ 2147483647 h 241"/>
                <a:gd name="T42" fmla="*/ 2147483647 w 525"/>
                <a:gd name="T43" fmla="*/ 2147483647 h 241"/>
                <a:gd name="T44" fmla="*/ 2147483647 w 525"/>
                <a:gd name="T45" fmla="*/ 2147483647 h 241"/>
                <a:gd name="T46" fmla="*/ 2147483647 w 525"/>
                <a:gd name="T47" fmla="*/ 2147483647 h 241"/>
                <a:gd name="T48" fmla="*/ 2147483647 w 525"/>
                <a:gd name="T49" fmla="*/ 2147483647 h 241"/>
                <a:gd name="T50" fmla="*/ 2147483647 w 525"/>
                <a:gd name="T51" fmla="*/ 2147483647 h 241"/>
                <a:gd name="T52" fmla="*/ 2147483647 w 525"/>
                <a:gd name="T53" fmla="*/ 2147483647 h 241"/>
                <a:gd name="T54" fmla="*/ 2147483647 w 525"/>
                <a:gd name="T55" fmla="*/ 2147483647 h 241"/>
                <a:gd name="T56" fmla="*/ 2147483647 w 525"/>
                <a:gd name="T57" fmla="*/ 2147483647 h 241"/>
                <a:gd name="T58" fmla="*/ 2147483647 w 525"/>
                <a:gd name="T59" fmla="*/ 2147483647 h 241"/>
                <a:gd name="T60" fmla="*/ 2147483647 w 525"/>
                <a:gd name="T61" fmla="*/ 2147483647 h 241"/>
                <a:gd name="T62" fmla="*/ 2147483647 w 525"/>
                <a:gd name="T63" fmla="*/ 2147483647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525"/>
                <a:gd name="T97" fmla="*/ 0 h 241"/>
                <a:gd name="T98" fmla="*/ 525 w 525"/>
                <a:gd name="T99" fmla="*/ 241 h 24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50" name="Freeform 352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5216525" y="2316163"/>
              <a:ext cx="342900" cy="227012"/>
            </a:xfrm>
            <a:custGeom>
              <a:avLst/>
              <a:gdLst>
                <a:gd name="T0" fmla="*/ 2147483647 w 784"/>
                <a:gd name="T1" fmla="*/ 2147483647 h 430"/>
                <a:gd name="T2" fmla="*/ 2147483647 w 784"/>
                <a:gd name="T3" fmla="*/ 2147483647 h 430"/>
                <a:gd name="T4" fmla="*/ 2147483647 w 784"/>
                <a:gd name="T5" fmla="*/ 2147483647 h 430"/>
                <a:gd name="T6" fmla="*/ 2147483647 w 784"/>
                <a:gd name="T7" fmla="*/ 2147483647 h 430"/>
                <a:gd name="T8" fmla="*/ 2147483647 w 784"/>
                <a:gd name="T9" fmla="*/ 2147483647 h 430"/>
                <a:gd name="T10" fmla="*/ 2147483647 w 784"/>
                <a:gd name="T11" fmla="*/ 2147483647 h 430"/>
                <a:gd name="T12" fmla="*/ 2147483647 w 784"/>
                <a:gd name="T13" fmla="*/ 2147483647 h 430"/>
                <a:gd name="T14" fmla="*/ 2147483647 w 784"/>
                <a:gd name="T15" fmla="*/ 2147483647 h 430"/>
                <a:gd name="T16" fmla="*/ 2147483647 w 784"/>
                <a:gd name="T17" fmla="*/ 2147483647 h 430"/>
                <a:gd name="T18" fmla="*/ 2147483647 w 784"/>
                <a:gd name="T19" fmla="*/ 2147483647 h 430"/>
                <a:gd name="T20" fmla="*/ 2147483647 w 784"/>
                <a:gd name="T21" fmla="*/ 2147483647 h 430"/>
                <a:gd name="T22" fmla="*/ 2147483647 w 784"/>
                <a:gd name="T23" fmla="*/ 2147483647 h 430"/>
                <a:gd name="T24" fmla="*/ 2147483647 w 784"/>
                <a:gd name="T25" fmla="*/ 2147483647 h 430"/>
                <a:gd name="T26" fmla="*/ 2147483647 w 784"/>
                <a:gd name="T27" fmla="*/ 2147483647 h 430"/>
                <a:gd name="T28" fmla="*/ 2147483647 w 784"/>
                <a:gd name="T29" fmla="*/ 2147483647 h 430"/>
                <a:gd name="T30" fmla="*/ 2147483647 w 784"/>
                <a:gd name="T31" fmla="*/ 2147483647 h 430"/>
                <a:gd name="T32" fmla="*/ 2147483647 w 784"/>
                <a:gd name="T33" fmla="*/ 2147483647 h 430"/>
                <a:gd name="T34" fmla="*/ 2147483647 w 784"/>
                <a:gd name="T35" fmla="*/ 2147483647 h 430"/>
                <a:gd name="T36" fmla="*/ 2147483647 w 784"/>
                <a:gd name="T37" fmla="*/ 2147483647 h 430"/>
                <a:gd name="T38" fmla="*/ 2147483647 w 784"/>
                <a:gd name="T39" fmla="*/ 2147483647 h 430"/>
                <a:gd name="T40" fmla="*/ 2147483647 w 784"/>
                <a:gd name="T41" fmla="*/ 2147483647 h 430"/>
                <a:gd name="T42" fmla="*/ 2147483647 w 784"/>
                <a:gd name="T43" fmla="*/ 2147483647 h 430"/>
                <a:gd name="T44" fmla="*/ 2147483647 w 784"/>
                <a:gd name="T45" fmla="*/ 2147483647 h 430"/>
                <a:gd name="T46" fmla="*/ 2147483647 w 784"/>
                <a:gd name="T47" fmla="*/ 2147483647 h 430"/>
                <a:gd name="T48" fmla="*/ 2147483647 w 784"/>
                <a:gd name="T49" fmla="*/ 2147483647 h 430"/>
                <a:gd name="T50" fmla="*/ 2147483647 w 784"/>
                <a:gd name="T51" fmla="*/ 2147483647 h 430"/>
                <a:gd name="T52" fmla="*/ 2147483647 w 784"/>
                <a:gd name="T53" fmla="*/ 2147483647 h 430"/>
                <a:gd name="T54" fmla="*/ 2147483647 w 784"/>
                <a:gd name="T55" fmla="*/ 2147483647 h 430"/>
                <a:gd name="T56" fmla="*/ 2147483647 w 784"/>
                <a:gd name="T57" fmla="*/ 2147483647 h 430"/>
                <a:gd name="T58" fmla="*/ 2147483647 w 784"/>
                <a:gd name="T59" fmla="*/ 2147483647 h 430"/>
                <a:gd name="T60" fmla="*/ 2147483647 w 784"/>
                <a:gd name="T61" fmla="*/ 2147483647 h 430"/>
                <a:gd name="T62" fmla="*/ 2147483647 w 784"/>
                <a:gd name="T63" fmla="*/ 2147483647 h 430"/>
                <a:gd name="T64" fmla="*/ 2147483647 w 784"/>
                <a:gd name="T65" fmla="*/ 2147483647 h 430"/>
                <a:gd name="T66" fmla="*/ 2147483647 w 784"/>
                <a:gd name="T67" fmla="*/ 2147483647 h 430"/>
                <a:gd name="T68" fmla="*/ 0 w 784"/>
                <a:gd name="T69" fmla="*/ 2147483647 h 430"/>
                <a:gd name="T70" fmla="*/ 2147483647 w 784"/>
                <a:gd name="T71" fmla="*/ 2147483647 h 430"/>
                <a:gd name="T72" fmla="*/ 2147483647 w 784"/>
                <a:gd name="T73" fmla="*/ 2147483647 h 430"/>
                <a:gd name="T74" fmla="*/ 2147483647 w 784"/>
                <a:gd name="T75" fmla="*/ 2147483647 h 430"/>
                <a:gd name="T76" fmla="*/ 2147483647 w 784"/>
                <a:gd name="T77" fmla="*/ 2147483647 h 430"/>
                <a:gd name="T78" fmla="*/ 2147483647 w 784"/>
                <a:gd name="T79" fmla="*/ 2147483647 h 430"/>
                <a:gd name="T80" fmla="*/ 2147483647 w 784"/>
                <a:gd name="T81" fmla="*/ 2147483647 h 430"/>
                <a:gd name="T82" fmla="*/ 2147483647 w 784"/>
                <a:gd name="T83" fmla="*/ 2147483647 h 430"/>
                <a:gd name="T84" fmla="*/ 2147483647 w 784"/>
                <a:gd name="T85" fmla="*/ 2147483647 h 430"/>
                <a:gd name="T86" fmla="*/ 2147483647 w 784"/>
                <a:gd name="T87" fmla="*/ 2147483647 h 430"/>
                <a:gd name="T88" fmla="*/ 2147483647 w 784"/>
                <a:gd name="T89" fmla="*/ 2147483647 h 430"/>
                <a:gd name="T90" fmla="*/ 2147483647 w 784"/>
                <a:gd name="T91" fmla="*/ 2147483647 h 430"/>
                <a:gd name="T92" fmla="*/ 2147483647 w 784"/>
                <a:gd name="T93" fmla="*/ 2147483647 h 430"/>
                <a:gd name="T94" fmla="*/ 2147483647 w 784"/>
                <a:gd name="T95" fmla="*/ 2147483647 h 430"/>
                <a:gd name="T96" fmla="*/ 2147483647 w 784"/>
                <a:gd name="T97" fmla="*/ 2147483647 h 430"/>
                <a:gd name="T98" fmla="*/ 2147483647 w 784"/>
                <a:gd name="T99" fmla="*/ 0 h 430"/>
                <a:gd name="T100" fmla="*/ 2147483647 w 784"/>
                <a:gd name="T101" fmla="*/ 2147483647 h 430"/>
                <a:gd name="T102" fmla="*/ 2147483647 w 784"/>
                <a:gd name="T103" fmla="*/ 2147483647 h 430"/>
                <a:gd name="T104" fmla="*/ 2147483647 w 784"/>
                <a:gd name="T105" fmla="*/ 2147483647 h 430"/>
                <a:gd name="T106" fmla="*/ 2147483647 w 784"/>
                <a:gd name="T107" fmla="*/ 2147483647 h 430"/>
                <a:gd name="T108" fmla="*/ 2147483647 w 784"/>
                <a:gd name="T109" fmla="*/ 2147483647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84"/>
                <a:gd name="T166" fmla="*/ 0 h 430"/>
                <a:gd name="T167" fmla="*/ 784 w 784"/>
                <a:gd name="T168" fmla="*/ 430 h 4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51" name="Freeform 353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4425950" y="2203450"/>
              <a:ext cx="107950" cy="149225"/>
            </a:xfrm>
            <a:custGeom>
              <a:avLst/>
              <a:gdLst>
                <a:gd name="T0" fmla="*/ 2147483647 w 246"/>
                <a:gd name="T1" fmla="*/ 2147483647 h 284"/>
                <a:gd name="T2" fmla="*/ 2147483647 w 246"/>
                <a:gd name="T3" fmla="*/ 2147483647 h 284"/>
                <a:gd name="T4" fmla="*/ 2147483647 w 246"/>
                <a:gd name="T5" fmla="*/ 2147483647 h 284"/>
                <a:gd name="T6" fmla="*/ 2147483647 w 246"/>
                <a:gd name="T7" fmla="*/ 2147483647 h 284"/>
                <a:gd name="T8" fmla="*/ 2147483647 w 246"/>
                <a:gd name="T9" fmla="*/ 2147483647 h 284"/>
                <a:gd name="T10" fmla="*/ 2147483647 w 246"/>
                <a:gd name="T11" fmla="*/ 2147483647 h 284"/>
                <a:gd name="T12" fmla="*/ 2147483647 w 246"/>
                <a:gd name="T13" fmla="*/ 2147483647 h 284"/>
                <a:gd name="T14" fmla="*/ 2147483647 w 246"/>
                <a:gd name="T15" fmla="*/ 2147483647 h 284"/>
                <a:gd name="T16" fmla="*/ 2147483647 w 246"/>
                <a:gd name="T17" fmla="*/ 2147483647 h 284"/>
                <a:gd name="T18" fmla="*/ 2147483647 w 246"/>
                <a:gd name="T19" fmla="*/ 2147483647 h 284"/>
                <a:gd name="T20" fmla="*/ 2147483647 w 246"/>
                <a:gd name="T21" fmla="*/ 2147483647 h 284"/>
                <a:gd name="T22" fmla="*/ 2147483647 w 246"/>
                <a:gd name="T23" fmla="*/ 2147483647 h 284"/>
                <a:gd name="T24" fmla="*/ 2147483647 w 246"/>
                <a:gd name="T25" fmla="*/ 2147483647 h 284"/>
                <a:gd name="T26" fmla="*/ 2147483647 w 246"/>
                <a:gd name="T27" fmla="*/ 2147483647 h 284"/>
                <a:gd name="T28" fmla="*/ 2147483647 w 246"/>
                <a:gd name="T29" fmla="*/ 2147483647 h 284"/>
                <a:gd name="T30" fmla="*/ 2147483647 w 246"/>
                <a:gd name="T31" fmla="*/ 2147483647 h 284"/>
                <a:gd name="T32" fmla="*/ 2147483647 w 246"/>
                <a:gd name="T33" fmla="*/ 2147483647 h 284"/>
                <a:gd name="T34" fmla="*/ 2147483647 w 246"/>
                <a:gd name="T35" fmla="*/ 2147483647 h 284"/>
                <a:gd name="T36" fmla="*/ 2147483647 w 246"/>
                <a:gd name="T37" fmla="*/ 2147483647 h 284"/>
                <a:gd name="T38" fmla="*/ 2147483647 w 246"/>
                <a:gd name="T39" fmla="*/ 2147483647 h 284"/>
                <a:gd name="T40" fmla="*/ 2147483647 w 246"/>
                <a:gd name="T41" fmla="*/ 2147483647 h 284"/>
                <a:gd name="T42" fmla="*/ 2147483647 w 246"/>
                <a:gd name="T43" fmla="*/ 2147483647 h 284"/>
                <a:gd name="T44" fmla="*/ 2147483647 w 246"/>
                <a:gd name="T45" fmla="*/ 2147483647 h 284"/>
                <a:gd name="T46" fmla="*/ 2147483647 w 246"/>
                <a:gd name="T47" fmla="*/ 2147483647 h 284"/>
                <a:gd name="T48" fmla="*/ 2147483647 w 246"/>
                <a:gd name="T49" fmla="*/ 2147483647 h 284"/>
                <a:gd name="T50" fmla="*/ 2147483647 w 246"/>
                <a:gd name="T51" fmla="*/ 2147483647 h 284"/>
                <a:gd name="T52" fmla="*/ 2147483647 w 246"/>
                <a:gd name="T53" fmla="*/ 2147483647 h 284"/>
                <a:gd name="T54" fmla="*/ 2147483647 w 246"/>
                <a:gd name="T55" fmla="*/ 2147483647 h 284"/>
                <a:gd name="T56" fmla="*/ 2147483647 w 246"/>
                <a:gd name="T57" fmla="*/ 2147483647 h 284"/>
                <a:gd name="T58" fmla="*/ 2147483647 w 246"/>
                <a:gd name="T59" fmla="*/ 2147483647 h 284"/>
                <a:gd name="T60" fmla="*/ 2147483647 w 246"/>
                <a:gd name="T61" fmla="*/ 2147483647 h 284"/>
                <a:gd name="T62" fmla="*/ 2147483647 w 246"/>
                <a:gd name="T63" fmla="*/ 2147483647 h 284"/>
                <a:gd name="T64" fmla="*/ 2147483647 w 246"/>
                <a:gd name="T65" fmla="*/ 2147483647 h 284"/>
                <a:gd name="T66" fmla="*/ 2147483647 w 246"/>
                <a:gd name="T67" fmla="*/ 2147483647 h 284"/>
                <a:gd name="T68" fmla="*/ 2147483647 w 246"/>
                <a:gd name="T69" fmla="*/ 2147483647 h 284"/>
                <a:gd name="T70" fmla="*/ 2147483647 w 246"/>
                <a:gd name="T71" fmla="*/ 2147483647 h 284"/>
                <a:gd name="T72" fmla="*/ 2147483647 w 246"/>
                <a:gd name="T73" fmla="*/ 2147483647 h 284"/>
                <a:gd name="T74" fmla="*/ 2147483647 w 246"/>
                <a:gd name="T75" fmla="*/ 2147483647 h 284"/>
                <a:gd name="T76" fmla="*/ 2147483647 w 246"/>
                <a:gd name="T77" fmla="*/ 2147483647 h 284"/>
                <a:gd name="T78" fmla="*/ 2147483647 w 246"/>
                <a:gd name="T79" fmla="*/ 2147483647 h 284"/>
                <a:gd name="T80" fmla="*/ 0 w 246"/>
                <a:gd name="T81" fmla="*/ 2147483647 h 284"/>
                <a:gd name="T82" fmla="*/ 2147483647 w 246"/>
                <a:gd name="T83" fmla="*/ 2147483647 h 284"/>
                <a:gd name="T84" fmla="*/ 2147483647 w 246"/>
                <a:gd name="T85" fmla="*/ 2147483647 h 284"/>
                <a:gd name="T86" fmla="*/ 2147483647 w 246"/>
                <a:gd name="T87" fmla="*/ 2147483647 h 284"/>
                <a:gd name="T88" fmla="*/ 2147483647 w 246"/>
                <a:gd name="T89" fmla="*/ 2147483647 h 284"/>
                <a:gd name="T90" fmla="*/ 2147483647 w 246"/>
                <a:gd name="T91" fmla="*/ 2147483647 h 284"/>
                <a:gd name="T92" fmla="*/ 2147483647 w 246"/>
                <a:gd name="T93" fmla="*/ 2147483647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46"/>
                <a:gd name="T142" fmla="*/ 0 h 284"/>
                <a:gd name="T143" fmla="*/ 246 w 246"/>
                <a:gd name="T144" fmla="*/ 284 h 28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52" name="Freeform 354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4473575" y="2311400"/>
              <a:ext cx="68263" cy="60325"/>
            </a:xfrm>
            <a:custGeom>
              <a:avLst/>
              <a:gdLst>
                <a:gd name="T0" fmla="*/ 2147483647 w 160"/>
                <a:gd name="T1" fmla="*/ 0 h 117"/>
                <a:gd name="T2" fmla="*/ 2147483647 w 160"/>
                <a:gd name="T3" fmla="*/ 2147483647 h 117"/>
                <a:gd name="T4" fmla="*/ 2147483647 w 160"/>
                <a:gd name="T5" fmla="*/ 2147483647 h 117"/>
                <a:gd name="T6" fmla="*/ 2147483647 w 160"/>
                <a:gd name="T7" fmla="*/ 2147483647 h 117"/>
                <a:gd name="T8" fmla="*/ 2147483647 w 160"/>
                <a:gd name="T9" fmla="*/ 2147483647 h 117"/>
                <a:gd name="T10" fmla="*/ 2147483647 w 160"/>
                <a:gd name="T11" fmla="*/ 2147483647 h 117"/>
                <a:gd name="T12" fmla="*/ 2147483647 w 160"/>
                <a:gd name="T13" fmla="*/ 2147483647 h 117"/>
                <a:gd name="T14" fmla="*/ 2147483647 w 160"/>
                <a:gd name="T15" fmla="*/ 2147483647 h 117"/>
                <a:gd name="T16" fmla="*/ 2147483647 w 160"/>
                <a:gd name="T17" fmla="*/ 2147483647 h 117"/>
                <a:gd name="T18" fmla="*/ 2147483647 w 160"/>
                <a:gd name="T19" fmla="*/ 2147483647 h 117"/>
                <a:gd name="T20" fmla="*/ 2147483647 w 160"/>
                <a:gd name="T21" fmla="*/ 2147483647 h 117"/>
                <a:gd name="T22" fmla="*/ 2147483647 w 160"/>
                <a:gd name="T23" fmla="*/ 2147483647 h 117"/>
                <a:gd name="T24" fmla="*/ 2147483647 w 160"/>
                <a:gd name="T25" fmla="*/ 2147483647 h 117"/>
                <a:gd name="T26" fmla="*/ 2147483647 w 160"/>
                <a:gd name="T27" fmla="*/ 2147483647 h 117"/>
                <a:gd name="T28" fmla="*/ 2147483647 w 160"/>
                <a:gd name="T29" fmla="*/ 2147483647 h 117"/>
                <a:gd name="T30" fmla="*/ 2147483647 w 160"/>
                <a:gd name="T31" fmla="*/ 2147483647 h 117"/>
                <a:gd name="T32" fmla="*/ 2147483647 w 160"/>
                <a:gd name="T33" fmla="*/ 2147483647 h 117"/>
                <a:gd name="T34" fmla="*/ 2147483647 w 160"/>
                <a:gd name="T35" fmla="*/ 2147483647 h 117"/>
                <a:gd name="T36" fmla="*/ 2147483647 w 160"/>
                <a:gd name="T37" fmla="*/ 2147483647 h 117"/>
                <a:gd name="T38" fmla="*/ 2147483647 w 160"/>
                <a:gd name="T39" fmla="*/ 2147483647 h 117"/>
                <a:gd name="T40" fmla="*/ 2147483647 w 160"/>
                <a:gd name="T41" fmla="*/ 2147483647 h 117"/>
                <a:gd name="T42" fmla="*/ 2147483647 w 160"/>
                <a:gd name="T43" fmla="*/ 2147483647 h 117"/>
                <a:gd name="T44" fmla="*/ 2147483647 w 160"/>
                <a:gd name="T45" fmla="*/ 2147483647 h 117"/>
                <a:gd name="T46" fmla="*/ 2147483647 w 160"/>
                <a:gd name="T47" fmla="*/ 2147483647 h 117"/>
                <a:gd name="T48" fmla="*/ 2147483647 w 160"/>
                <a:gd name="T49" fmla="*/ 2147483647 h 117"/>
                <a:gd name="T50" fmla="*/ 2147483647 w 160"/>
                <a:gd name="T51" fmla="*/ 2147483647 h 117"/>
                <a:gd name="T52" fmla="*/ 0 w 160"/>
                <a:gd name="T53" fmla="*/ 2147483647 h 117"/>
                <a:gd name="T54" fmla="*/ 2147483647 w 160"/>
                <a:gd name="T55" fmla="*/ 2147483647 h 117"/>
                <a:gd name="T56" fmla="*/ 2147483647 w 160"/>
                <a:gd name="T57" fmla="*/ 2147483647 h 117"/>
                <a:gd name="T58" fmla="*/ 2147483647 w 160"/>
                <a:gd name="T59" fmla="*/ 2147483647 h 117"/>
                <a:gd name="T60" fmla="*/ 2147483647 w 160"/>
                <a:gd name="T61" fmla="*/ 2147483647 h 117"/>
                <a:gd name="T62" fmla="*/ 2147483647 w 160"/>
                <a:gd name="T63" fmla="*/ 2147483647 h 117"/>
                <a:gd name="T64" fmla="*/ 214748364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0"/>
                <a:gd name="T100" fmla="*/ 0 h 117"/>
                <a:gd name="T101" fmla="*/ 160 w 160"/>
                <a:gd name="T102" fmla="*/ 117 h 11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53" name="Freeform 355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4557713" y="2935288"/>
              <a:ext cx="411162" cy="611187"/>
            </a:xfrm>
            <a:custGeom>
              <a:avLst/>
              <a:gdLst>
                <a:gd name="T0" fmla="*/ 2147483647 w 943"/>
                <a:gd name="T1" fmla="*/ 2147483647 h 1172"/>
                <a:gd name="T2" fmla="*/ 2147483647 w 943"/>
                <a:gd name="T3" fmla="*/ 2147483647 h 1172"/>
                <a:gd name="T4" fmla="*/ 2147483647 w 943"/>
                <a:gd name="T5" fmla="*/ 2147483647 h 1172"/>
                <a:gd name="T6" fmla="*/ 2147483647 w 943"/>
                <a:gd name="T7" fmla="*/ 2147483647 h 1172"/>
                <a:gd name="T8" fmla="*/ 2147483647 w 943"/>
                <a:gd name="T9" fmla="*/ 2147483647 h 1172"/>
                <a:gd name="T10" fmla="*/ 2147483647 w 943"/>
                <a:gd name="T11" fmla="*/ 2147483647 h 1172"/>
                <a:gd name="T12" fmla="*/ 2147483647 w 943"/>
                <a:gd name="T13" fmla="*/ 2147483647 h 1172"/>
                <a:gd name="T14" fmla="*/ 2147483647 w 943"/>
                <a:gd name="T15" fmla="*/ 2147483647 h 1172"/>
                <a:gd name="T16" fmla="*/ 2147483647 w 943"/>
                <a:gd name="T17" fmla="*/ 2147483647 h 1172"/>
                <a:gd name="T18" fmla="*/ 2147483647 w 943"/>
                <a:gd name="T19" fmla="*/ 2147483647 h 1172"/>
                <a:gd name="T20" fmla="*/ 2147483647 w 943"/>
                <a:gd name="T21" fmla="*/ 2147483647 h 1172"/>
                <a:gd name="T22" fmla="*/ 2147483647 w 943"/>
                <a:gd name="T23" fmla="*/ 2147483647 h 1172"/>
                <a:gd name="T24" fmla="*/ 2147483647 w 943"/>
                <a:gd name="T25" fmla="*/ 2147483647 h 1172"/>
                <a:gd name="T26" fmla="*/ 2147483647 w 943"/>
                <a:gd name="T27" fmla="*/ 2147483647 h 1172"/>
                <a:gd name="T28" fmla="*/ 2147483647 w 943"/>
                <a:gd name="T29" fmla="*/ 2147483647 h 1172"/>
                <a:gd name="T30" fmla="*/ 2147483647 w 943"/>
                <a:gd name="T31" fmla="*/ 2147483647 h 1172"/>
                <a:gd name="T32" fmla="*/ 2147483647 w 943"/>
                <a:gd name="T33" fmla="*/ 2147483647 h 1172"/>
                <a:gd name="T34" fmla="*/ 2147483647 w 943"/>
                <a:gd name="T35" fmla="*/ 2147483647 h 1172"/>
                <a:gd name="T36" fmla="*/ 2147483647 w 943"/>
                <a:gd name="T37" fmla="*/ 2147483647 h 1172"/>
                <a:gd name="T38" fmla="*/ 2147483647 w 943"/>
                <a:gd name="T39" fmla="*/ 2147483647 h 1172"/>
                <a:gd name="T40" fmla="*/ 2147483647 w 943"/>
                <a:gd name="T41" fmla="*/ 2147483647 h 1172"/>
                <a:gd name="T42" fmla="*/ 2147483647 w 943"/>
                <a:gd name="T43" fmla="*/ 2147483647 h 1172"/>
                <a:gd name="T44" fmla="*/ 2147483647 w 943"/>
                <a:gd name="T45" fmla="*/ 2147483647 h 1172"/>
                <a:gd name="T46" fmla="*/ 2147483647 w 943"/>
                <a:gd name="T47" fmla="*/ 2147483647 h 1172"/>
                <a:gd name="T48" fmla="*/ 2147483647 w 943"/>
                <a:gd name="T49" fmla="*/ 2147483647 h 1172"/>
                <a:gd name="T50" fmla="*/ 2147483647 w 943"/>
                <a:gd name="T51" fmla="*/ 2147483647 h 1172"/>
                <a:gd name="T52" fmla="*/ 2147483647 w 943"/>
                <a:gd name="T53" fmla="*/ 2147483647 h 1172"/>
                <a:gd name="T54" fmla="*/ 2147483647 w 943"/>
                <a:gd name="T55" fmla="*/ 2147483647 h 1172"/>
                <a:gd name="T56" fmla="*/ 2147483647 w 943"/>
                <a:gd name="T57" fmla="*/ 2147483647 h 1172"/>
                <a:gd name="T58" fmla="*/ 2147483647 w 943"/>
                <a:gd name="T59" fmla="*/ 2147483647 h 1172"/>
                <a:gd name="T60" fmla="*/ 2147483647 w 943"/>
                <a:gd name="T61" fmla="*/ 2147483647 h 1172"/>
                <a:gd name="T62" fmla="*/ 2147483647 w 943"/>
                <a:gd name="T63" fmla="*/ 2147483647 h 1172"/>
                <a:gd name="T64" fmla="*/ 2147483647 w 943"/>
                <a:gd name="T65" fmla="*/ 2147483647 h 1172"/>
                <a:gd name="T66" fmla="*/ 2147483647 w 943"/>
                <a:gd name="T67" fmla="*/ 2147483647 h 1172"/>
                <a:gd name="T68" fmla="*/ 2147483647 w 943"/>
                <a:gd name="T69" fmla="*/ 2147483647 h 1172"/>
                <a:gd name="T70" fmla="*/ 2147483647 w 943"/>
                <a:gd name="T71" fmla="*/ 2147483647 h 1172"/>
                <a:gd name="T72" fmla="*/ 2147483647 w 943"/>
                <a:gd name="T73" fmla="*/ 2147483647 h 1172"/>
                <a:gd name="T74" fmla="*/ 2147483647 w 943"/>
                <a:gd name="T75" fmla="*/ 2147483647 h 1172"/>
                <a:gd name="T76" fmla="*/ 2147483647 w 943"/>
                <a:gd name="T77" fmla="*/ 2147483647 h 1172"/>
                <a:gd name="T78" fmla="*/ 2147483647 w 943"/>
                <a:gd name="T79" fmla="*/ 2147483647 h 1172"/>
                <a:gd name="T80" fmla="*/ 2147483647 w 943"/>
                <a:gd name="T81" fmla="*/ 2147483647 h 1172"/>
                <a:gd name="T82" fmla="*/ 2147483647 w 943"/>
                <a:gd name="T83" fmla="*/ 2147483647 h 1172"/>
                <a:gd name="T84" fmla="*/ 2147483647 w 943"/>
                <a:gd name="T85" fmla="*/ 2147483647 h 1172"/>
                <a:gd name="T86" fmla="*/ 2147483647 w 943"/>
                <a:gd name="T87" fmla="*/ 2147483647 h 1172"/>
                <a:gd name="T88" fmla="*/ 2147483647 w 943"/>
                <a:gd name="T89" fmla="*/ 2147483647 h 1172"/>
                <a:gd name="T90" fmla="*/ 2147483647 w 943"/>
                <a:gd name="T91" fmla="*/ 2147483647 h 1172"/>
                <a:gd name="T92" fmla="*/ 2147483647 w 943"/>
                <a:gd name="T93" fmla="*/ 2147483647 h 1172"/>
                <a:gd name="T94" fmla="*/ 2147483647 w 943"/>
                <a:gd name="T95" fmla="*/ 2147483647 h 1172"/>
                <a:gd name="T96" fmla="*/ 2147483647 w 943"/>
                <a:gd name="T97" fmla="*/ 2147483647 h 1172"/>
                <a:gd name="T98" fmla="*/ 2147483647 w 943"/>
                <a:gd name="T99" fmla="*/ 2147483647 h 1172"/>
                <a:gd name="T100" fmla="*/ 2147483647 w 943"/>
                <a:gd name="T101" fmla="*/ 2147483647 h 1172"/>
                <a:gd name="T102" fmla="*/ 2147483647 w 943"/>
                <a:gd name="T103" fmla="*/ 2147483647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43"/>
                <a:gd name="T157" fmla="*/ 0 h 1172"/>
                <a:gd name="T158" fmla="*/ 943 w 943"/>
                <a:gd name="T159" fmla="*/ 1172 h 117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54" name="Freeform 356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5041900" y="3275013"/>
              <a:ext cx="244475" cy="431800"/>
            </a:xfrm>
            <a:custGeom>
              <a:avLst/>
              <a:gdLst>
                <a:gd name="T0" fmla="*/ 2147483647 w 556"/>
                <a:gd name="T1" fmla="*/ 2147483647 h 819"/>
                <a:gd name="T2" fmla="*/ 2147483647 w 556"/>
                <a:gd name="T3" fmla="*/ 2147483647 h 819"/>
                <a:gd name="T4" fmla="*/ 2147483647 w 556"/>
                <a:gd name="T5" fmla="*/ 2147483647 h 819"/>
                <a:gd name="T6" fmla="*/ 2147483647 w 556"/>
                <a:gd name="T7" fmla="*/ 2147483647 h 819"/>
                <a:gd name="T8" fmla="*/ 2147483647 w 556"/>
                <a:gd name="T9" fmla="*/ 2147483647 h 819"/>
                <a:gd name="T10" fmla="*/ 2147483647 w 556"/>
                <a:gd name="T11" fmla="*/ 2147483647 h 819"/>
                <a:gd name="T12" fmla="*/ 2147483647 w 556"/>
                <a:gd name="T13" fmla="*/ 2147483647 h 819"/>
                <a:gd name="T14" fmla="*/ 2147483647 w 556"/>
                <a:gd name="T15" fmla="*/ 2147483647 h 819"/>
                <a:gd name="T16" fmla="*/ 2147483647 w 556"/>
                <a:gd name="T17" fmla="*/ 2147483647 h 819"/>
                <a:gd name="T18" fmla="*/ 2147483647 w 556"/>
                <a:gd name="T19" fmla="*/ 2147483647 h 819"/>
                <a:gd name="T20" fmla="*/ 2147483647 w 556"/>
                <a:gd name="T21" fmla="*/ 2147483647 h 819"/>
                <a:gd name="T22" fmla="*/ 2147483647 w 556"/>
                <a:gd name="T23" fmla="*/ 2147483647 h 819"/>
                <a:gd name="T24" fmla="*/ 2147483647 w 556"/>
                <a:gd name="T25" fmla="*/ 2147483647 h 819"/>
                <a:gd name="T26" fmla="*/ 2147483647 w 556"/>
                <a:gd name="T27" fmla="*/ 2147483647 h 819"/>
                <a:gd name="T28" fmla="*/ 2147483647 w 556"/>
                <a:gd name="T29" fmla="*/ 2147483647 h 819"/>
                <a:gd name="T30" fmla="*/ 2147483647 w 556"/>
                <a:gd name="T31" fmla="*/ 2147483647 h 819"/>
                <a:gd name="T32" fmla="*/ 2147483647 w 556"/>
                <a:gd name="T33" fmla="*/ 2147483647 h 819"/>
                <a:gd name="T34" fmla="*/ 2147483647 w 556"/>
                <a:gd name="T35" fmla="*/ 2147483647 h 819"/>
                <a:gd name="T36" fmla="*/ 2147483647 w 556"/>
                <a:gd name="T37" fmla="*/ 2147483647 h 819"/>
                <a:gd name="T38" fmla="*/ 2147483647 w 556"/>
                <a:gd name="T39" fmla="*/ 2147483647 h 819"/>
                <a:gd name="T40" fmla="*/ 2147483647 w 556"/>
                <a:gd name="T41" fmla="*/ 2147483647 h 819"/>
                <a:gd name="T42" fmla="*/ 2147483647 w 556"/>
                <a:gd name="T43" fmla="*/ 2147483647 h 819"/>
                <a:gd name="T44" fmla="*/ 2147483647 w 556"/>
                <a:gd name="T45" fmla="*/ 2147483647 h 819"/>
                <a:gd name="T46" fmla="*/ 2147483647 w 556"/>
                <a:gd name="T47" fmla="*/ 2147483647 h 819"/>
                <a:gd name="T48" fmla="*/ 2147483647 w 556"/>
                <a:gd name="T49" fmla="*/ 2147483647 h 819"/>
                <a:gd name="T50" fmla="*/ 2147483647 w 556"/>
                <a:gd name="T51" fmla="*/ 2147483647 h 819"/>
                <a:gd name="T52" fmla="*/ 2147483647 w 556"/>
                <a:gd name="T53" fmla="*/ 2147483647 h 819"/>
                <a:gd name="T54" fmla="*/ 2147483647 w 556"/>
                <a:gd name="T55" fmla="*/ 2147483647 h 819"/>
                <a:gd name="T56" fmla="*/ 2147483647 w 556"/>
                <a:gd name="T57" fmla="*/ 2147483647 h 819"/>
                <a:gd name="T58" fmla="*/ 2147483647 w 556"/>
                <a:gd name="T59" fmla="*/ 2147483647 h 819"/>
                <a:gd name="T60" fmla="*/ 2147483647 w 556"/>
                <a:gd name="T61" fmla="*/ 2147483647 h 819"/>
                <a:gd name="T62" fmla="*/ 2147483647 w 556"/>
                <a:gd name="T63" fmla="*/ 2147483647 h 819"/>
                <a:gd name="T64" fmla="*/ 2147483647 w 556"/>
                <a:gd name="T65" fmla="*/ 2147483647 h 819"/>
                <a:gd name="T66" fmla="*/ 2147483647 w 556"/>
                <a:gd name="T67" fmla="*/ 2147483647 h 819"/>
                <a:gd name="T68" fmla="*/ 2147483647 w 556"/>
                <a:gd name="T69" fmla="*/ 2147483647 h 819"/>
                <a:gd name="T70" fmla="*/ 2147483647 w 556"/>
                <a:gd name="T71" fmla="*/ 2147483647 h 819"/>
                <a:gd name="T72" fmla="*/ 2147483647 w 556"/>
                <a:gd name="T73" fmla="*/ 2147483647 h 819"/>
                <a:gd name="T74" fmla="*/ 2147483647 w 556"/>
                <a:gd name="T75" fmla="*/ 2147483647 h 819"/>
                <a:gd name="T76" fmla="*/ 2147483647 w 556"/>
                <a:gd name="T77" fmla="*/ 2147483647 h 819"/>
                <a:gd name="T78" fmla="*/ 2147483647 w 556"/>
                <a:gd name="T79" fmla="*/ 2147483647 h 819"/>
                <a:gd name="T80" fmla="*/ 2147483647 w 556"/>
                <a:gd name="T81" fmla="*/ 2147483647 h 819"/>
                <a:gd name="T82" fmla="*/ 2147483647 w 556"/>
                <a:gd name="T83" fmla="*/ 2147483647 h 819"/>
                <a:gd name="T84" fmla="*/ 2147483647 w 556"/>
                <a:gd name="T85" fmla="*/ 2147483647 h 819"/>
                <a:gd name="T86" fmla="*/ 2147483647 w 556"/>
                <a:gd name="T87" fmla="*/ 2147483647 h 819"/>
                <a:gd name="T88" fmla="*/ 2147483647 w 556"/>
                <a:gd name="T89" fmla="*/ 2147483647 h 819"/>
                <a:gd name="T90" fmla="*/ 2147483647 w 556"/>
                <a:gd name="T91" fmla="*/ 2147483647 h 819"/>
                <a:gd name="T92" fmla="*/ 2147483647 w 556"/>
                <a:gd name="T93" fmla="*/ 2147483647 h 819"/>
                <a:gd name="T94" fmla="*/ 2147483647 w 556"/>
                <a:gd name="T95" fmla="*/ 2147483647 h 819"/>
                <a:gd name="T96" fmla="*/ 2147483647 w 556"/>
                <a:gd name="T97" fmla="*/ 2147483647 h 819"/>
                <a:gd name="T98" fmla="*/ 2147483647 w 556"/>
                <a:gd name="T99" fmla="*/ 2147483647 h 819"/>
                <a:gd name="T100" fmla="*/ 2147483647 w 556"/>
                <a:gd name="T101" fmla="*/ 2147483647 h 819"/>
                <a:gd name="T102" fmla="*/ 2147483647 w 556"/>
                <a:gd name="T103" fmla="*/ 2147483647 h 819"/>
                <a:gd name="T104" fmla="*/ 2147483647 w 556"/>
                <a:gd name="T105" fmla="*/ 2147483647 h 819"/>
                <a:gd name="T106" fmla="*/ 2147483647 w 556"/>
                <a:gd name="T107" fmla="*/ 2147483647 h 819"/>
                <a:gd name="T108" fmla="*/ 2147483647 w 556"/>
                <a:gd name="T109" fmla="*/ 2147483647 h 819"/>
                <a:gd name="T110" fmla="*/ 2147483647 w 556"/>
                <a:gd name="T111" fmla="*/ 2147483647 h 819"/>
                <a:gd name="T112" fmla="*/ 2147483647 w 556"/>
                <a:gd name="T113" fmla="*/ 2147483647 h 819"/>
                <a:gd name="T114" fmla="*/ 2147483647 w 556"/>
                <a:gd name="T115" fmla="*/ 2147483647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56"/>
                <a:gd name="T175" fmla="*/ 0 h 819"/>
                <a:gd name="T176" fmla="*/ 556 w 556"/>
                <a:gd name="T177" fmla="*/ 819 h 81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55" name="Freeform 357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5049838" y="3262313"/>
              <a:ext cx="38100" cy="58737"/>
            </a:xfrm>
            <a:custGeom>
              <a:avLst/>
              <a:gdLst>
                <a:gd name="T0" fmla="*/ 2147483647 w 86"/>
                <a:gd name="T1" fmla="*/ 0 h 97"/>
                <a:gd name="T2" fmla="*/ 2147483647 w 86"/>
                <a:gd name="T3" fmla="*/ 2147483647 h 97"/>
                <a:gd name="T4" fmla="*/ 2147483647 w 86"/>
                <a:gd name="T5" fmla="*/ 2147483647 h 97"/>
                <a:gd name="T6" fmla="*/ 2147483647 w 86"/>
                <a:gd name="T7" fmla="*/ 2147483647 h 97"/>
                <a:gd name="T8" fmla="*/ 2147483647 w 86"/>
                <a:gd name="T9" fmla="*/ 2147483647 h 97"/>
                <a:gd name="T10" fmla="*/ 2147483647 w 86"/>
                <a:gd name="T11" fmla="*/ 2147483647 h 97"/>
                <a:gd name="T12" fmla="*/ 2147483647 w 86"/>
                <a:gd name="T13" fmla="*/ 2147483647 h 97"/>
                <a:gd name="T14" fmla="*/ 2147483647 w 86"/>
                <a:gd name="T15" fmla="*/ 2147483647 h 97"/>
                <a:gd name="T16" fmla="*/ 2147483647 w 86"/>
                <a:gd name="T17" fmla="*/ 2147483647 h 97"/>
                <a:gd name="T18" fmla="*/ 2147483647 w 86"/>
                <a:gd name="T19" fmla="*/ 2147483647 h 97"/>
                <a:gd name="T20" fmla="*/ 2147483647 w 86"/>
                <a:gd name="T21" fmla="*/ 2147483647 h 97"/>
                <a:gd name="T22" fmla="*/ 2147483647 w 86"/>
                <a:gd name="T23" fmla="*/ 2147483647 h 97"/>
                <a:gd name="T24" fmla="*/ 2147483647 w 86"/>
                <a:gd name="T25" fmla="*/ 2147483647 h 97"/>
                <a:gd name="T26" fmla="*/ 2147483647 w 86"/>
                <a:gd name="T27" fmla="*/ 2147483647 h 97"/>
                <a:gd name="T28" fmla="*/ 2147483647 w 86"/>
                <a:gd name="T29" fmla="*/ 2147483647 h 97"/>
                <a:gd name="T30" fmla="*/ 0 w 86"/>
                <a:gd name="T31" fmla="*/ 2147483647 h 97"/>
                <a:gd name="T32" fmla="*/ 0 w 86"/>
                <a:gd name="T33" fmla="*/ 2147483647 h 97"/>
                <a:gd name="T34" fmla="*/ 0 w 86"/>
                <a:gd name="T35" fmla="*/ 2147483647 h 97"/>
                <a:gd name="T36" fmla="*/ 2147483647 w 86"/>
                <a:gd name="T37" fmla="*/ 2147483647 h 97"/>
                <a:gd name="T38" fmla="*/ 2147483647 w 86"/>
                <a:gd name="T39" fmla="*/ 2147483647 h 97"/>
                <a:gd name="T40" fmla="*/ 2147483647 w 86"/>
                <a:gd name="T41" fmla="*/ 2147483647 h 97"/>
                <a:gd name="T42" fmla="*/ 2147483647 w 86"/>
                <a:gd name="T43" fmla="*/ 2147483647 h 97"/>
                <a:gd name="T44" fmla="*/ 2147483647 w 86"/>
                <a:gd name="T45" fmla="*/ 2147483647 h 97"/>
                <a:gd name="T46" fmla="*/ 2147483647 w 86"/>
                <a:gd name="T47" fmla="*/ 2147483647 h 97"/>
                <a:gd name="T48" fmla="*/ 2147483647 w 86"/>
                <a:gd name="T49" fmla="*/ 2147483647 h 97"/>
                <a:gd name="T50" fmla="*/ 2147483647 w 86"/>
                <a:gd name="T51" fmla="*/ 2147483647 h 97"/>
                <a:gd name="T52" fmla="*/ 2147483647 w 86"/>
                <a:gd name="T53" fmla="*/ 2147483647 h 97"/>
                <a:gd name="T54" fmla="*/ 2147483647 w 86"/>
                <a:gd name="T55" fmla="*/ 2147483647 h 97"/>
                <a:gd name="T56" fmla="*/ 2147483647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86"/>
                <a:gd name="T88" fmla="*/ 0 h 97"/>
                <a:gd name="T89" fmla="*/ 86 w 86"/>
                <a:gd name="T90" fmla="*/ 97 h 9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54" name="Freeform 358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4848895" y="3172827"/>
              <a:ext cx="362932" cy="376353"/>
            </a:xfrm>
            <a:custGeom>
              <a:avLst/>
              <a:gdLst>
                <a:gd name="T0" fmla="*/ 2147483647 w 845"/>
                <a:gd name="T1" fmla="*/ 2147483647 h 720"/>
                <a:gd name="T2" fmla="*/ 2147483647 w 845"/>
                <a:gd name="T3" fmla="*/ 2147483647 h 720"/>
                <a:gd name="T4" fmla="*/ 2147483647 w 845"/>
                <a:gd name="T5" fmla="*/ 0 h 720"/>
                <a:gd name="T6" fmla="*/ 2147483647 w 845"/>
                <a:gd name="T7" fmla="*/ 2147483647 h 720"/>
                <a:gd name="T8" fmla="*/ 2147483647 w 845"/>
                <a:gd name="T9" fmla="*/ 2147483647 h 720"/>
                <a:gd name="T10" fmla="*/ 2147483647 w 845"/>
                <a:gd name="T11" fmla="*/ 2147483647 h 720"/>
                <a:gd name="T12" fmla="*/ 2147483647 w 845"/>
                <a:gd name="T13" fmla="*/ 2147483647 h 720"/>
                <a:gd name="T14" fmla="*/ 2147483647 w 845"/>
                <a:gd name="T15" fmla="*/ 2147483647 h 720"/>
                <a:gd name="T16" fmla="*/ 2147483647 w 845"/>
                <a:gd name="T17" fmla="*/ 2147483647 h 720"/>
                <a:gd name="T18" fmla="*/ 2147483647 w 845"/>
                <a:gd name="T19" fmla="*/ 2147483647 h 720"/>
                <a:gd name="T20" fmla="*/ 2147483647 w 845"/>
                <a:gd name="T21" fmla="*/ 2147483647 h 720"/>
                <a:gd name="T22" fmla="*/ 2147483647 w 845"/>
                <a:gd name="T23" fmla="*/ 2147483647 h 720"/>
                <a:gd name="T24" fmla="*/ 2147483647 w 845"/>
                <a:gd name="T25" fmla="*/ 2147483647 h 720"/>
                <a:gd name="T26" fmla="*/ 2147483647 w 845"/>
                <a:gd name="T27" fmla="*/ 2147483647 h 720"/>
                <a:gd name="T28" fmla="*/ 2147483647 w 845"/>
                <a:gd name="T29" fmla="*/ 2147483647 h 720"/>
                <a:gd name="T30" fmla="*/ 2147483647 w 845"/>
                <a:gd name="T31" fmla="*/ 2147483647 h 720"/>
                <a:gd name="T32" fmla="*/ 2147483647 w 845"/>
                <a:gd name="T33" fmla="*/ 2147483647 h 720"/>
                <a:gd name="T34" fmla="*/ 2147483647 w 845"/>
                <a:gd name="T35" fmla="*/ 2147483647 h 720"/>
                <a:gd name="T36" fmla="*/ 2147483647 w 845"/>
                <a:gd name="T37" fmla="*/ 2147483647 h 720"/>
                <a:gd name="T38" fmla="*/ 2147483647 w 845"/>
                <a:gd name="T39" fmla="*/ 2147483647 h 720"/>
                <a:gd name="T40" fmla="*/ 2147483647 w 845"/>
                <a:gd name="T41" fmla="*/ 2147483647 h 720"/>
                <a:gd name="T42" fmla="*/ 2147483647 w 845"/>
                <a:gd name="T43" fmla="*/ 2147483647 h 720"/>
                <a:gd name="T44" fmla="*/ 2147483647 w 845"/>
                <a:gd name="T45" fmla="*/ 2147483647 h 720"/>
                <a:gd name="T46" fmla="*/ 2147483647 w 845"/>
                <a:gd name="T47" fmla="*/ 2147483647 h 720"/>
                <a:gd name="T48" fmla="*/ 2147483647 w 845"/>
                <a:gd name="T49" fmla="*/ 2147483647 h 720"/>
                <a:gd name="T50" fmla="*/ 2147483647 w 845"/>
                <a:gd name="T51" fmla="*/ 2147483647 h 720"/>
                <a:gd name="T52" fmla="*/ 2147483647 w 845"/>
                <a:gd name="T53" fmla="*/ 2147483647 h 720"/>
                <a:gd name="T54" fmla="*/ 2147483647 w 845"/>
                <a:gd name="T55" fmla="*/ 2147483647 h 720"/>
                <a:gd name="T56" fmla="*/ 2147483647 w 845"/>
                <a:gd name="T57" fmla="*/ 2147483647 h 720"/>
                <a:gd name="T58" fmla="*/ 2147483647 w 845"/>
                <a:gd name="T59" fmla="*/ 2147483647 h 720"/>
                <a:gd name="T60" fmla="*/ 2147483647 w 845"/>
                <a:gd name="T61" fmla="*/ 2147483647 h 720"/>
                <a:gd name="T62" fmla="*/ 2147483647 w 845"/>
                <a:gd name="T63" fmla="*/ 2147483647 h 720"/>
                <a:gd name="T64" fmla="*/ 2147483647 w 845"/>
                <a:gd name="T65" fmla="*/ 2147483647 h 720"/>
                <a:gd name="T66" fmla="*/ 2147483647 w 845"/>
                <a:gd name="T67" fmla="*/ 2147483647 h 720"/>
                <a:gd name="T68" fmla="*/ 2147483647 w 845"/>
                <a:gd name="T69" fmla="*/ 2147483647 h 720"/>
                <a:gd name="T70" fmla="*/ 2147483647 w 845"/>
                <a:gd name="T71" fmla="*/ 2147483647 h 720"/>
                <a:gd name="T72" fmla="*/ 2147483647 w 845"/>
                <a:gd name="T73" fmla="*/ 2147483647 h 720"/>
                <a:gd name="T74" fmla="*/ 2147483647 w 845"/>
                <a:gd name="T75" fmla="*/ 2147483647 h 720"/>
                <a:gd name="T76" fmla="*/ 2147483647 w 845"/>
                <a:gd name="T77" fmla="*/ 2147483647 h 720"/>
                <a:gd name="T78" fmla="*/ 2147483647 w 845"/>
                <a:gd name="T79" fmla="*/ 2147483647 h 720"/>
                <a:gd name="T80" fmla="*/ 2147483647 w 845"/>
                <a:gd name="T81" fmla="*/ 2147483647 h 720"/>
                <a:gd name="T82" fmla="*/ 2147483647 w 845"/>
                <a:gd name="T83" fmla="*/ 2147483647 h 720"/>
                <a:gd name="T84" fmla="*/ 2147483647 w 845"/>
                <a:gd name="T85" fmla="*/ 2147483647 h 720"/>
                <a:gd name="T86" fmla="*/ 2147483647 w 845"/>
                <a:gd name="T87" fmla="*/ 2147483647 h 720"/>
                <a:gd name="T88" fmla="*/ 2147483647 w 845"/>
                <a:gd name="T89" fmla="*/ 2147483647 h 720"/>
                <a:gd name="T90" fmla="*/ 2147483647 w 845"/>
                <a:gd name="T91" fmla="*/ 2147483647 h 720"/>
                <a:gd name="T92" fmla="*/ 2147483647 w 845"/>
                <a:gd name="T93" fmla="*/ 2147483647 h 720"/>
                <a:gd name="T94" fmla="*/ 2147483647 w 845"/>
                <a:gd name="T95" fmla="*/ 2147483647 h 720"/>
                <a:gd name="T96" fmla="*/ 2147483647 w 845"/>
                <a:gd name="T97" fmla="*/ 2147483647 h 720"/>
                <a:gd name="T98" fmla="*/ 2147483647 w 845"/>
                <a:gd name="T99" fmla="*/ 2147483647 h 720"/>
                <a:gd name="T100" fmla="*/ 2147483647 w 845"/>
                <a:gd name="T101" fmla="*/ 2147483647 h 720"/>
                <a:gd name="T102" fmla="*/ 2147483647 w 845"/>
                <a:gd name="T103" fmla="*/ 2147483647 h 720"/>
                <a:gd name="T104" fmla="*/ 2147483647 w 845"/>
                <a:gd name="T105" fmla="*/ 2147483647 h 720"/>
                <a:gd name="T106" fmla="*/ 2147483647 w 845"/>
                <a:gd name="T107" fmla="*/ 2147483647 h 720"/>
                <a:gd name="T108" fmla="*/ 2147483647 w 845"/>
                <a:gd name="T109" fmla="*/ 2147483647 h 720"/>
                <a:gd name="T110" fmla="*/ 2147483647 w 845"/>
                <a:gd name="T111" fmla="*/ 2147483647 h 720"/>
                <a:gd name="T112" fmla="*/ 2147483647 w 845"/>
                <a:gd name="T113" fmla="*/ 2147483647 h 720"/>
                <a:gd name="T114" fmla="*/ 2147483647 w 845"/>
                <a:gd name="T115" fmla="*/ 2147483647 h 720"/>
                <a:gd name="T116" fmla="*/ 2147483647 w 845"/>
                <a:gd name="T117" fmla="*/ 2147483647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845"/>
                <a:gd name="T178" fmla="*/ 0 h 720"/>
                <a:gd name="T179" fmla="*/ 845 w 845"/>
                <a:gd name="T180" fmla="*/ 720 h 72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chemeClr val="accent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 baseline="-25000" smtClean="0"/>
            </a:p>
          </p:txBody>
        </p:sp>
        <p:sp>
          <p:nvSpPr>
            <p:cNvPr id="15657" name="Line 359"/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 flipH="1">
              <a:off x="1708150" y="3692525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658" name="Freeform 360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1708150" y="3700463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2147483647 w 33"/>
                <a:gd name="T3" fmla="*/ 2147483647 h 6"/>
                <a:gd name="T4" fmla="*/ 2147483647 w 33"/>
                <a:gd name="T5" fmla="*/ 2147483647 h 6"/>
                <a:gd name="T6" fmla="*/ 2147483647 w 33"/>
                <a:gd name="T7" fmla="*/ 2147483647 h 6"/>
                <a:gd name="T8" fmla="*/ 2147483647 w 3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"/>
                <a:gd name="T16" fmla="*/ 0 h 6"/>
                <a:gd name="T17" fmla="*/ 33 w 3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59" name="Freeform 361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1716088" y="3687763"/>
              <a:ext cx="4762" cy="57150"/>
            </a:xfrm>
            <a:custGeom>
              <a:avLst/>
              <a:gdLst>
                <a:gd name="T0" fmla="*/ 2147483647 w 13"/>
                <a:gd name="T1" fmla="*/ 2147483647 h 30"/>
                <a:gd name="T2" fmla="*/ 2147483647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  <a:gd name="T9" fmla="*/ 0 w 13"/>
                <a:gd name="T10" fmla="*/ 0 h 30"/>
                <a:gd name="T11" fmla="*/ 13 w 13"/>
                <a:gd name="T12" fmla="*/ 30 h 3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15660" name="Group 362"/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1708150" y="3622675"/>
              <a:ext cx="417513" cy="201613"/>
              <a:chOff x="912" y="2626"/>
              <a:chExt cx="311" cy="127"/>
            </a:xfrm>
          </p:grpSpPr>
          <p:sp>
            <p:nvSpPr>
              <p:cNvPr id="15892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0 w 352"/>
                  <a:gd name="T1" fmla="*/ 0 h 387"/>
                  <a:gd name="T2" fmla="*/ 0 w 352"/>
                  <a:gd name="T3" fmla="*/ 0 h 387"/>
                  <a:gd name="T4" fmla="*/ 0 w 352"/>
                  <a:gd name="T5" fmla="*/ 0 h 387"/>
                  <a:gd name="T6" fmla="*/ 0 w 352"/>
                  <a:gd name="T7" fmla="*/ 0 h 387"/>
                  <a:gd name="T8" fmla="*/ 0 w 352"/>
                  <a:gd name="T9" fmla="*/ 0 h 387"/>
                  <a:gd name="T10" fmla="*/ 0 w 352"/>
                  <a:gd name="T11" fmla="*/ 0 h 387"/>
                  <a:gd name="T12" fmla="*/ 0 w 352"/>
                  <a:gd name="T13" fmla="*/ 0 h 387"/>
                  <a:gd name="T14" fmla="*/ 0 w 352"/>
                  <a:gd name="T15" fmla="*/ 0 h 387"/>
                  <a:gd name="T16" fmla="*/ 0 w 352"/>
                  <a:gd name="T17" fmla="*/ 0 h 387"/>
                  <a:gd name="T18" fmla="*/ 0 w 352"/>
                  <a:gd name="T19" fmla="*/ 0 h 387"/>
                  <a:gd name="T20" fmla="*/ 0 w 352"/>
                  <a:gd name="T21" fmla="*/ 0 h 387"/>
                  <a:gd name="T22" fmla="*/ 0 w 352"/>
                  <a:gd name="T23" fmla="*/ 0 h 387"/>
                  <a:gd name="T24" fmla="*/ 0 w 352"/>
                  <a:gd name="T25" fmla="*/ 0 h 387"/>
                  <a:gd name="T26" fmla="*/ 0 w 352"/>
                  <a:gd name="T27" fmla="*/ 0 h 387"/>
                  <a:gd name="T28" fmla="*/ 0 w 352"/>
                  <a:gd name="T29" fmla="*/ 0 h 387"/>
                  <a:gd name="T30" fmla="*/ 0 w 352"/>
                  <a:gd name="T31" fmla="*/ 0 h 387"/>
                  <a:gd name="T32" fmla="*/ 0 w 352"/>
                  <a:gd name="T33" fmla="*/ 0 h 387"/>
                  <a:gd name="T34" fmla="*/ 0 w 352"/>
                  <a:gd name="T35" fmla="*/ 0 h 387"/>
                  <a:gd name="T36" fmla="*/ 0 w 352"/>
                  <a:gd name="T37" fmla="*/ 0 h 387"/>
                  <a:gd name="T38" fmla="*/ 0 w 352"/>
                  <a:gd name="T39" fmla="*/ 0 h 387"/>
                  <a:gd name="T40" fmla="*/ 0 w 352"/>
                  <a:gd name="T41" fmla="*/ 0 h 387"/>
                  <a:gd name="T42" fmla="*/ 0 w 352"/>
                  <a:gd name="T43" fmla="*/ 0 h 387"/>
                  <a:gd name="T44" fmla="*/ 0 w 352"/>
                  <a:gd name="T45" fmla="*/ 0 h 387"/>
                  <a:gd name="T46" fmla="*/ 0 w 352"/>
                  <a:gd name="T47" fmla="*/ 0 h 387"/>
                  <a:gd name="T48" fmla="*/ 0 w 352"/>
                  <a:gd name="T49" fmla="*/ 0 h 387"/>
                  <a:gd name="T50" fmla="*/ 0 w 352"/>
                  <a:gd name="T51" fmla="*/ 0 h 387"/>
                  <a:gd name="T52" fmla="*/ 0 w 352"/>
                  <a:gd name="T53" fmla="*/ 0 h 387"/>
                  <a:gd name="T54" fmla="*/ 0 w 352"/>
                  <a:gd name="T55" fmla="*/ 0 h 387"/>
                  <a:gd name="T56" fmla="*/ 0 w 352"/>
                  <a:gd name="T57" fmla="*/ 0 h 387"/>
                  <a:gd name="T58" fmla="*/ 0 w 352"/>
                  <a:gd name="T59" fmla="*/ 0 h 387"/>
                  <a:gd name="T60" fmla="*/ 0 w 352"/>
                  <a:gd name="T61" fmla="*/ 0 h 387"/>
                  <a:gd name="T62" fmla="*/ 0 w 352"/>
                  <a:gd name="T63" fmla="*/ 0 h 387"/>
                  <a:gd name="T64" fmla="*/ 0 w 352"/>
                  <a:gd name="T65" fmla="*/ 0 h 387"/>
                  <a:gd name="T66" fmla="*/ 0 w 352"/>
                  <a:gd name="T67" fmla="*/ 0 h 387"/>
                  <a:gd name="T68" fmla="*/ 0 w 352"/>
                  <a:gd name="T69" fmla="*/ 0 h 387"/>
                  <a:gd name="T70" fmla="*/ 0 w 352"/>
                  <a:gd name="T71" fmla="*/ 0 h 387"/>
                  <a:gd name="T72" fmla="*/ 0 w 352"/>
                  <a:gd name="T73" fmla="*/ 0 h 387"/>
                  <a:gd name="T74" fmla="*/ 0 w 352"/>
                  <a:gd name="T75" fmla="*/ 0 h 387"/>
                  <a:gd name="T76" fmla="*/ 0 w 352"/>
                  <a:gd name="T77" fmla="*/ 0 h 387"/>
                  <a:gd name="T78" fmla="*/ 0 w 352"/>
                  <a:gd name="T79" fmla="*/ 0 h 387"/>
                  <a:gd name="T80" fmla="*/ 0 w 352"/>
                  <a:gd name="T81" fmla="*/ 0 h 387"/>
                  <a:gd name="T82" fmla="*/ 0 w 352"/>
                  <a:gd name="T83" fmla="*/ 0 h 387"/>
                  <a:gd name="T84" fmla="*/ 0 w 352"/>
                  <a:gd name="T85" fmla="*/ 0 h 387"/>
                  <a:gd name="T86" fmla="*/ 0 w 352"/>
                  <a:gd name="T87" fmla="*/ 0 h 387"/>
                  <a:gd name="T88" fmla="*/ 0 w 352"/>
                  <a:gd name="T89" fmla="*/ 0 h 387"/>
                  <a:gd name="T90" fmla="*/ 0 w 352"/>
                  <a:gd name="T91" fmla="*/ 0 h 387"/>
                  <a:gd name="T92" fmla="*/ 0 w 352"/>
                  <a:gd name="T93" fmla="*/ 0 h 387"/>
                  <a:gd name="T94" fmla="*/ 0 w 352"/>
                  <a:gd name="T95" fmla="*/ 0 h 387"/>
                  <a:gd name="T96" fmla="*/ 0 w 352"/>
                  <a:gd name="T97" fmla="*/ 0 h 387"/>
                  <a:gd name="T98" fmla="*/ 0 w 352"/>
                  <a:gd name="T99" fmla="*/ 0 h 387"/>
                  <a:gd name="T100" fmla="*/ 0 w 352"/>
                  <a:gd name="T101" fmla="*/ 0 h 387"/>
                  <a:gd name="T102" fmla="*/ 0 w 352"/>
                  <a:gd name="T103" fmla="*/ 0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352"/>
                  <a:gd name="T157" fmla="*/ 0 h 387"/>
                  <a:gd name="T158" fmla="*/ 352 w 352"/>
                  <a:gd name="T159" fmla="*/ 387 h 387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93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0 w 52"/>
                  <a:gd name="T1" fmla="*/ 0 h 78"/>
                  <a:gd name="T2" fmla="*/ 0 w 52"/>
                  <a:gd name="T3" fmla="*/ 0 h 78"/>
                  <a:gd name="T4" fmla="*/ 0 w 52"/>
                  <a:gd name="T5" fmla="*/ 0 h 78"/>
                  <a:gd name="T6" fmla="*/ 0 w 52"/>
                  <a:gd name="T7" fmla="*/ 0 h 78"/>
                  <a:gd name="T8" fmla="*/ 0 w 52"/>
                  <a:gd name="T9" fmla="*/ 0 h 78"/>
                  <a:gd name="T10" fmla="*/ 0 w 52"/>
                  <a:gd name="T11" fmla="*/ 0 h 78"/>
                  <a:gd name="T12" fmla="*/ 0 w 52"/>
                  <a:gd name="T13" fmla="*/ 0 h 78"/>
                  <a:gd name="T14" fmla="*/ 0 w 52"/>
                  <a:gd name="T15" fmla="*/ 0 h 78"/>
                  <a:gd name="T16" fmla="*/ 0 w 52"/>
                  <a:gd name="T17" fmla="*/ 0 h 78"/>
                  <a:gd name="T18" fmla="*/ 0 w 52"/>
                  <a:gd name="T19" fmla="*/ 0 h 78"/>
                  <a:gd name="T20" fmla="*/ 0 w 52"/>
                  <a:gd name="T21" fmla="*/ 0 h 78"/>
                  <a:gd name="T22" fmla="*/ 0 w 52"/>
                  <a:gd name="T23" fmla="*/ 0 h 78"/>
                  <a:gd name="T24" fmla="*/ 0 w 52"/>
                  <a:gd name="T25" fmla="*/ 0 h 78"/>
                  <a:gd name="T26" fmla="*/ 0 w 52"/>
                  <a:gd name="T27" fmla="*/ 0 h 78"/>
                  <a:gd name="T28" fmla="*/ 0 w 52"/>
                  <a:gd name="T29" fmla="*/ 0 h 78"/>
                  <a:gd name="T30" fmla="*/ 0 w 52"/>
                  <a:gd name="T31" fmla="*/ 0 h 78"/>
                  <a:gd name="T32" fmla="*/ 0 w 52"/>
                  <a:gd name="T33" fmla="*/ 0 h 78"/>
                  <a:gd name="T34" fmla="*/ 0 w 52"/>
                  <a:gd name="T35" fmla="*/ 0 h 78"/>
                  <a:gd name="T36" fmla="*/ 0 w 52"/>
                  <a:gd name="T37" fmla="*/ 0 h 78"/>
                  <a:gd name="T38" fmla="*/ 0 w 52"/>
                  <a:gd name="T39" fmla="*/ 0 h 78"/>
                  <a:gd name="T40" fmla="*/ 0 w 52"/>
                  <a:gd name="T41" fmla="*/ 0 h 78"/>
                  <a:gd name="T42" fmla="*/ 0 w 52"/>
                  <a:gd name="T43" fmla="*/ 0 h 78"/>
                  <a:gd name="T44" fmla="*/ 0 w 52"/>
                  <a:gd name="T45" fmla="*/ 0 h 78"/>
                  <a:gd name="T46" fmla="*/ 0 w 52"/>
                  <a:gd name="T47" fmla="*/ 0 h 78"/>
                  <a:gd name="T48" fmla="*/ 0 w 52"/>
                  <a:gd name="T49" fmla="*/ 0 h 78"/>
                  <a:gd name="T50" fmla="*/ 0 w 52"/>
                  <a:gd name="T51" fmla="*/ 0 h 78"/>
                  <a:gd name="T52" fmla="*/ 0 w 52"/>
                  <a:gd name="T53" fmla="*/ 0 h 78"/>
                  <a:gd name="T54" fmla="*/ 0 w 52"/>
                  <a:gd name="T55" fmla="*/ 0 h 78"/>
                  <a:gd name="T56" fmla="*/ 0 w 52"/>
                  <a:gd name="T57" fmla="*/ 0 h 78"/>
                  <a:gd name="T58" fmla="*/ 0 w 52"/>
                  <a:gd name="T59" fmla="*/ 0 h 78"/>
                  <a:gd name="T60" fmla="*/ 0 w 52"/>
                  <a:gd name="T61" fmla="*/ 0 h 78"/>
                  <a:gd name="T62" fmla="*/ 0 w 52"/>
                  <a:gd name="T63" fmla="*/ 0 h 78"/>
                  <a:gd name="T64" fmla="*/ 0 w 52"/>
                  <a:gd name="T65" fmla="*/ 0 h 78"/>
                  <a:gd name="T66" fmla="*/ 0 w 52"/>
                  <a:gd name="T67" fmla="*/ 0 h 78"/>
                  <a:gd name="T68" fmla="*/ 0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52"/>
                  <a:gd name="T106" fmla="*/ 0 h 78"/>
                  <a:gd name="T107" fmla="*/ 52 w 52"/>
                  <a:gd name="T108" fmla="*/ 78 h 78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94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0 w 33"/>
                  <a:gd name="T1" fmla="*/ 0 h 30"/>
                  <a:gd name="T2" fmla="*/ 0 w 33"/>
                  <a:gd name="T3" fmla="*/ 0 h 30"/>
                  <a:gd name="T4" fmla="*/ 0 w 33"/>
                  <a:gd name="T5" fmla="*/ 0 h 30"/>
                  <a:gd name="T6" fmla="*/ 0 w 33"/>
                  <a:gd name="T7" fmla="*/ 0 h 30"/>
                  <a:gd name="T8" fmla="*/ 0 w 33"/>
                  <a:gd name="T9" fmla="*/ 0 h 30"/>
                  <a:gd name="T10" fmla="*/ 0 w 33"/>
                  <a:gd name="T11" fmla="*/ 0 h 30"/>
                  <a:gd name="T12" fmla="*/ 0 w 33"/>
                  <a:gd name="T13" fmla="*/ 0 h 30"/>
                  <a:gd name="T14" fmla="*/ 0 w 33"/>
                  <a:gd name="T15" fmla="*/ 0 h 30"/>
                  <a:gd name="T16" fmla="*/ 0 w 33"/>
                  <a:gd name="T17" fmla="*/ 0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3"/>
                  <a:gd name="T28" fmla="*/ 0 h 30"/>
                  <a:gd name="T29" fmla="*/ 33 w 33"/>
                  <a:gd name="T30" fmla="*/ 30 h 3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5661" name="Freeform 366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5356225" y="4340225"/>
              <a:ext cx="19050" cy="58738"/>
            </a:xfrm>
            <a:custGeom>
              <a:avLst/>
              <a:gdLst>
                <a:gd name="T0" fmla="*/ 2147483647 w 47"/>
                <a:gd name="T1" fmla="*/ 0 h 28"/>
                <a:gd name="T2" fmla="*/ 2147483647 w 47"/>
                <a:gd name="T3" fmla="*/ 0 h 28"/>
                <a:gd name="T4" fmla="*/ 2147483647 w 47"/>
                <a:gd name="T5" fmla="*/ 2147483647 h 28"/>
                <a:gd name="T6" fmla="*/ 2147483647 w 47"/>
                <a:gd name="T7" fmla="*/ 2147483647 h 28"/>
                <a:gd name="T8" fmla="*/ 2147483647 w 47"/>
                <a:gd name="T9" fmla="*/ 2147483647 h 28"/>
                <a:gd name="T10" fmla="*/ 2147483647 w 47"/>
                <a:gd name="T11" fmla="*/ 2147483647 h 28"/>
                <a:gd name="T12" fmla="*/ 2147483647 w 47"/>
                <a:gd name="T13" fmla="*/ 2147483647 h 28"/>
                <a:gd name="T14" fmla="*/ 2147483647 w 47"/>
                <a:gd name="T15" fmla="*/ 2147483647 h 28"/>
                <a:gd name="T16" fmla="*/ 2147483647 w 47"/>
                <a:gd name="T17" fmla="*/ 2147483647 h 28"/>
                <a:gd name="T18" fmla="*/ 2147483647 w 47"/>
                <a:gd name="T19" fmla="*/ 2147483647 h 28"/>
                <a:gd name="T20" fmla="*/ 2147483647 w 47"/>
                <a:gd name="T21" fmla="*/ 2147483647 h 28"/>
                <a:gd name="T22" fmla="*/ 2147483647 w 47"/>
                <a:gd name="T23" fmla="*/ 2147483647 h 28"/>
                <a:gd name="T24" fmla="*/ 2147483647 w 47"/>
                <a:gd name="T25" fmla="*/ 2147483647 h 28"/>
                <a:gd name="T26" fmla="*/ 2147483647 w 47"/>
                <a:gd name="T27" fmla="*/ 2147483647 h 28"/>
                <a:gd name="T28" fmla="*/ 0 w 47"/>
                <a:gd name="T29" fmla="*/ 2147483647 h 28"/>
                <a:gd name="T30" fmla="*/ 2147483647 w 47"/>
                <a:gd name="T31" fmla="*/ 2147483647 h 28"/>
                <a:gd name="T32" fmla="*/ 2147483647 w 47"/>
                <a:gd name="T33" fmla="*/ 2147483647 h 28"/>
                <a:gd name="T34" fmla="*/ 2147483647 w 47"/>
                <a:gd name="T35" fmla="*/ 2147483647 h 28"/>
                <a:gd name="T36" fmla="*/ 2147483647 w 47"/>
                <a:gd name="T37" fmla="*/ 2147483647 h 28"/>
                <a:gd name="T38" fmla="*/ 2147483647 w 47"/>
                <a:gd name="T39" fmla="*/ 2147483647 h 28"/>
                <a:gd name="T40" fmla="*/ 2147483647 w 47"/>
                <a:gd name="T41" fmla="*/ 2147483647 h 28"/>
                <a:gd name="T42" fmla="*/ 2147483647 w 47"/>
                <a:gd name="T43" fmla="*/ 2147483647 h 28"/>
                <a:gd name="T44" fmla="*/ 2147483647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7"/>
                <a:gd name="T70" fmla="*/ 0 h 28"/>
                <a:gd name="T71" fmla="*/ 47 w 47"/>
                <a:gd name="T72" fmla="*/ 28 h 2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62" name="Freeform 367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5327650" y="4367213"/>
              <a:ext cx="23813" cy="57150"/>
            </a:xfrm>
            <a:custGeom>
              <a:avLst/>
              <a:gdLst>
                <a:gd name="T0" fmla="*/ 2147483647 w 53"/>
                <a:gd name="T1" fmla="*/ 0 h 33"/>
                <a:gd name="T2" fmla="*/ 2147483647 w 53"/>
                <a:gd name="T3" fmla="*/ 2147483647 h 33"/>
                <a:gd name="T4" fmla="*/ 2147483647 w 53"/>
                <a:gd name="T5" fmla="*/ 2147483647 h 33"/>
                <a:gd name="T6" fmla="*/ 2147483647 w 53"/>
                <a:gd name="T7" fmla="*/ 2147483647 h 33"/>
                <a:gd name="T8" fmla="*/ 2147483647 w 53"/>
                <a:gd name="T9" fmla="*/ 2147483647 h 33"/>
                <a:gd name="T10" fmla="*/ 2147483647 w 53"/>
                <a:gd name="T11" fmla="*/ 2147483647 h 33"/>
                <a:gd name="T12" fmla="*/ 2147483647 w 53"/>
                <a:gd name="T13" fmla="*/ 2147483647 h 33"/>
                <a:gd name="T14" fmla="*/ 2147483647 w 53"/>
                <a:gd name="T15" fmla="*/ 2147483647 h 33"/>
                <a:gd name="T16" fmla="*/ 2147483647 w 53"/>
                <a:gd name="T17" fmla="*/ 2147483647 h 33"/>
                <a:gd name="T18" fmla="*/ 2147483647 w 53"/>
                <a:gd name="T19" fmla="*/ 2147483647 h 33"/>
                <a:gd name="T20" fmla="*/ 2147483647 w 53"/>
                <a:gd name="T21" fmla="*/ 2147483647 h 33"/>
                <a:gd name="T22" fmla="*/ 2147483647 w 53"/>
                <a:gd name="T23" fmla="*/ 2147483647 h 33"/>
                <a:gd name="T24" fmla="*/ 2147483647 w 53"/>
                <a:gd name="T25" fmla="*/ 2147483647 h 33"/>
                <a:gd name="T26" fmla="*/ 2147483647 w 53"/>
                <a:gd name="T27" fmla="*/ 2147483647 h 33"/>
                <a:gd name="T28" fmla="*/ 2147483647 w 53"/>
                <a:gd name="T29" fmla="*/ 2147483647 h 33"/>
                <a:gd name="T30" fmla="*/ 2147483647 w 53"/>
                <a:gd name="T31" fmla="*/ 2147483647 h 33"/>
                <a:gd name="T32" fmla="*/ 0 w 53"/>
                <a:gd name="T33" fmla="*/ 2147483647 h 33"/>
                <a:gd name="T34" fmla="*/ 0 w 53"/>
                <a:gd name="T35" fmla="*/ 2147483647 h 33"/>
                <a:gd name="T36" fmla="*/ 2147483647 w 53"/>
                <a:gd name="T37" fmla="*/ 2147483647 h 33"/>
                <a:gd name="T38" fmla="*/ 2147483647 w 53"/>
                <a:gd name="T39" fmla="*/ 2147483647 h 33"/>
                <a:gd name="T40" fmla="*/ 2147483647 w 53"/>
                <a:gd name="T41" fmla="*/ 2147483647 h 33"/>
                <a:gd name="T42" fmla="*/ 2147483647 w 53"/>
                <a:gd name="T43" fmla="*/ 2147483647 h 33"/>
                <a:gd name="T44" fmla="*/ 2147483647 w 53"/>
                <a:gd name="T45" fmla="*/ 2147483647 h 33"/>
                <a:gd name="T46" fmla="*/ 2147483647 w 53"/>
                <a:gd name="T47" fmla="*/ 2147483647 h 33"/>
                <a:gd name="T48" fmla="*/ 2147483647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3"/>
                <a:gd name="T76" fmla="*/ 0 h 33"/>
                <a:gd name="T77" fmla="*/ 53 w 53"/>
                <a:gd name="T78" fmla="*/ 33 h 3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15663" name="Group 368"/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5168900" y="3859213"/>
              <a:ext cx="168275" cy="103187"/>
              <a:chOff x="3481" y="2773"/>
              <a:chExt cx="125" cy="65"/>
            </a:xfrm>
          </p:grpSpPr>
          <p:sp>
            <p:nvSpPr>
              <p:cNvPr id="15881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w 13"/>
                  <a:gd name="T11" fmla="*/ 0 h 18"/>
                  <a:gd name="T12" fmla="*/ 0 w 13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3"/>
                  <a:gd name="T22" fmla="*/ 0 h 18"/>
                  <a:gd name="T23" fmla="*/ 13 w 13"/>
                  <a:gd name="T24" fmla="*/ 18 h 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82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83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0 w 14"/>
                  <a:gd name="T1" fmla="*/ 0 h 19"/>
                  <a:gd name="T2" fmla="*/ 0 w 14"/>
                  <a:gd name="T3" fmla="*/ 0 h 19"/>
                  <a:gd name="T4" fmla="*/ 0 w 14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14"/>
                  <a:gd name="T10" fmla="*/ 0 h 19"/>
                  <a:gd name="T11" fmla="*/ 14 w 14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84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0 h 18"/>
                  <a:gd name="T2" fmla="*/ 0 w 7"/>
                  <a:gd name="T3" fmla="*/ 0 h 18"/>
                  <a:gd name="T4" fmla="*/ 0 w 7"/>
                  <a:gd name="T5" fmla="*/ 0 h 18"/>
                  <a:gd name="T6" fmla="*/ 0 w 7"/>
                  <a:gd name="T7" fmla="*/ 0 h 18"/>
                  <a:gd name="T8" fmla="*/ 0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8"/>
                  <a:gd name="T17" fmla="*/ 7 w 7"/>
                  <a:gd name="T18" fmla="*/ 18 h 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85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0 w 20"/>
                  <a:gd name="T1" fmla="*/ 0 h 12"/>
                  <a:gd name="T2" fmla="*/ 0 w 20"/>
                  <a:gd name="T3" fmla="*/ 0 h 12"/>
                  <a:gd name="T4" fmla="*/ 0 w 20"/>
                  <a:gd name="T5" fmla="*/ 0 h 12"/>
                  <a:gd name="T6" fmla="*/ 0 w 20"/>
                  <a:gd name="T7" fmla="*/ 0 h 12"/>
                  <a:gd name="T8" fmla="*/ 0 w 20"/>
                  <a:gd name="T9" fmla="*/ 0 h 12"/>
                  <a:gd name="T10" fmla="*/ 0 w 20"/>
                  <a:gd name="T11" fmla="*/ 0 h 12"/>
                  <a:gd name="T12" fmla="*/ 0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0"/>
                  <a:gd name="T22" fmla="*/ 0 h 12"/>
                  <a:gd name="T23" fmla="*/ 20 w 20"/>
                  <a:gd name="T24" fmla="*/ 12 h 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86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87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60000 65536"/>
                  <a:gd name="T7" fmla="*/ 0 60000 65536"/>
                  <a:gd name="T8" fmla="*/ 0 60000 65536"/>
                  <a:gd name="T9" fmla="*/ 0 w 20"/>
                  <a:gd name="T10" fmla="*/ 0 h 18"/>
                  <a:gd name="T11" fmla="*/ 20 w 20"/>
                  <a:gd name="T12" fmla="*/ 18 h 1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88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0 w 7"/>
                  <a:gd name="T1" fmla="*/ 0 h 12"/>
                  <a:gd name="T2" fmla="*/ 0 w 7"/>
                  <a:gd name="T3" fmla="*/ 0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  <a:gd name="T9" fmla="*/ 0 w 7"/>
                  <a:gd name="T10" fmla="*/ 0 h 12"/>
                  <a:gd name="T11" fmla="*/ 7 w 7"/>
                  <a:gd name="T12" fmla="*/ 12 h 1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89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w 20"/>
                  <a:gd name="T7" fmla="*/ 0 h 18"/>
                  <a:gd name="T8" fmla="*/ 0 w 20"/>
                  <a:gd name="T9" fmla="*/ 0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0"/>
                  <a:gd name="T19" fmla="*/ 0 h 18"/>
                  <a:gd name="T20" fmla="*/ 20 w 20"/>
                  <a:gd name="T21" fmla="*/ 18 h 1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90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0 h 18"/>
                  <a:gd name="T2" fmla="*/ 0 w 7"/>
                  <a:gd name="T3" fmla="*/ 0 h 18"/>
                  <a:gd name="T4" fmla="*/ 0 w 7"/>
                  <a:gd name="T5" fmla="*/ 0 h 18"/>
                  <a:gd name="T6" fmla="*/ 0 w 7"/>
                  <a:gd name="T7" fmla="*/ 0 h 18"/>
                  <a:gd name="T8" fmla="*/ 0 w 7"/>
                  <a:gd name="T9" fmla="*/ 0 h 18"/>
                  <a:gd name="T10" fmla="*/ 0 w 7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18"/>
                  <a:gd name="T20" fmla="*/ 7 w 7"/>
                  <a:gd name="T21" fmla="*/ 18 h 1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91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w 13"/>
                  <a:gd name="T11" fmla="*/ 0 h 18"/>
                  <a:gd name="T12" fmla="*/ 0 w 13"/>
                  <a:gd name="T13" fmla="*/ 0 h 18"/>
                  <a:gd name="T14" fmla="*/ 0 w 13"/>
                  <a:gd name="T15" fmla="*/ 0 h 18"/>
                  <a:gd name="T16" fmla="*/ 0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3"/>
                  <a:gd name="T28" fmla="*/ 0 h 18"/>
                  <a:gd name="T29" fmla="*/ 13 w 13"/>
                  <a:gd name="T30" fmla="*/ 18 h 1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5664" name="Freeform 380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4297363" y="3851275"/>
              <a:ext cx="319087" cy="379413"/>
            </a:xfrm>
            <a:custGeom>
              <a:avLst/>
              <a:gdLst>
                <a:gd name="T0" fmla="*/ 2147483647 w 736"/>
                <a:gd name="T1" fmla="*/ 2147483647 h 721"/>
                <a:gd name="T2" fmla="*/ 2147483647 w 736"/>
                <a:gd name="T3" fmla="*/ 2147483647 h 721"/>
                <a:gd name="T4" fmla="*/ 2147483647 w 736"/>
                <a:gd name="T5" fmla="*/ 2147483647 h 721"/>
                <a:gd name="T6" fmla="*/ 2147483647 w 736"/>
                <a:gd name="T7" fmla="*/ 2147483647 h 721"/>
                <a:gd name="T8" fmla="*/ 2147483647 w 736"/>
                <a:gd name="T9" fmla="*/ 2147483647 h 721"/>
                <a:gd name="T10" fmla="*/ 2147483647 w 736"/>
                <a:gd name="T11" fmla="*/ 2147483647 h 721"/>
                <a:gd name="T12" fmla="*/ 2147483647 w 736"/>
                <a:gd name="T13" fmla="*/ 2147483647 h 721"/>
                <a:gd name="T14" fmla="*/ 2147483647 w 736"/>
                <a:gd name="T15" fmla="*/ 2147483647 h 721"/>
                <a:gd name="T16" fmla="*/ 2147483647 w 736"/>
                <a:gd name="T17" fmla="*/ 2147483647 h 721"/>
                <a:gd name="T18" fmla="*/ 2147483647 w 736"/>
                <a:gd name="T19" fmla="*/ 2147483647 h 721"/>
                <a:gd name="T20" fmla="*/ 2147483647 w 736"/>
                <a:gd name="T21" fmla="*/ 2147483647 h 721"/>
                <a:gd name="T22" fmla="*/ 2147483647 w 736"/>
                <a:gd name="T23" fmla="*/ 2147483647 h 721"/>
                <a:gd name="T24" fmla="*/ 2147483647 w 736"/>
                <a:gd name="T25" fmla="*/ 2147483647 h 721"/>
                <a:gd name="T26" fmla="*/ 2147483647 w 736"/>
                <a:gd name="T27" fmla="*/ 2147483647 h 721"/>
                <a:gd name="T28" fmla="*/ 2147483647 w 736"/>
                <a:gd name="T29" fmla="*/ 2147483647 h 721"/>
                <a:gd name="T30" fmla="*/ 2147483647 w 736"/>
                <a:gd name="T31" fmla="*/ 2147483647 h 721"/>
                <a:gd name="T32" fmla="*/ 2147483647 w 736"/>
                <a:gd name="T33" fmla="*/ 2147483647 h 721"/>
                <a:gd name="T34" fmla="*/ 2147483647 w 736"/>
                <a:gd name="T35" fmla="*/ 2147483647 h 721"/>
                <a:gd name="T36" fmla="*/ 2147483647 w 736"/>
                <a:gd name="T37" fmla="*/ 2147483647 h 721"/>
                <a:gd name="T38" fmla="*/ 2147483647 w 736"/>
                <a:gd name="T39" fmla="*/ 2147483647 h 721"/>
                <a:gd name="T40" fmla="*/ 2147483647 w 736"/>
                <a:gd name="T41" fmla="*/ 2147483647 h 721"/>
                <a:gd name="T42" fmla="*/ 2147483647 w 736"/>
                <a:gd name="T43" fmla="*/ 2147483647 h 721"/>
                <a:gd name="T44" fmla="*/ 2147483647 w 736"/>
                <a:gd name="T45" fmla="*/ 2147483647 h 721"/>
                <a:gd name="T46" fmla="*/ 2147483647 w 736"/>
                <a:gd name="T47" fmla="*/ 2147483647 h 721"/>
                <a:gd name="T48" fmla="*/ 2147483647 w 736"/>
                <a:gd name="T49" fmla="*/ 2147483647 h 721"/>
                <a:gd name="T50" fmla="*/ 2147483647 w 736"/>
                <a:gd name="T51" fmla="*/ 2147483647 h 721"/>
                <a:gd name="T52" fmla="*/ 2147483647 w 736"/>
                <a:gd name="T53" fmla="*/ 2147483647 h 721"/>
                <a:gd name="T54" fmla="*/ 2147483647 w 736"/>
                <a:gd name="T55" fmla="*/ 2147483647 h 721"/>
                <a:gd name="T56" fmla="*/ 2147483647 w 736"/>
                <a:gd name="T57" fmla="*/ 2147483647 h 721"/>
                <a:gd name="T58" fmla="*/ 2147483647 w 736"/>
                <a:gd name="T59" fmla="*/ 2147483647 h 721"/>
                <a:gd name="T60" fmla="*/ 2147483647 w 736"/>
                <a:gd name="T61" fmla="*/ 2147483647 h 721"/>
                <a:gd name="T62" fmla="*/ 2147483647 w 736"/>
                <a:gd name="T63" fmla="*/ 2147483647 h 721"/>
                <a:gd name="T64" fmla="*/ 2147483647 w 736"/>
                <a:gd name="T65" fmla="*/ 2147483647 h 721"/>
                <a:gd name="T66" fmla="*/ 2147483647 w 736"/>
                <a:gd name="T67" fmla="*/ 0 h 721"/>
                <a:gd name="T68" fmla="*/ 2147483647 w 736"/>
                <a:gd name="T69" fmla="*/ 2147483647 h 721"/>
                <a:gd name="T70" fmla="*/ 2147483647 w 736"/>
                <a:gd name="T71" fmla="*/ 2147483647 h 721"/>
                <a:gd name="T72" fmla="*/ 2147483647 w 736"/>
                <a:gd name="T73" fmla="*/ 2147483647 h 721"/>
                <a:gd name="T74" fmla="*/ 2147483647 w 736"/>
                <a:gd name="T75" fmla="*/ 2147483647 h 721"/>
                <a:gd name="T76" fmla="*/ 2147483647 w 736"/>
                <a:gd name="T77" fmla="*/ 2147483647 h 721"/>
                <a:gd name="T78" fmla="*/ 2147483647 w 736"/>
                <a:gd name="T79" fmla="*/ 2147483647 h 721"/>
                <a:gd name="T80" fmla="*/ 2147483647 w 736"/>
                <a:gd name="T81" fmla="*/ 2147483647 h 721"/>
                <a:gd name="T82" fmla="*/ 2147483647 w 736"/>
                <a:gd name="T83" fmla="*/ 2147483647 h 721"/>
                <a:gd name="T84" fmla="*/ 2147483647 w 736"/>
                <a:gd name="T85" fmla="*/ 2147483647 h 721"/>
                <a:gd name="T86" fmla="*/ 2147483647 w 736"/>
                <a:gd name="T87" fmla="*/ 2147483647 h 721"/>
                <a:gd name="T88" fmla="*/ 2147483647 w 736"/>
                <a:gd name="T89" fmla="*/ 2147483647 h 721"/>
                <a:gd name="T90" fmla="*/ 2147483647 w 736"/>
                <a:gd name="T91" fmla="*/ 2147483647 h 721"/>
                <a:gd name="T92" fmla="*/ 2147483647 w 736"/>
                <a:gd name="T93" fmla="*/ 2147483647 h 721"/>
                <a:gd name="T94" fmla="*/ 2147483647 w 736"/>
                <a:gd name="T95" fmla="*/ 2147483647 h 721"/>
                <a:gd name="T96" fmla="*/ 2147483647 w 736"/>
                <a:gd name="T97" fmla="*/ 21474836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736"/>
                <a:gd name="T148" fmla="*/ 0 h 721"/>
                <a:gd name="T149" fmla="*/ 736 w 736"/>
                <a:gd name="T150" fmla="*/ 721 h 72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65" name="Freeform 381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4308475" y="3824288"/>
              <a:ext cx="15875" cy="60325"/>
            </a:xfrm>
            <a:custGeom>
              <a:avLst/>
              <a:gdLst>
                <a:gd name="T0" fmla="*/ 0 w 39"/>
                <a:gd name="T1" fmla="*/ 2147483647 h 31"/>
                <a:gd name="T2" fmla="*/ 2147483647 w 39"/>
                <a:gd name="T3" fmla="*/ 2147483647 h 31"/>
                <a:gd name="T4" fmla="*/ 2147483647 w 39"/>
                <a:gd name="T5" fmla="*/ 2147483647 h 31"/>
                <a:gd name="T6" fmla="*/ 2147483647 w 39"/>
                <a:gd name="T7" fmla="*/ 2147483647 h 31"/>
                <a:gd name="T8" fmla="*/ 2147483647 w 39"/>
                <a:gd name="T9" fmla="*/ 2147483647 h 31"/>
                <a:gd name="T10" fmla="*/ 2147483647 w 39"/>
                <a:gd name="T11" fmla="*/ 2147483647 h 31"/>
                <a:gd name="T12" fmla="*/ 2147483647 w 39"/>
                <a:gd name="T13" fmla="*/ 2147483647 h 31"/>
                <a:gd name="T14" fmla="*/ 2147483647 w 39"/>
                <a:gd name="T15" fmla="*/ 0 h 31"/>
                <a:gd name="T16" fmla="*/ 2147483647 w 39"/>
                <a:gd name="T17" fmla="*/ 0 h 31"/>
                <a:gd name="T18" fmla="*/ 2147483647 w 39"/>
                <a:gd name="T19" fmla="*/ 0 h 31"/>
                <a:gd name="T20" fmla="*/ 2147483647 w 39"/>
                <a:gd name="T21" fmla="*/ 0 h 31"/>
                <a:gd name="T22" fmla="*/ 0 w 39"/>
                <a:gd name="T23" fmla="*/ 0 h 31"/>
                <a:gd name="T24" fmla="*/ 0 w 39"/>
                <a:gd name="T25" fmla="*/ 2147483647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9"/>
                <a:gd name="T40" fmla="*/ 0 h 31"/>
                <a:gd name="T41" fmla="*/ 39 w 39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30" name="Freeform 382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4410688" y="4367747"/>
              <a:ext cx="396537" cy="397859"/>
            </a:xfrm>
            <a:custGeom>
              <a:avLst/>
              <a:gdLst>
                <a:gd name="T0" fmla="*/ 899 w 903"/>
                <a:gd name="T1" fmla="*/ 291 h 759"/>
                <a:gd name="T2" fmla="*/ 863 w 903"/>
                <a:gd name="T3" fmla="*/ 388 h 759"/>
                <a:gd name="T4" fmla="*/ 832 w 903"/>
                <a:gd name="T5" fmla="*/ 414 h 759"/>
                <a:gd name="T6" fmla="*/ 761 w 903"/>
                <a:gd name="T7" fmla="*/ 507 h 759"/>
                <a:gd name="T8" fmla="*/ 720 w 903"/>
                <a:gd name="T9" fmla="*/ 561 h 759"/>
                <a:gd name="T10" fmla="*/ 647 w 903"/>
                <a:gd name="T11" fmla="*/ 613 h 759"/>
                <a:gd name="T12" fmla="*/ 583 w 903"/>
                <a:gd name="T13" fmla="*/ 666 h 759"/>
                <a:gd name="T14" fmla="*/ 557 w 903"/>
                <a:gd name="T15" fmla="*/ 698 h 759"/>
                <a:gd name="T16" fmla="*/ 520 w 903"/>
                <a:gd name="T17" fmla="*/ 705 h 759"/>
                <a:gd name="T18" fmla="*/ 496 w 903"/>
                <a:gd name="T19" fmla="*/ 710 h 759"/>
                <a:gd name="T20" fmla="*/ 485 w 903"/>
                <a:gd name="T21" fmla="*/ 727 h 759"/>
                <a:gd name="T22" fmla="*/ 372 w 903"/>
                <a:gd name="T23" fmla="*/ 727 h 759"/>
                <a:gd name="T24" fmla="*/ 339 w 903"/>
                <a:gd name="T25" fmla="*/ 732 h 759"/>
                <a:gd name="T26" fmla="*/ 316 w 903"/>
                <a:gd name="T27" fmla="*/ 732 h 759"/>
                <a:gd name="T28" fmla="*/ 286 w 903"/>
                <a:gd name="T29" fmla="*/ 727 h 759"/>
                <a:gd name="T30" fmla="*/ 263 w 903"/>
                <a:gd name="T31" fmla="*/ 737 h 759"/>
                <a:gd name="T32" fmla="*/ 146 w 903"/>
                <a:gd name="T33" fmla="*/ 759 h 759"/>
                <a:gd name="T34" fmla="*/ 116 w 903"/>
                <a:gd name="T35" fmla="*/ 753 h 759"/>
                <a:gd name="T36" fmla="*/ 90 w 903"/>
                <a:gd name="T37" fmla="*/ 739 h 759"/>
                <a:gd name="T38" fmla="*/ 76 w 903"/>
                <a:gd name="T39" fmla="*/ 719 h 759"/>
                <a:gd name="T40" fmla="*/ 79 w 903"/>
                <a:gd name="T41" fmla="*/ 697 h 759"/>
                <a:gd name="T42" fmla="*/ 75 w 903"/>
                <a:gd name="T43" fmla="*/ 628 h 759"/>
                <a:gd name="T44" fmla="*/ 79 w 903"/>
                <a:gd name="T45" fmla="*/ 608 h 759"/>
                <a:gd name="T46" fmla="*/ 68 w 903"/>
                <a:gd name="T47" fmla="*/ 572 h 759"/>
                <a:gd name="T48" fmla="*/ 22 w 903"/>
                <a:gd name="T49" fmla="*/ 516 h 759"/>
                <a:gd name="T50" fmla="*/ 12 w 903"/>
                <a:gd name="T51" fmla="*/ 484 h 759"/>
                <a:gd name="T52" fmla="*/ 10 w 903"/>
                <a:gd name="T53" fmla="*/ 439 h 759"/>
                <a:gd name="T54" fmla="*/ 0 w 903"/>
                <a:gd name="T55" fmla="*/ 377 h 759"/>
                <a:gd name="T56" fmla="*/ 39 w 903"/>
                <a:gd name="T57" fmla="*/ 377 h 759"/>
                <a:gd name="T58" fmla="*/ 57 w 903"/>
                <a:gd name="T59" fmla="*/ 396 h 759"/>
                <a:gd name="T60" fmla="*/ 94 w 903"/>
                <a:gd name="T61" fmla="*/ 410 h 759"/>
                <a:gd name="T62" fmla="*/ 135 w 903"/>
                <a:gd name="T63" fmla="*/ 411 h 759"/>
                <a:gd name="T64" fmla="*/ 160 w 903"/>
                <a:gd name="T65" fmla="*/ 400 h 759"/>
                <a:gd name="T66" fmla="*/ 182 w 903"/>
                <a:gd name="T67" fmla="*/ 372 h 759"/>
                <a:gd name="T68" fmla="*/ 197 w 903"/>
                <a:gd name="T69" fmla="*/ 229 h 759"/>
                <a:gd name="T70" fmla="*/ 204 w 903"/>
                <a:gd name="T71" fmla="*/ 184 h 759"/>
                <a:gd name="T72" fmla="*/ 210 w 903"/>
                <a:gd name="T73" fmla="*/ 168 h 759"/>
                <a:gd name="T74" fmla="*/ 239 w 903"/>
                <a:gd name="T75" fmla="*/ 178 h 759"/>
                <a:gd name="T76" fmla="*/ 245 w 903"/>
                <a:gd name="T77" fmla="*/ 238 h 759"/>
                <a:gd name="T78" fmla="*/ 247 w 903"/>
                <a:gd name="T79" fmla="*/ 274 h 759"/>
                <a:gd name="T80" fmla="*/ 256 w 903"/>
                <a:gd name="T81" fmla="*/ 287 h 759"/>
                <a:gd name="T82" fmla="*/ 287 w 903"/>
                <a:gd name="T83" fmla="*/ 295 h 759"/>
                <a:gd name="T84" fmla="*/ 312 w 903"/>
                <a:gd name="T85" fmla="*/ 293 h 759"/>
                <a:gd name="T86" fmla="*/ 333 w 903"/>
                <a:gd name="T87" fmla="*/ 272 h 759"/>
                <a:gd name="T88" fmla="*/ 350 w 903"/>
                <a:gd name="T89" fmla="*/ 234 h 759"/>
                <a:gd name="T90" fmla="*/ 368 w 903"/>
                <a:gd name="T91" fmla="*/ 201 h 759"/>
                <a:gd name="T92" fmla="*/ 387 w 903"/>
                <a:gd name="T93" fmla="*/ 191 h 759"/>
                <a:gd name="T94" fmla="*/ 414 w 903"/>
                <a:gd name="T95" fmla="*/ 193 h 759"/>
                <a:gd name="T96" fmla="*/ 451 w 903"/>
                <a:gd name="T97" fmla="*/ 208 h 759"/>
                <a:gd name="T98" fmla="*/ 478 w 903"/>
                <a:gd name="T99" fmla="*/ 216 h 759"/>
                <a:gd name="T100" fmla="*/ 512 w 903"/>
                <a:gd name="T101" fmla="*/ 213 h 759"/>
                <a:gd name="T102" fmla="*/ 531 w 903"/>
                <a:gd name="T103" fmla="*/ 200 h 759"/>
                <a:gd name="T104" fmla="*/ 564 w 903"/>
                <a:gd name="T105" fmla="*/ 127 h 759"/>
                <a:gd name="T106" fmla="*/ 620 w 903"/>
                <a:gd name="T107" fmla="*/ 80 h 759"/>
                <a:gd name="T108" fmla="*/ 732 w 903"/>
                <a:gd name="T109" fmla="*/ 11 h 759"/>
                <a:gd name="T110" fmla="*/ 806 w 903"/>
                <a:gd name="T111" fmla="*/ 3 h 759"/>
                <a:gd name="T112" fmla="*/ 830 w 903"/>
                <a:gd name="T113" fmla="*/ 6 h 759"/>
                <a:gd name="T114" fmla="*/ 854 w 903"/>
                <a:gd name="T115" fmla="*/ 35 h 759"/>
                <a:gd name="T116" fmla="*/ 873 w 903"/>
                <a:gd name="T117" fmla="*/ 71 h 759"/>
                <a:gd name="T118" fmla="*/ 883 w 903"/>
                <a:gd name="T119" fmla="*/ 107 h 759"/>
                <a:gd name="T120" fmla="*/ 868 w 903"/>
                <a:gd name="T121" fmla="*/ 207 h 759"/>
                <a:gd name="T122" fmla="*/ 830 w 903"/>
                <a:gd name="T123" fmla="*/ 204 h 759"/>
                <a:gd name="T124" fmla="*/ 826 w 903"/>
                <a:gd name="T125" fmla="*/ 281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US" altLang="en-US" sz="1800" baseline="-25000" smtClean="0"/>
            </a:p>
          </p:txBody>
        </p:sp>
        <p:sp>
          <p:nvSpPr>
            <p:cNvPr id="15667" name="Freeform 383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4557713" y="2935288"/>
              <a:ext cx="411162" cy="611187"/>
            </a:xfrm>
            <a:custGeom>
              <a:avLst/>
              <a:gdLst>
                <a:gd name="T0" fmla="*/ 2147483647 w 943"/>
                <a:gd name="T1" fmla="*/ 2147483647 h 1172"/>
                <a:gd name="T2" fmla="*/ 2147483647 w 943"/>
                <a:gd name="T3" fmla="*/ 2147483647 h 1172"/>
                <a:gd name="T4" fmla="*/ 2147483647 w 943"/>
                <a:gd name="T5" fmla="*/ 2147483647 h 1172"/>
                <a:gd name="T6" fmla="*/ 2147483647 w 943"/>
                <a:gd name="T7" fmla="*/ 2147483647 h 1172"/>
                <a:gd name="T8" fmla="*/ 2147483647 w 943"/>
                <a:gd name="T9" fmla="*/ 2147483647 h 1172"/>
                <a:gd name="T10" fmla="*/ 2147483647 w 943"/>
                <a:gd name="T11" fmla="*/ 2147483647 h 1172"/>
                <a:gd name="T12" fmla="*/ 2147483647 w 943"/>
                <a:gd name="T13" fmla="*/ 2147483647 h 1172"/>
                <a:gd name="T14" fmla="*/ 2147483647 w 943"/>
                <a:gd name="T15" fmla="*/ 2147483647 h 1172"/>
                <a:gd name="T16" fmla="*/ 2147483647 w 943"/>
                <a:gd name="T17" fmla="*/ 2147483647 h 1172"/>
                <a:gd name="T18" fmla="*/ 2147483647 w 943"/>
                <a:gd name="T19" fmla="*/ 2147483647 h 1172"/>
                <a:gd name="T20" fmla="*/ 2147483647 w 943"/>
                <a:gd name="T21" fmla="*/ 2147483647 h 1172"/>
                <a:gd name="T22" fmla="*/ 2147483647 w 943"/>
                <a:gd name="T23" fmla="*/ 2147483647 h 1172"/>
                <a:gd name="T24" fmla="*/ 2147483647 w 943"/>
                <a:gd name="T25" fmla="*/ 2147483647 h 1172"/>
                <a:gd name="T26" fmla="*/ 2147483647 w 943"/>
                <a:gd name="T27" fmla="*/ 2147483647 h 1172"/>
                <a:gd name="T28" fmla="*/ 2147483647 w 943"/>
                <a:gd name="T29" fmla="*/ 2147483647 h 1172"/>
                <a:gd name="T30" fmla="*/ 2147483647 w 943"/>
                <a:gd name="T31" fmla="*/ 2147483647 h 1172"/>
                <a:gd name="T32" fmla="*/ 2147483647 w 943"/>
                <a:gd name="T33" fmla="*/ 2147483647 h 1172"/>
                <a:gd name="T34" fmla="*/ 2147483647 w 943"/>
                <a:gd name="T35" fmla="*/ 2147483647 h 1172"/>
                <a:gd name="T36" fmla="*/ 2147483647 w 943"/>
                <a:gd name="T37" fmla="*/ 2147483647 h 1172"/>
                <a:gd name="T38" fmla="*/ 2147483647 w 943"/>
                <a:gd name="T39" fmla="*/ 2147483647 h 1172"/>
                <a:gd name="T40" fmla="*/ 2147483647 w 943"/>
                <a:gd name="T41" fmla="*/ 2147483647 h 1172"/>
                <a:gd name="T42" fmla="*/ 2147483647 w 943"/>
                <a:gd name="T43" fmla="*/ 2147483647 h 1172"/>
                <a:gd name="T44" fmla="*/ 2147483647 w 943"/>
                <a:gd name="T45" fmla="*/ 2147483647 h 1172"/>
                <a:gd name="T46" fmla="*/ 2147483647 w 943"/>
                <a:gd name="T47" fmla="*/ 2147483647 h 1172"/>
                <a:gd name="T48" fmla="*/ 2147483647 w 943"/>
                <a:gd name="T49" fmla="*/ 2147483647 h 1172"/>
                <a:gd name="T50" fmla="*/ 2147483647 w 943"/>
                <a:gd name="T51" fmla="*/ 2147483647 h 1172"/>
                <a:gd name="T52" fmla="*/ 2147483647 w 943"/>
                <a:gd name="T53" fmla="*/ 2147483647 h 1172"/>
                <a:gd name="T54" fmla="*/ 2147483647 w 943"/>
                <a:gd name="T55" fmla="*/ 2147483647 h 1172"/>
                <a:gd name="T56" fmla="*/ 2147483647 w 943"/>
                <a:gd name="T57" fmla="*/ 2147483647 h 1172"/>
                <a:gd name="T58" fmla="*/ 2147483647 w 943"/>
                <a:gd name="T59" fmla="*/ 2147483647 h 1172"/>
                <a:gd name="T60" fmla="*/ 2147483647 w 943"/>
                <a:gd name="T61" fmla="*/ 2147483647 h 1172"/>
                <a:gd name="T62" fmla="*/ 2147483647 w 943"/>
                <a:gd name="T63" fmla="*/ 2147483647 h 1172"/>
                <a:gd name="T64" fmla="*/ 2147483647 w 943"/>
                <a:gd name="T65" fmla="*/ 2147483647 h 1172"/>
                <a:gd name="T66" fmla="*/ 2147483647 w 943"/>
                <a:gd name="T67" fmla="*/ 2147483647 h 1172"/>
                <a:gd name="T68" fmla="*/ 2147483647 w 943"/>
                <a:gd name="T69" fmla="*/ 2147483647 h 1172"/>
                <a:gd name="T70" fmla="*/ 2147483647 w 943"/>
                <a:gd name="T71" fmla="*/ 2147483647 h 1172"/>
                <a:gd name="T72" fmla="*/ 2147483647 w 943"/>
                <a:gd name="T73" fmla="*/ 2147483647 h 1172"/>
                <a:gd name="T74" fmla="*/ 2147483647 w 943"/>
                <a:gd name="T75" fmla="*/ 2147483647 h 1172"/>
                <a:gd name="T76" fmla="*/ 2147483647 w 943"/>
                <a:gd name="T77" fmla="*/ 2147483647 h 1172"/>
                <a:gd name="T78" fmla="*/ 2147483647 w 943"/>
                <a:gd name="T79" fmla="*/ 2147483647 h 1172"/>
                <a:gd name="T80" fmla="*/ 2147483647 w 943"/>
                <a:gd name="T81" fmla="*/ 2147483647 h 1172"/>
                <a:gd name="T82" fmla="*/ 2147483647 w 943"/>
                <a:gd name="T83" fmla="*/ 2147483647 h 1172"/>
                <a:gd name="T84" fmla="*/ 2147483647 w 943"/>
                <a:gd name="T85" fmla="*/ 2147483647 h 1172"/>
                <a:gd name="T86" fmla="*/ 2147483647 w 943"/>
                <a:gd name="T87" fmla="*/ 2147483647 h 1172"/>
                <a:gd name="T88" fmla="*/ 2147483647 w 943"/>
                <a:gd name="T89" fmla="*/ 2147483647 h 1172"/>
                <a:gd name="T90" fmla="*/ 2147483647 w 943"/>
                <a:gd name="T91" fmla="*/ 2147483647 h 1172"/>
                <a:gd name="T92" fmla="*/ 2147483647 w 943"/>
                <a:gd name="T93" fmla="*/ 2147483647 h 1172"/>
                <a:gd name="T94" fmla="*/ 2147483647 w 943"/>
                <a:gd name="T95" fmla="*/ 2147483647 h 1172"/>
                <a:gd name="T96" fmla="*/ 2147483647 w 943"/>
                <a:gd name="T97" fmla="*/ 2147483647 h 1172"/>
                <a:gd name="T98" fmla="*/ 2147483647 w 943"/>
                <a:gd name="T99" fmla="*/ 2147483647 h 1172"/>
                <a:gd name="T100" fmla="*/ 2147483647 w 943"/>
                <a:gd name="T101" fmla="*/ 2147483647 h 1172"/>
                <a:gd name="T102" fmla="*/ 2147483647 w 943"/>
                <a:gd name="T103" fmla="*/ 2147483647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43"/>
                <a:gd name="T157" fmla="*/ 0 h 1172"/>
                <a:gd name="T158" fmla="*/ 943 w 943"/>
                <a:gd name="T159" fmla="*/ 1172 h 117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15668" name="Group 384"/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3341688" y="3136900"/>
              <a:ext cx="80962" cy="82550"/>
              <a:chOff x="2352" y="2343"/>
              <a:chExt cx="65" cy="53"/>
            </a:xfrm>
          </p:grpSpPr>
          <p:sp>
            <p:nvSpPr>
              <p:cNvPr id="15875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0 w 51"/>
                  <a:gd name="T1" fmla="*/ 0 h 33"/>
                  <a:gd name="T2" fmla="*/ 0 w 51"/>
                  <a:gd name="T3" fmla="*/ 0 h 33"/>
                  <a:gd name="T4" fmla="*/ 0 w 51"/>
                  <a:gd name="T5" fmla="*/ 0 h 33"/>
                  <a:gd name="T6" fmla="*/ 0 w 51"/>
                  <a:gd name="T7" fmla="*/ 0 h 33"/>
                  <a:gd name="T8" fmla="*/ 0 w 51"/>
                  <a:gd name="T9" fmla="*/ 0 h 33"/>
                  <a:gd name="T10" fmla="*/ 0 w 51"/>
                  <a:gd name="T11" fmla="*/ 0 h 33"/>
                  <a:gd name="T12" fmla="*/ 0 w 51"/>
                  <a:gd name="T13" fmla="*/ 0 h 33"/>
                  <a:gd name="T14" fmla="*/ 0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1"/>
                  <a:gd name="T25" fmla="*/ 0 h 33"/>
                  <a:gd name="T26" fmla="*/ 51 w 51"/>
                  <a:gd name="T27" fmla="*/ 33 h 3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76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0 w 61"/>
                  <a:gd name="T1" fmla="*/ 0 h 20"/>
                  <a:gd name="T2" fmla="*/ 0 w 61"/>
                  <a:gd name="T3" fmla="*/ 0 h 20"/>
                  <a:gd name="T4" fmla="*/ 0 w 61"/>
                  <a:gd name="T5" fmla="*/ 0 h 20"/>
                  <a:gd name="T6" fmla="*/ 0 w 61"/>
                  <a:gd name="T7" fmla="*/ 0 h 20"/>
                  <a:gd name="T8" fmla="*/ 0 w 61"/>
                  <a:gd name="T9" fmla="*/ 0 h 20"/>
                  <a:gd name="T10" fmla="*/ 0 w 61"/>
                  <a:gd name="T11" fmla="*/ 0 h 20"/>
                  <a:gd name="T12" fmla="*/ 0 w 61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1"/>
                  <a:gd name="T22" fmla="*/ 0 h 20"/>
                  <a:gd name="T23" fmla="*/ 61 w 61"/>
                  <a:gd name="T24" fmla="*/ 20 h 2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77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0 w 15"/>
                  <a:gd name="T1" fmla="*/ 0 h 36"/>
                  <a:gd name="T2" fmla="*/ 0 w 15"/>
                  <a:gd name="T3" fmla="*/ 0 h 36"/>
                  <a:gd name="T4" fmla="*/ 0 w 15"/>
                  <a:gd name="T5" fmla="*/ 0 h 36"/>
                  <a:gd name="T6" fmla="*/ 0 w 15"/>
                  <a:gd name="T7" fmla="*/ 0 h 36"/>
                  <a:gd name="T8" fmla="*/ 0 w 15"/>
                  <a:gd name="T9" fmla="*/ 0 h 36"/>
                  <a:gd name="T10" fmla="*/ 0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"/>
                  <a:gd name="T19" fmla="*/ 0 h 36"/>
                  <a:gd name="T20" fmla="*/ 15 w 15"/>
                  <a:gd name="T21" fmla="*/ 36 h 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78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0 w 37"/>
                  <a:gd name="T1" fmla="*/ 0 h 33"/>
                  <a:gd name="T2" fmla="*/ 0 w 37"/>
                  <a:gd name="T3" fmla="*/ 0 h 33"/>
                  <a:gd name="T4" fmla="*/ 0 w 37"/>
                  <a:gd name="T5" fmla="*/ 0 h 33"/>
                  <a:gd name="T6" fmla="*/ 0 w 37"/>
                  <a:gd name="T7" fmla="*/ 0 h 33"/>
                  <a:gd name="T8" fmla="*/ 0 w 37"/>
                  <a:gd name="T9" fmla="*/ 0 h 33"/>
                  <a:gd name="T10" fmla="*/ 0 w 37"/>
                  <a:gd name="T11" fmla="*/ 0 h 33"/>
                  <a:gd name="T12" fmla="*/ 0 w 37"/>
                  <a:gd name="T13" fmla="*/ 0 h 33"/>
                  <a:gd name="T14" fmla="*/ 0 w 37"/>
                  <a:gd name="T15" fmla="*/ 0 h 33"/>
                  <a:gd name="T16" fmla="*/ 0 w 37"/>
                  <a:gd name="T17" fmla="*/ 0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7"/>
                  <a:gd name="T28" fmla="*/ 0 h 33"/>
                  <a:gd name="T29" fmla="*/ 37 w 37"/>
                  <a:gd name="T30" fmla="*/ 33 h 3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79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0 w 49"/>
                  <a:gd name="T1" fmla="*/ 0 h 54"/>
                  <a:gd name="T2" fmla="*/ 0 w 49"/>
                  <a:gd name="T3" fmla="*/ 0 h 54"/>
                  <a:gd name="T4" fmla="*/ 0 w 49"/>
                  <a:gd name="T5" fmla="*/ 0 h 54"/>
                  <a:gd name="T6" fmla="*/ 0 w 49"/>
                  <a:gd name="T7" fmla="*/ 0 h 54"/>
                  <a:gd name="T8" fmla="*/ 0 w 49"/>
                  <a:gd name="T9" fmla="*/ 0 h 54"/>
                  <a:gd name="T10" fmla="*/ 0 w 49"/>
                  <a:gd name="T11" fmla="*/ 0 h 54"/>
                  <a:gd name="T12" fmla="*/ 0 w 49"/>
                  <a:gd name="T13" fmla="*/ 0 h 54"/>
                  <a:gd name="T14" fmla="*/ 0 w 49"/>
                  <a:gd name="T15" fmla="*/ 0 h 54"/>
                  <a:gd name="T16" fmla="*/ 0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9"/>
                  <a:gd name="T28" fmla="*/ 0 h 54"/>
                  <a:gd name="T29" fmla="*/ 49 w 49"/>
                  <a:gd name="T30" fmla="*/ 54 h 5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80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0 w 26"/>
                  <a:gd name="T1" fmla="*/ 0 h 22"/>
                  <a:gd name="T2" fmla="*/ 0 w 26"/>
                  <a:gd name="T3" fmla="*/ 0 h 22"/>
                  <a:gd name="T4" fmla="*/ 0 w 26"/>
                  <a:gd name="T5" fmla="*/ 0 h 22"/>
                  <a:gd name="T6" fmla="*/ 0 w 26"/>
                  <a:gd name="T7" fmla="*/ 0 h 22"/>
                  <a:gd name="T8" fmla="*/ 0 w 26"/>
                  <a:gd name="T9" fmla="*/ 0 h 22"/>
                  <a:gd name="T10" fmla="*/ 0 w 26"/>
                  <a:gd name="T11" fmla="*/ 0 h 22"/>
                  <a:gd name="T12" fmla="*/ 0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6"/>
                  <a:gd name="T22" fmla="*/ 0 h 22"/>
                  <a:gd name="T23" fmla="*/ 26 w 26"/>
                  <a:gd name="T24" fmla="*/ 22 h 2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15669" name="Group 391"/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1187450" y="1196975"/>
              <a:ext cx="1897063" cy="1133475"/>
              <a:chOff x="527" y="1110"/>
              <a:chExt cx="1410" cy="709"/>
            </a:xfrm>
          </p:grpSpPr>
          <p:sp>
            <p:nvSpPr>
              <p:cNvPr id="15833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0 h 54"/>
                  <a:gd name="T2" fmla="*/ 0 w 98"/>
                  <a:gd name="T3" fmla="*/ 0 h 54"/>
                  <a:gd name="T4" fmla="*/ 0 w 98"/>
                  <a:gd name="T5" fmla="*/ 0 h 54"/>
                  <a:gd name="T6" fmla="*/ 0 w 98"/>
                  <a:gd name="T7" fmla="*/ 0 h 54"/>
                  <a:gd name="T8" fmla="*/ 0 w 98"/>
                  <a:gd name="T9" fmla="*/ 0 h 54"/>
                  <a:gd name="T10" fmla="*/ 0 w 98"/>
                  <a:gd name="T11" fmla="*/ 0 h 54"/>
                  <a:gd name="T12" fmla="*/ 0 w 98"/>
                  <a:gd name="T13" fmla="*/ 0 h 54"/>
                  <a:gd name="T14" fmla="*/ 0 w 98"/>
                  <a:gd name="T15" fmla="*/ 0 h 54"/>
                  <a:gd name="T16" fmla="*/ 0 w 98"/>
                  <a:gd name="T17" fmla="*/ 0 h 54"/>
                  <a:gd name="T18" fmla="*/ 0 w 98"/>
                  <a:gd name="T19" fmla="*/ 0 h 54"/>
                  <a:gd name="T20" fmla="*/ 0 w 98"/>
                  <a:gd name="T21" fmla="*/ 0 h 54"/>
                  <a:gd name="T22" fmla="*/ 0 w 98"/>
                  <a:gd name="T23" fmla="*/ 0 h 54"/>
                  <a:gd name="T24" fmla="*/ 0 w 98"/>
                  <a:gd name="T25" fmla="*/ 0 h 54"/>
                  <a:gd name="T26" fmla="*/ 0 w 98"/>
                  <a:gd name="T27" fmla="*/ 0 h 54"/>
                  <a:gd name="T28" fmla="*/ 0 w 98"/>
                  <a:gd name="T29" fmla="*/ 0 h 54"/>
                  <a:gd name="T30" fmla="*/ 0 w 98"/>
                  <a:gd name="T31" fmla="*/ 0 h 54"/>
                  <a:gd name="T32" fmla="*/ 0 w 98"/>
                  <a:gd name="T33" fmla="*/ 0 h 54"/>
                  <a:gd name="T34" fmla="*/ 0 w 98"/>
                  <a:gd name="T35" fmla="*/ 0 h 54"/>
                  <a:gd name="T36" fmla="*/ 0 w 98"/>
                  <a:gd name="T37" fmla="*/ 0 h 54"/>
                  <a:gd name="T38" fmla="*/ 0 w 98"/>
                  <a:gd name="T39" fmla="*/ 0 h 54"/>
                  <a:gd name="T40" fmla="*/ 0 w 98"/>
                  <a:gd name="T41" fmla="*/ 0 h 54"/>
                  <a:gd name="T42" fmla="*/ 0 w 98"/>
                  <a:gd name="T43" fmla="*/ 0 h 54"/>
                  <a:gd name="T44" fmla="*/ 0 w 98"/>
                  <a:gd name="T45" fmla="*/ 0 h 54"/>
                  <a:gd name="T46" fmla="*/ 0 w 98"/>
                  <a:gd name="T47" fmla="*/ 0 h 54"/>
                  <a:gd name="T48" fmla="*/ 0 w 98"/>
                  <a:gd name="T49" fmla="*/ 0 h 54"/>
                  <a:gd name="T50" fmla="*/ 0 w 98"/>
                  <a:gd name="T51" fmla="*/ 0 h 54"/>
                  <a:gd name="T52" fmla="*/ 0 w 98"/>
                  <a:gd name="T53" fmla="*/ 0 h 54"/>
                  <a:gd name="T54" fmla="*/ 0 w 98"/>
                  <a:gd name="T55" fmla="*/ 0 h 54"/>
                  <a:gd name="T56" fmla="*/ 0 w 98"/>
                  <a:gd name="T57" fmla="*/ 0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98"/>
                  <a:gd name="T88" fmla="*/ 0 h 54"/>
                  <a:gd name="T89" fmla="*/ 98 w 98"/>
                  <a:gd name="T90" fmla="*/ 54 h 54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34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0 h 28"/>
                  <a:gd name="T2" fmla="*/ 0 w 67"/>
                  <a:gd name="T3" fmla="*/ 0 h 28"/>
                  <a:gd name="T4" fmla="*/ 0 w 67"/>
                  <a:gd name="T5" fmla="*/ 0 h 28"/>
                  <a:gd name="T6" fmla="*/ 0 w 67"/>
                  <a:gd name="T7" fmla="*/ 0 h 28"/>
                  <a:gd name="T8" fmla="*/ 0 w 67"/>
                  <a:gd name="T9" fmla="*/ 0 h 28"/>
                  <a:gd name="T10" fmla="*/ 0 w 67"/>
                  <a:gd name="T11" fmla="*/ 0 h 28"/>
                  <a:gd name="T12" fmla="*/ 0 w 67"/>
                  <a:gd name="T13" fmla="*/ 0 h 28"/>
                  <a:gd name="T14" fmla="*/ 0 w 67"/>
                  <a:gd name="T15" fmla="*/ 0 h 28"/>
                  <a:gd name="T16" fmla="*/ 0 w 67"/>
                  <a:gd name="T17" fmla="*/ 0 h 28"/>
                  <a:gd name="T18" fmla="*/ 0 w 67"/>
                  <a:gd name="T19" fmla="*/ 0 h 28"/>
                  <a:gd name="T20" fmla="*/ 0 w 67"/>
                  <a:gd name="T21" fmla="*/ 0 h 28"/>
                  <a:gd name="T22" fmla="*/ 0 w 67"/>
                  <a:gd name="T23" fmla="*/ 0 h 28"/>
                  <a:gd name="T24" fmla="*/ 0 w 67"/>
                  <a:gd name="T25" fmla="*/ 0 h 28"/>
                  <a:gd name="T26" fmla="*/ 0 w 67"/>
                  <a:gd name="T27" fmla="*/ 0 h 28"/>
                  <a:gd name="T28" fmla="*/ 0 w 67"/>
                  <a:gd name="T29" fmla="*/ 0 h 28"/>
                  <a:gd name="T30" fmla="*/ 0 w 67"/>
                  <a:gd name="T31" fmla="*/ 0 h 28"/>
                  <a:gd name="T32" fmla="*/ 0 w 67"/>
                  <a:gd name="T33" fmla="*/ 0 h 28"/>
                  <a:gd name="T34" fmla="*/ 0 w 67"/>
                  <a:gd name="T35" fmla="*/ 0 h 28"/>
                  <a:gd name="T36" fmla="*/ 0 w 67"/>
                  <a:gd name="T37" fmla="*/ 0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7"/>
                  <a:gd name="T58" fmla="*/ 0 h 28"/>
                  <a:gd name="T59" fmla="*/ 67 w 67"/>
                  <a:gd name="T60" fmla="*/ 28 h 2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35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0 h 36"/>
                  <a:gd name="T2" fmla="*/ 0 w 32"/>
                  <a:gd name="T3" fmla="*/ 0 h 36"/>
                  <a:gd name="T4" fmla="*/ 0 w 32"/>
                  <a:gd name="T5" fmla="*/ 0 h 36"/>
                  <a:gd name="T6" fmla="*/ 0 w 32"/>
                  <a:gd name="T7" fmla="*/ 0 h 36"/>
                  <a:gd name="T8" fmla="*/ 0 w 32"/>
                  <a:gd name="T9" fmla="*/ 0 h 36"/>
                  <a:gd name="T10" fmla="*/ 0 w 32"/>
                  <a:gd name="T11" fmla="*/ 0 h 36"/>
                  <a:gd name="T12" fmla="*/ 0 w 32"/>
                  <a:gd name="T13" fmla="*/ 0 h 36"/>
                  <a:gd name="T14" fmla="*/ 0 w 32"/>
                  <a:gd name="T15" fmla="*/ 0 h 36"/>
                  <a:gd name="T16" fmla="*/ 0 w 32"/>
                  <a:gd name="T17" fmla="*/ 0 h 36"/>
                  <a:gd name="T18" fmla="*/ 0 w 32"/>
                  <a:gd name="T19" fmla="*/ 0 h 36"/>
                  <a:gd name="T20" fmla="*/ 0 w 32"/>
                  <a:gd name="T21" fmla="*/ 0 h 36"/>
                  <a:gd name="T22" fmla="*/ 0 w 32"/>
                  <a:gd name="T23" fmla="*/ 0 h 36"/>
                  <a:gd name="T24" fmla="*/ 0 w 32"/>
                  <a:gd name="T25" fmla="*/ 0 h 36"/>
                  <a:gd name="T26" fmla="*/ 0 w 32"/>
                  <a:gd name="T27" fmla="*/ 0 h 36"/>
                  <a:gd name="T28" fmla="*/ 0 w 32"/>
                  <a:gd name="T29" fmla="*/ 0 h 36"/>
                  <a:gd name="T30" fmla="*/ 0 w 32"/>
                  <a:gd name="T31" fmla="*/ 0 h 36"/>
                  <a:gd name="T32" fmla="*/ 0 w 32"/>
                  <a:gd name="T33" fmla="*/ 0 h 36"/>
                  <a:gd name="T34" fmla="*/ 0 w 32"/>
                  <a:gd name="T35" fmla="*/ 0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32"/>
                  <a:gd name="T55" fmla="*/ 0 h 36"/>
                  <a:gd name="T56" fmla="*/ 32 w 32"/>
                  <a:gd name="T57" fmla="*/ 36 h 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36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0 h 52"/>
                  <a:gd name="T2" fmla="*/ 0 w 146"/>
                  <a:gd name="T3" fmla="*/ 0 h 52"/>
                  <a:gd name="T4" fmla="*/ 0 w 146"/>
                  <a:gd name="T5" fmla="*/ 0 h 52"/>
                  <a:gd name="T6" fmla="*/ 0 w 146"/>
                  <a:gd name="T7" fmla="*/ 0 h 52"/>
                  <a:gd name="T8" fmla="*/ 0 w 146"/>
                  <a:gd name="T9" fmla="*/ 0 h 52"/>
                  <a:gd name="T10" fmla="*/ 0 w 146"/>
                  <a:gd name="T11" fmla="*/ 0 h 52"/>
                  <a:gd name="T12" fmla="*/ 0 w 146"/>
                  <a:gd name="T13" fmla="*/ 0 h 52"/>
                  <a:gd name="T14" fmla="*/ 0 w 146"/>
                  <a:gd name="T15" fmla="*/ 0 h 52"/>
                  <a:gd name="T16" fmla="*/ 0 w 146"/>
                  <a:gd name="T17" fmla="*/ 0 h 52"/>
                  <a:gd name="T18" fmla="*/ 0 w 146"/>
                  <a:gd name="T19" fmla="*/ 0 h 52"/>
                  <a:gd name="T20" fmla="*/ 0 w 146"/>
                  <a:gd name="T21" fmla="*/ 0 h 52"/>
                  <a:gd name="T22" fmla="*/ 0 w 146"/>
                  <a:gd name="T23" fmla="*/ 0 h 52"/>
                  <a:gd name="T24" fmla="*/ 0 w 146"/>
                  <a:gd name="T25" fmla="*/ 0 h 52"/>
                  <a:gd name="T26" fmla="*/ 0 w 146"/>
                  <a:gd name="T27" fmla="*/ 0 h 52"/>
                  <a:gd name="T28" fmla="*/ 0 w 146"/>
                  <a:gd name="T29" fmla="*/ 0 h 52"/>
                  <a:gd name="T30" fmla="*/ 0 w 146"/>
                  <a:gd name="T31" fmla="*/ 0 h 52"/>
                  <a:gd name="T32" fmla="*/ 0 w 146"/>
                  <a:gd name="T33" fmla="*/ 0 h 52"/>
                  <a:gd name="T34" fmla="*/ 0 w 146"/>
                  <a:gd name="T35" fmla="*/ 0 h 52"/>
                  <a:gd name="T36" fmla="*/ 0 w 146"/>
                  <a:gd name="T37" fmla="*/ 0 h 52"/>
                  <a:gd name="T38" fmla="*/ 0 w 146"/>
                  <a:gd name="T39" fmla="*/ 0 h 52"/>
                  <a:gd name="T40" fmla="*/ 0 w 146"/>
                  <a:gd name="T41" fmla="*/ 0 h 52"/>
                  <a:gd name="T42" fmla="*/ 0 w 146"/>
                  <a:gd name="T43" fmla="*/ 0 h 52"/>
                  <a:gd name="T44" fmla="*/ 0 w 146"/>
                  <a:gd name="T45" fmla="*/ 0 h 52"/>
                  <a:gd name="T46" fmla="*/ 0 w 146"/>
                  <a:gd name="T47" fmla="*/ 0 h 52"/>
                  <a:gd name="T48" fmla="*/ 0 w 146"/>
                  <a:gd name="T49" fmla="*/ 0 h 52"/>
                  <a:gd name="T50" fmla="*/ 0 w 146"/>
                  <a:gd name="T51" fmla="*/ 0 h 52"/>
                  <a:gd name="T52" fmla="*/ 0 w 146"/>
                  <a:gd name="T53" fmla="*/ 0 h 52"/>
                  <a:gd name="T54" fmla="*/ 0 w 146"/>
                  <a:gd name="T55" fmla="*/ 0 h 52"/>
                  <a:gd name="T56" fmla="*/ 0 w 146"/>
                  <a:gd name="T57" fmla="*/ 0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46"/>
                  <a:gd name="T88" fmla="*/ 0 h 52"/>
                  <a:gd name="T89" fmla="*/ 146 w 146"/>
                  <a:gd name="T90" fmla="*/ 52 h 52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37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0 w 60"/>
                  <a:gd name="T1" fmla="*/ 0 h 31"/>
                  <a:gd name="T2" fmla="*/ 0 w 60"/>
                  <a:gd name="T3" fmla="*/ 0 h 31"/>
                  <a:gd name="T4" fmla="*/ 0 w 60"/>
                  <a:gd name="T5" fmla="*/ 0 h 31"/>
                  <a:gd name="T6" fmla="*/ 0 w 60"/>
                  <a:gd name="T7" fmla="*/ 0 h 31"/>
                  <a:gd name="T8" fmla="*/ 0 w 60"/>
                  <a:gd name="T9" fmla="*/ 0 h 31"/>
                  <a:gd name="T10" fmla="*/ 0 w 60"/>
                  <a:gd name="T11" fmla="*/ 0 h 31"/>
                  <a:gd name="T12" fmla="*/ 0 w 60"/>
                  <a:gd name="T13" fmla="*/ 0 h 31"/>
                  <a:gd name="T14" fmla="*/ 0 w 60"/>
                  <a:gd name="T15" fmla="*/ 0 h 31"/>
                  <a:gd name="T16" fmla="*/ 0 w 60"/>
                  <a:gd name="T17" fmla="*/ 0 h 31"/>
                  <a:gd name="T18" fmla="*/ 0 w 60"/>
                  <a:gd name="T19" fmla="*/ 0 h 31"/>
                  <a:gd name="T20" fmla="*/ 0 w 60"/>
                  <a:gd name="T21" fmla="*/ 0 h 31"/>
                  <a:gd name="T22" fmla="*/ 0 w 60"/>
                  <a:gd name="T23" fmla="*/ 0 h 31"/>
                  <a:gd name="T24" fmla="*/ 0 w 60"/>
                  <a:gd name="T25" fmla="*/ 0 h 31"/>
                  <a:gd name="T26" fmla="*/ 0 w 60"/>
                  <a:gd name="T27" fmla="*/ 0 h 31"/>
                  <a:gd name="T28" fmla="*/ 0 w 60"/>
                  <a:gd name="T29" fmla="*/ 0 h 31"/>
                  <a:gd name="T30" fmla="*/ 0 w 60"/>
                  <a:gd name="T31" fmla="*/ 0 h 31"/>
                  <a:gd name="T32" fmla="*/ 0 w 60"/>
                  <a:gd name="T33" fmla="*/ 0 h 31"/>
                  <a:gd name="T34" fmla="*/ 0 w 60"/>
                  <a:gd name="T35" fmla="*/ 0 h 31"/>
                  <a:gd name="T36" fmla="*/ 0 w 60"/>
                  <a:gd name="T37" fmla="*/ 0 h 31"/>
                  <a:gd name="T38" fmla="*/ 0 w 60"/>
                  <a:gd name="T39" fmla="*/ 0 h 31"/>
                  <a:gd name="T40" fmla="*/ 0 w 60"/>
                  <a:gd name="T41" fmla="*/ 0 h 31"/>
                  <a:gd name="T42" fmla="*/ 0 w 60"/>
                  <a:gd name="T43" fmla="*/ 0 h 31"/>
                  <a:gd name="T44" fmla="*/ 0 w 60"/>
                  <a:gd name="T45" fmla="*/ 0 h 31"/>
                  <a:gd name="T46" fmla="*/ 0 w 60"/>
                  <a:gd name="T47" fmla="*/ 0 h 31"/>
                  <a:gd name="T48" fmla="*/ 0 w 60"/>
                  <a:gd name="T49" fmla="*/ 0 h 31"/>
                  <a:gd name="T50" fmla="*/ 0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60"/>
                  <a:gd name="T79" fmla="*/ 0 h 31"/>
                  <a:gd name="T80" fmla="*/ 60 w 60"/>
                  <a:gd name="T81" fmla="*/ 31 h 31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38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0 h 62"/>
                  <a:gd name="T2" fmla="*/ 0 w 80"/>
                  <a:gd name="T3" fmla="*/ 0 h 62"/>
                  <a:gd name="T4" fmla="*/ 0 w 80"/>
                  <a:gd name="T5" fmla="*/ 0 h 62"/>
                  <a:gd name="T6" fmla="*/ 0 w 80"/>
                  <a:gd name="T7" fmla="*/ 0 h 62"/>
                  <a:gd name="T8" fmla="*/ 0 w 80"/>
                  <a:gd name="T9" fmla="*/ 0 h 62"/>
                  <a:gd name="T10" fmla="*/ 0 w 80"/>
                  <a:gd name="T11" fmla="*/ 0 h 62"/>
                  <a:gd name="T12" fmla="*/ 0 w 80"/>
                  <a:gd name="T13" fmla="*/ 0 h 62"/>
                  <a:gd name="T14" fmla="*/ 0 w 80"/>
                  <a:gd name="T15" fmla="*/ 0 h 62"/>
                  <a:gd name="T16" fmla="*/ 0 w 80"/>
                  <a:gd name="T17" fmla="*/ 0 h 62"/>
                  <a:gd name="T18" fmla="*/ 0 w 80"/>
                  <a:gd name="T19" fmla="*/ 0 h 62"/>
                  <a:gd name="T20" fmla="*/ 0 w 80"/>
                  <a:gd name="T21" fmla="*/ 0 h 62"/>
                  <a:gd name="T22" fmla="*/ 0 w 80"/>
                  <a:gd name="T23" fmla="*/ 0 h 62"/>
                  <a:gd name="T24" fmla="*/ 0 w 80"/>
                  <a:gd name="T25" fmla="*/ 0 h 62"/>
                  <a:gd name="T26" fmla="*/ 0 w 80"/>
                  <a:gd name="T27" fmla="*/ 0 h 62"/>
                  <a:gd name="T28" fmla="*/ 0 w 80"/>
                  <a:gd name="T29" fmla="*/ 0 h 62"/>
                  <a:gd name="T30" fmla="*/ 0 w 80"/>
                  <a:gd name="T31" fmla="*/ 0 h 62"/>
                  <a:gd name="T32" fmla="*/ 0 w 80"/>
                  <a:gd name="T33" fmla="*/ 0 h 62"/>
                  <a:gd name="T34" fmla="*/ 0 w 80"/>
                  <a:gd name="T35" fmla="*/ 0 h 62"/>
                  <a:gd name="T36" fmla="*/ 0 w 80"/>
                  <a:gd name="T37" fmla="*/ 0 h 62"/>
                  <a:gd name="T38" fmla="*/ 0 w 80"/>
                  <a:gd name="T39" fmla="*/ 0 h 62"/>
                  <a:gd name="T40" fmla="*/ 0 w 80"/>
                  <a:gd name="T41" fmla="*/ 0 h 62"/>
                  <a:gd name="T42" fmla="*/ 0 w 80"/>
                  <a:gd name="T43" fmla="*/ 0 h 62"/>
                  <a:gd name="T44" fmla="*/ 0 w 80"/>
                  <a:gd name="T45" fmla="*/ 0 h 62"/>
                  <a:gd name="T46" fmla="*/ 0 w 80"/>
                  <a:gd name="T47" fmla="*/ 0 h 62"/>
                  <a:gd name="T48" fmla="*/ 0 w 80"/>
                  <a:gd name="T49" fmla="*/ 0 h 62"/>
                  <a:gd name="T50" fmla="*/ 0 w 80"/>
                  <a:gd name="T51" fmla="*/ 0 h 62"/>
                  <a:gd name="T52" fmla="*/ 0 w 80"/>
                  <a:gd name="T53" fmla="*/ 0 h 62"/>
                  <a:gd name="T54" fmla="*/ 0 w 80"/>
                  <a:gd name="T55" fmla="*/ 0 h 62"/>
                  <a:gd name="T56" fmla="*/ 0 w 80"/>
                  <a:gd name="T57" fmla="*/ 0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80"/>
                  <a:gd name="T88" fmla="*/ 0 h 62"/>
                  <a:gd name="T89" fmla="*/ 80 w 80"/>
                  <a:gd name="T90" fmla="*/ 62 h 62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39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0 w 106"/>
                  <a:gd name="T1" fmla="*/ 0 h 49"/>
                  <a:gd name="T2" fmla="*/ 0 w 106"/>
                  <a:gd name="T3" fmla="*/ 0 h 49"/>
                  <a:gd name="T4" fmla="*/ 0 w 106"/>
                  <a:gd name="T5" fmla="*/ 0 h 49"/>
                  <a:gd name="T6" fmla="*/ 0 w 106"/>
                  <a:gd name="T7" fmla="*/ 0 h 49"/>
                  <a:gd name="T8" fmla="*/ 0 w 106"/>
                  <a:gd name="T9" fmla="*/ 0 h 49"/>
                  <a:gd name="T10" fmla="*/ 0 w 106"/>
                  <a:gd name="T11" fmla="*/ 0 h 49"/>
                  <a:gd name="T12" fmla="*/ 0 w 106"/>
                  <a:gd name="T13" fmla="*/ 0 h 49"/>
                  <a:gd name="T14" fmla="*/ 0 w 106"/>
                  <a:gd name="T15" fmla="*/ 0 h 49"/>
                  <a:gd name="T16" fmla="*/ 0 w 106"/>
                  <a:gd name="T17" fmla="*/ 0 h 49"/>
                  <a:gd name="T18" fmla="*/ 0 w 106"/>
                  <a:gd name="T19" fmla="*/ 0 h 49"/>
                  <a:gd name="T20" fmla="*/ 0 w 106"/>
                  <a:gd name="T21" fmla="*/ 0 h 49"/>
                  <a:gd name="T22" fmla="*/ 0 w 106"/>
                  <a:gd name="T23" fmla="*/ 0 h 49"/>
                  <a:gd name="T24" fmla="*/ 0 w 106"/>
                  <a:gd name="T25" fmla="*/ 0 h 49"/>
                  <a:gd name="T26" fmla="*/ 0 w 106"/>
                  <a:gd name="T27" fmla="*/ 0 h 49"/>
                  <a:gd name="T28" fmla="*/ 0 w 106"/>
                  <a:gd name="T29" fmla="*/ 0 h 49"/>
                  <a:gd name="T30" fmla="*/ 0 w 106"/>
                  <a:gd name="T31" fmla="*/ 0 h 49"/>
                  <a:gd name="T32" fmla="*/ 0 w 106"/>
                  <a:gd name="T33" fmla="*/ 0 h 49"/>
                  <a:gd name="T34" fmla="*/ 0 w 106"/>
                  <a:gd name="T35" fmla="*/ 0 h 49"/>
                  <a:gd name="T36" fmla="*/ 0 w 106"/>
                  <a:gd name="T37" fmla="*/ 0 h 49"/>
                  <a:gd name="T38" fmla="*/ 0 w 106"/>
                  <a:gd name="T39" fmla="*/ 0 h 49"/>
                  <a:gd name="T40" fmla="*/ 0 w 106"/>
                  <a:gd name="T41" fmla="*/ 0 h 49"/>
                  <a:gd name="T42" fmla="*/ 0 w 106"/>
                  <a:gd name="T43" fmla="*/ 0 h 49"/>
                  <a:gd name="T44" fmla="*/ 0 w 106"/>
                  <a:gd name="T45" fmla="*/ 0 h 49"/>
                  <a:gd name="T46" fmla="*/ 0 w 106"/>
                  <a:gd name="T47" fmla="*/ 0 h 49"/>
                  <a:gd name="T48" fmla="*/ 0 w 106"/>
                  <a:gd name="T49" fmla="*/ 0 h 49"/>
                  <a:gd name="T50" fmla="*/ 0 w 106"/>
                  <a:gd name="T51" fmla="*/ 0 h 49"/>
                  <a:gd name="T52" fmla="*/ 0 w 106"/>
                  <a:gd name="T53" fmla="*/ 0 h 49"/>
                  <a:gd name="T54" fmla="*/ 0 w 106"/>
                  <a:gd name="T55" fmla="*/ 0 h 49"/>
                  <a:gd name="T56" fmla="*/ 0 w 106"/>
                  <a:gd name="T57" fmla="*/ 0 h 49"/>
                  <a:gd name="T58" fmla="*/ 0 w 106"/>
                  <a:gd name="T59" fmla="*/ 0 h 49"/>
                  <a:gd name="T60" fmla="*/ 0 w 106"/>
                  <a:gd name="T61" fmla="*/ 0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06"/>
                  <a:gd name="T94" fmla="*/ 0 h 49"/>
                  <a:gd name="T95" fmla="*/ 106 w 106"/>
                  <a:gd name="T96" fmla="*/ 49 h 49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40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0 h 22"/>
                  <a:gd name="T2" fmla="*/ 0 w 47"/>
                  <a:gd name="T3" fmla="*/ 0 h 22"/>
                  <a:gd name="T4" fmla="*/ 0 w 47"/>
                  <a:gd name="T5" fmla="*/ 0 h 22"/>
                  <a:gd name="T6" fmla="*/ 0 w 47"/>
                  <a:gd name="T7" fmla="*/ 0 h 22"/>
                  <a:gd name="T8" fmla="*/ 0 w 47"/>
                  <a:gd name="T9" fmla="*/ 0 h 22"/>
                  <a:gd name="T10" fmla="*/ 0 w 47"/>
                  <a:gd name="T11" fmla="*/ 0 h 22"/>
                  <a:gd name="T12" fmla="*/ 0 w 47"/>
                  <a:gd name="T13" fmla="*/ 0 h 22"/>
                  <a:gd name="T14" fmla="*/ 0 w 47"/>
                  <a:gd name="T15" fmla="*/ 0 h 22"/>
                  <a:gd name="T16" fmla="*/ 0 w 47"/>
                  <a:gd name="T17" fmla="*/ 0 h 22"/>
                  <a:gd name="T18" fmla="*/ 0 w 47"/>
                  <a:gd name="T19" fmla="*/ 0 h 22"/>
                  <a:gd name="T20" fmla="*/ 0 w 47"/>
                  <a:gd name="T21" fmla="*/ 0 h 22"/>
                  <a:gd name="T22" fmla="*/ 0 w 47"/>
                  <a:gd name="T23" fmla="*/ 0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7"/>
                  <a:gd name="T37" fmla="*/ 0 h 22"/>
                  <a:gd name="T38" fmla="*/ 47 w 47"/>
                  <a:gd name="T39" fmla="*/ 22 h 22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41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0 w 53"/>
                  <a:gd name="T1" fmla="*/ 0 h 32"/>
                  <a:gd name="T2" fmla="*/ 0 w 53"/>
                  <a:gd name="T3" fmla="*/ 0 h 32"/>
                  <a:gd name="T4" fmla="*/ 0 w 53"/>
                  <a:gd name="T5" fmla="*/ 0 h 32"/>
                  <a:gd name="T6" fmla="*/ 0 w 53"/>
                  <a:gd name="T7" fmla="*/ 0 h 32"/>
                  <a:gd name="T8" fmla="*/ 0 w 53"/>
                  <a:gd name="T9" fmla="*/ 0 h 32"/>
                  <a:gd name="T10" fmla="*/ 0 w 53"/>
                  <a:gd name="T11" fmla="*/ 0 h 32"/>
                  <a:gd name="T12" fmla="*/ 0 w 53"/>
                  <a:gd name="T13" fmla="*/ 0 h 32"/>
                  <a:gd name="T14" fmla="*/ 0 w 53"/>
                  <a:gd name="T15" fmla="*/ 0 h 32"/>
                  <a:gd name="T16" fmla="*/ 0 w 53"/>
                  <a:gd name="T17" fmla="*/ 0 h 32"/>
                  <a:gd name="T18" fmla="*/ 0 w 53"/>
                  <a:gd name="T19" fmla="*/ 0 h 32"/>
                  <a:gd name="T20" fmla="*/ 0 w 53"/>
                  <a:gd name="T21" fmla="*/ 0 h 32"/>
                  <a:gd name="T22" fmla="*/ 0 w 53"/>
                  <a:gd name="T23" fmla="*/ 0 h 32"/>
                  <a:gd name="T24" fmla="*/ 0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3"/>
                  <a:gd name="T40" fmla="*/ 0 h 32"/>
                  <a:gd name="T41" fmla="*/ 53 w 53"/>
                  <a:gd name="T42" fmla="*/ 32 h 3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42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0 w 46"/>
                  <a:gd name="T1" fmla="*/ 0 h 34"/>
                  <a:gd name="T2" fmla="*/ 0 w 46"/>
                  <a:gd name="T3" fmla="*/ 0 h 34"/>
                  <a:gd name="T4" fmla="*/ 0 w 46"/>
                  <a:gd name="T5" fmla="*/ 0 h 34"/>
                  <a:gd name="T6" fmla="*/ 0 w 46"/>
                  <a:gd name="T7" fmla="*/ 0 h 34"/>
                  <a:gd name="T8" fmla="*/ 0 w 46"/>
                  <a:gd name="T9" fmla="*/ 0 h 34"/>
                  <a:gd name="T10" fmla="*/ 0 w 46"/>
                  <a:gd name="T11" fmla="*/ 0 h 34"/>
                  <a:gd name="T12" fmla="*/ 0 w 46"/>
                  <a:gd name="T13" fmla="*/ 0 h 34"/>
                  <a:gd name="T14" fmla="*/ 0 w 46"/>
                  <a:gd name="T15" fmla="*/ 0 h 34"/>
                  <a:gd name="T16" fmla="*/ 0 w 46"/>
                  <a:gd name="T17" fmla="*/ 0 h 34"/>
                  <a:gd name="T18" fmla="*/ 0 w 46"/>
                  <a:gd name="T19" fmla="*/ 0 h 34"/>
                  <a:gd name="T20" fmla="*/ 0 w 46"/>
                  <a:gd name="T21" fmla="*/ 0 h 34"/>
                  <a:gd name="T22" fmla="*/ 0 w 46"/>
                  <a:gd name="T23" fmla="*/ 0 h 34"/>
                  <a:gd name="T24" fmla="*/ 0 w 46"/>
                  <a:gd name="T25" fmla="*/ 0 h 34"/>
                  <a:gd name="T26" fmla="*/ 0 w 46"/>
                  <a:gd name="T27" fmla="*/ 0 h 34"/>
                  <a:gd name="T28" fmla="*/ 0 w 46"/>
                  <a:gd name="T29" fmla="*/ 0 h 34"/>
                  <a:gd name="T30" fmla="*/ 0 w 46"/>
                  <a:gd name="T31" fmla="*/ 0 h 34"/>
                  <a:gd name="T32" fmla="*/ 0 w 46"/>
                  <a:gd name="T33" fmla="*/ 0 h 34"/>
                  <a:gd name="T34" fmla="*/ 0 w 46"/>
                  <a:gd name="T35" fmla="*/ 0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46"/>
                  <a:gd name="T55" fmla="*/ 0 h 34"/>
                  <a:gd name="T56" fmla="*/ 46 w 46"/>
                  <a:gd name="T57" fmla="*/ 34 h 34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43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0 h 25"/>
                  <a:gd name="T2" fmla="*/ 0 w 48"/>
                  <a:gd name="T3" fmla="*/ 0 h 25"/>
                  <a:gd name="T4" fmla="*/ 0 w 48"/>
                  <a:gd name="T5" fmla="*/ 0 h 25"/>
                  <a:gd name="T6" fmla="*/ 0 w 48"/>
                  <a:gd name="T7" fmla="*/ 0 h 25"/>
                  <a:gd name="T8" fmla="*/ 0 w 48"/>
                  <a:gd name="T9" fmla="*/ 0 h 25"/>
                  <a:gd name="T10" fmla="*/ 0 w 48"/>
                  <a:gd name="T11" fmla="*/ 0 h 25"/>
                  <a:gd name="T12" fmla="*/ 0 w 48"/>
                  <a:gd name="T13" fmla="*/ 0 h 25"/>
                  <a:gd name="T14" fmla="*/ 0 w 48"/>
                  <a:gd name="T15" fmla="*/ 0 h 25"/>
                  <a:gd name="T16" fmla="*/ 0 w 48"/>
                  <a:gd name="T17" fmla="*/ 0 h 25"/>
                  <a:gd name="T18" fmla="*/ 0 w 48"/>
                  <a:gd name="T19" fmla="*/ 0 h 25"/>
                  <a:gd name="T20" fmla="*/ 0 w 48"/>
                  <a:gd name="T21" fmla="*/ 0 h 25"/>
                  <a:gd name="T22" fmla="*/ 0 w 48"/>
                  <a:gd name="T23" fmla="*/ 0 h 25"/>
                  <a:gd name="T24" fmla="*/ 0 w 48"/>
                  <a:gd name="T25" fmla="*/ 0 h 25"/>
                  <a:gd name="T26" fmla="*/ 0 w 48"/>
                  <a:gd name="T27" fmla="*/ 0 h 25"/>
                  <a:gd name="T28" fmla="*/ 0 w 48"/>
                  <a:gd name="T29" fmla="*/ 0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48"/>
                  <a:gd name="T46" fmla="*/ 0 h 25"/>
                  <a:gd name="T47" fmla="*/ 48 w 48"/>
                  <a:gd name="T48" fmla="*/ 25 h 2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44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0 h 37"/>
                  <a:gd name="T4" fmla="*/ 0 w 30"/>
                  <a:gd name="T5" fmla="*/ 0 h 37"/>
                  <a:gd name="T6" fmla="*/ 0 w 30"/>
                  <a:gd name="T7" fmla="*/ 0 h 37"/>
                  <a:gd name="T8" fmla="*/ 0 w 30"/>
                  <a:gd name="T9" fmla="*/ 0 h 37"/>
                  <a:gd name="T10" fmla="*/ 0 w 30"/>
                  <a:gd name="T11" fmla="*/ 0 h 37"/>
                  <a:gd name="T12" fmla="*/ 0 w 30"/>
                  <a:gd name="T13" fmla="*/ 0 h 37"/>
                  <a:gd name="T14" fmla="*/ 0 w 30"/>
                  <a:gd name="T15" fmla="*/ 0 h 37"/>
                  <a:gd name="T16" fmla="*/ 0 w 30"/>
                  <a:gd name="T17" fmla="*/ 0 h 37"/>
                  <a:gd name="T18" fmla="*/ 0 w 30"/>
                  <a:gd name="T19" fmla="*/ 0 h 37"/>
                  <a:gd name="T20" fmla="*/ 0 w 30"/>
                  <a:gd name="T21" fmla="*/ 0 h 37"/>
                  <a:gd name="T22" fmla="*/ 0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0"/>
                  <a:gd name="T40" fmla="*/ 0 h 37"/>
                  <a:gd name="T41" fmla="*/ 30 w 30"/>
                  <a:gd name="T42" fmla="*/ 37 h 3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45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0 w 113"/>
                  <a:gd name="T1" fmla="*/ 0 h 46"/>
                  <a:gd name="T2" fmla="*/ 0 w 113"/>
                  <a:gd name="T3" fmla="*/ 0 h 46"/>
                  <a:gd name="T4" fmla="*/ 0 w 113"/>
                  <a:gd name="T5" fmla="*/ 0 h 46"/>
                  <a:gd name="T6" fmla="*/ 0 w 113"/>
                  <a:gd name="T7" fmla="*/ 0 h 46"/>
                  <a:gd name="T8" fmla="*/ 0 w 113"/>
                  <a:gd name="T9" fmla="*/ 0 h 46"/>
                  <a:gd name="T10" fmla="*/ 0 w 113"/>
                  <a:gd name="T11" fmla="*/ 0 h 46"/>
                  <a:gd name="T12" fmla="*/ 0 w 113"/>
                  <a:gd name="T13" fmla="*/ 0 h 46"/>
                  <a:gd name="T14" fmla="*/ 0 w 113"/>
                  <a:gd name="T15" fmla="*/ 0 h 46"/>
                  <a:gd name="T16" fmla="*/ 0 w 113"/>
                  <a:gd name="T17" fmla="*/ 0 h 46"/>
                  <a:gd name="T18" fmla="*/ 0 w 113"/>
                  <a:gd name="T19" fmla="*/ 0 h 46"/>
                  <a:gd name="T20" fmla="*/ 0 w 113"/>
                  <a:gd name="T21" fmla="*/ 0 h 46"/>
                  <a:gd name="T22" fmla="*/ 0 w 113"/>
                  <a:gd name="T23" fmla="*/ 0 h 46"/>
                  <a:gd name="T24" fmla="*/ 0 w 113"/>
                  <a:gd name="T25" fmla="*/ 0 h 46"/>
                  <a:gd name="T26" fmla="*/ 0 w 113"/>
                  <a:gd name="T27" fmla="*/ 0 h 46"/>
                  <a:gd name="T28" fmla="*/ 0 w 113"/>
                  <a:gd name="T29" fmla="*/ 0 h 46"/>
                  <a:gd name="T30" fmla="*/ 0 w 113"/>
                  <a:gd name="T31" fmla="*/ 0 h 46"/>
                  <a:gd name="T32" fmla="*/ 0 w 113"/>
                  <a:gd name="T33" fmla="*/ 0 h 46"/>
                  <a:gd name="T34" fmla="*/ 0 w 113"/>
                  <a:gd name="T35" fmla="*/ 0 h 46"/>
                  <a:gd name="T36" fmla="*/ 0 w 113"/>
                  <a:gd name="T37" fmla="*/ 0 h 46"/>
                  <a:gd name="T38" fmla="*/ 0 w 113"/>
                  <a:gd name="T39" fmla="*/ 0 h 46"/>
                  <a:gd name="T40" fmla="*/ 0 w 113"/>
                  <a:gd name="T41" fmla="*/ 0 h 46"/>
                  <a:gd name="T42" fmla="*/ 0 w 113"/>
                  <a:gd name="T43" fmla="*/ 0 h 46"/>
                  <a:gd name="T44" fmla="*/ 0 w 113"/>
                  <a:gd name="T45" fmla="*/ 0 h 46"/>
                  <a:gd name="T46" fmla="*/ 0 w 113"/>
                  <a:gd name="T47" fmla="*/ 0 h 46"/>
                  <a:gd name="T48" fmla="*/ 0 w 113"/>
                  <a:gd name="T49" fmla="*/ 0 h 46"/>
                  <a:gd name="T50" fmla="*/ 0 w 113"/>
                  <a:gd name="T51" fmla="*/ 0 h 46"/>
                  <a:gd name="T52" fmla="*/ 0 w 113"/>
                  <a:gd name="T53" fmla="*/ 0 h 46"/>
                  <a:gd name="T54" fmla="*/ 0 w 113"/>
                  <a:gd name="T55" fmla="*/ 0 h 46"/>
                  <a:gd name="T56" fmla="*/ 0 w 113"/>
                  <a:gd name="T57" fmla="*/ 0 h 46"/>
                  <a:gd name="T58" fmla="*/ 0 w 113"/>
                  <a:gd name="T59" fmla="*/ 0 h 46"/>
                  <a:gd name="T60" fmla="*/ 0 w 113"/>
                  <a:gd name="T61" fmla="*/ 0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13"/>
                  <a:gd name="T94" fmla="*/ 0 h 46"/>
                  <a:gd name="T95" fmla="*/ 113 w 113"/>
                  <a:gd name="T96" fmla="*/ 46 h 4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46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0 h 82"/>
                  <a:gd name="T2" fmla="*/ 0 w 153"/>
                  <a:gd name="T3" fmla="*/ 0 h 82"/>
                  <a:gd name="T4" fmla="*/ 0 w 153"/>
                  <a:gd name="T5" fmla="*/ 0 h 82"/>
                  <a:gd name="T6" fmla="*/ 0 w 153"/>
                  <a:gd name="T7" fmla="*/ 0 h 82"/>
                  <a:gd name="T8" fmla="*/ 0 w 153"/>
                  <a:gd name="T9" fmla="*/ 0 h 82"/>
                  <a:gd name="T10" fmla="*/ 0 w 153"/>
                  <a:gd name="T11" fmla="*/ 0 h 82"/>
                  <a:gd name="T12" fmla="*/ 0 w 153"/>
                  <a:gd name="T13" fmla="*/ 0 h 82"/>
                  <a:gd name="T14" fmla="*/ 0 w 153"/>
                  <a:gd name="T15" fmla="*/ 0 h 82"/>
                  <a:gd name="T16" fmla="*/ 0 w 153"/>
                  <a:gd name="T17" fmla="*/ 0 h 82"/>
                  <a:gd name="T18" fmla="*/ 0 w 153"/>
                  <a:gd name="T19" fmla="*/ 0 h 82"/>
                  <a:gd name="T20" fmla="*/ 0 w 153"/>
                  <a:gd name="T21" fmla="*/ 0 h 82"/>
                  <a:gd name="T22" fmla="*/ 0 w 153"/>
                  <a:gd name="T23" fmla="*/ 0 h 82"/>
                  <a:gd name="T24" fmla="*/ 0 w 153"/>
                  <a:gd name="T25" fmla="*/ 0 h 82"/>
                  <a:gd name="T26" fmla="*/ 0 w 153"/>
                  <a:gd name="T27" fmla="*/ 0 h 82"/>
                  <a:gd name="T28" fmla="*/ 0 w 153"/>
                  <a:gd name="T29" fmla="*/ 0 h 82"/>
                  <a:gd name="T30" fmla="*/ 0 w 153"/>
                  <a:gd name="T31" fmla="*/ 0 h 82"/>
                  <a:gd name="T32" fmla="*/ 0 w 153"/>
                  <a:gd name="T33" fmla="*/ 0 h 82"/>
                  <a:gd name="T34" fmla="*/ 0 w 153"/>
                  <a:gd name="T35" fmla="*/ 0 h 82"/>
                  <a:gd name="T36" fmla="*/ 0 w 153"/>
                  <a:gd name="T37" fmla="*/ 0 h 82"/>
                  <a:gd name="T38" fmla="*/ 0 w 153"/>
                  <a:gd name="T39" fmla="*/ 0 h 82"/>
                  <a:gd name="T40" fmla="*/ 0 w 153"/>
                  <a:gd name="T41" fmla="*/ 0 h 82"/>
                  <a:gd name="T42" fmla="*/ 0 w 153"/>
                  <a:gd name="T43" fmla="*/ 0 h 82"/>
                  <a:gd name="T44" fmla="*/ 0 w 153"/>
                  <a:gd name="T45" fmla="*/ 0 h 82"/>
                  <a:gd name="T46" fmla="*/ 0 w 153"/>
                  <a:gd name="T47" fmla="*/ 0 h 82"/>
                  <a:gd name="T48" fmla="*/ 0 w 153"/>
                  <a:gd name="T49" fmla="*/ 0 h 82"/>
                  <a:gd name="T50" fmla="*/ 0 w 153"/>
                  <a:gd name="T51" fmla="*/ 0 h 82"/>
                  <a:gd name="T52" fmla="*/ 0 w 153"/>
                  <a:gd name="T53" fmla="*/ 0 h 82"/>
                  <a:gd name="T54" fmla="*/ 0 w 153"/>
                  <a:gd name="T55" fmla="*/ 0 h 82"/>
                  <a:gd name="T56" fmla="*/ 0 w 153"/>
                  <a:gd name="T57" fmla="*/ 0 h 82"/>
                  <a:gd name="T58" fmla="*/ 0 w 153"/>
                  <a:gd name="T59" fmla="*/ 0 h 82"/>
                  <a:gd name="T60" fmla="*/ 0 w 153"/>
                  <a:gd name="T61" fmla="*/ 0 h 82"/>
                  <a:gd name="T62" fmla="*/ 0 w 153"/>
                  <a:gd name="T63" fmla="*/ 0 h 82"/>
                  <a:gd name="T64" fmla="*/ 0 w 153"/>
                  <a:gd name="T65" fmla="*/ 0 h 82"/>
                  <a:gd name="T66" fmla="*/ 0 w 153"/>
                  <a:gd name="T67" fmla="*/ 0 h 82"/>
                  <a:gd name="T68" fmla="*/ 0 w 153"/>
                  <a:gd name="T69" fmla="*/ 0 h 82"/>
                  <a:gd name="T70" fmla="*/ 0 w 153"/>
                  <a:gd name="T71" fmla="*/ 0 h 82"/>
                  <a:gd name="T72" fmla="*/ 0 w 153"/>
                  <a:gd name="T73" fmla="*/ 0 h 82"/>
                  <a:gd name="T74" fmla="*/ 0 w 153"/>
                  <a:gd name="T75" fmla="*/ 0 h 82"/>
                  <a:gd name="T76" fmla="*/ 0 w 153"/>
                  <a:gd name="T77" fmla="*/ 0 h 82"/>
                  <a:gd name="T78" fmla="*/ 0 w 153"/>
                  <a:gd name="T79" fmla="*/ 0 h 82"/>
                  <a:gd name="T80" fmla="*/ 0 w 153"/>
                  <a:gd name="T81" fmla="*/ 0 h 82"/>
                  <a:gd name="T82" fmla="*/ 0 w 153"/>
                  <a:gd name="T83" fmla="*/ 0 h 82"/>
                  <a:gd name="T84" fmla="*/ 0 w 153"/>
                  <a:gd name="T85" fmla="*/ 0 h 82"/>
                  <a:gd name="T86" fmla="*/ 0 w 153"/>
                  <a:gd name="T87" fmla="*/ 0 h 82"/>
                  <a:gd name="T88" fmla="*/ 0 w 153"/>
                  <a:gd name="T89" fmla="*/ 0 h 82"/>
                  <a:gd name="T90" fmla="*/ 0 w 153"/>
                  <a:gd name="T91" fmla="*/ 0 h 82"/>
                  <a:gd name="T92" fmla="*/ 0 w 153"/>
                  <a:gd name="T93" fmla="*/ 0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53"/>
                  <a:gd name="T142" fmla="*/ 0 h 82"/>
                  <a:gd name="T143" fmla="*/ 153 w 153"/>
                  <a:gd name="T144" fmla="*/ 82 h 82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47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0 h 50"/>
                  <a:gd name="T2" fmla="*/ 0 w 86"/>
                  <a:gd name="T3" fmla="*/ 0 h 50"/>
                  <a:gd name="T4" fmla="*/ 0 w 86"/>
                  <a:gd name="T5" fmla="*/ 0 h 50"/>
                  <a:gd name="T6" fmla="*/ 0 w 86"/>
                  <a:gd name="T7" fmla="*/ 0 h 50"/>
                  <a:gd name="T8" fmla="*/ 0 w 86"/>
                  <a:gd name="T9" fmla="*/ 0 h 50"/>
                  <a:gd name="T10" fmla="*/ 0 w 86"/>
                  <a:gd name="T11" fmla="*/ 0 h 50"/>
                  <a:gd name="T12" fmla="*/ 0 w 86"/>
                  <a:gd name="T13" fmla="*/ 0 h 50"/>
                  <a:gd name="T14" fmla="*/ 0 w 86"/>
                  <a:gd name="T15" fmla="*/ 0 h 50"/>
                  <a:gd name="T16" fmla="*/ 0 w 86"/>
                  <a:gd name="T17" fmla="*/ 0 h 50"/>
                  <a:gd name="T18" fmla="*/ 0 w 86"/>
                  <a:gd name="T19" fmla="*/ 0 h 50"/>
                  <a:gd name="T20" fmla="*/ 0 w 86"/>
                  <a:gd name="T21" fmla="*/ 0 h 50"/>
                  <a:gd name="T22" fmla="*/ 0 w 86"/>
                  <a:gd name="T23" fmla="*/ 0 h 50"/>
                  <a:gd name="T24" fmla="*/ 0 w 86"/>
                  <a:gd name="T25" fmla="*/ 0 h 50"/>
                  <a:gd name="T26" fmla="*/ 0 w 86"/>
                  <a:gd name="T27" fmla="*/ 0 h 50"/>
                  <a:gd name="T28" fmla="*/ 0 w 86"/>
                  <a:gd name="T29" fmla="*/ 0 h 50"/>
                  <a:gd name="T30" fmla="*/ 0 w 86"/>
                  <a:gd name="T31" fmla="*/ 0 h 50"/>
                  <a:gd name="T32" fmla="*/ 0 w 86"/>
                  <a:gd name="T33" fmla="*/ 0 h 50"/>
                  <a:gd name="T34" fmla="*/ 0 w 86"/>
                  <a:gd name="T35" fmla="*/ 0 h 50"/>
                  <a:gd name="T36" fmla="*/ 0 w 86"/>
                  <a:gd name="T37" fmla="*/ 0 h 50"/>
                  <a:gd name="T38" fmla="*/ 0 w 86"/>
                  <a:gd name="T39" fmla="*/ 0 h 50"/>
                  <a:gd name="T40" fmla="*/ 0 w 86"/>
                  <a:gd name="T41" fmla="*/ 0 h 50"/>
                  <a:gd name="T42" fmla="*/ 0 w 86"/>
                  <a:gd name="T43" fmla="*/ 0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86"/>
                  <a:gd name="T67" fmla="*/ 0 h 50"/>
                  <a:gd name="T68" fmla="*/ 86 w 86"/>
                  <a:gd name="T69" fmla="*/ 50 h 50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48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0 w 172"/>
                  <a:gd name="T1" fmla="*/ 0 h 74"/>
                  <a:gd name="T2" fmla="*/ 0 w 172"/>
                  <a:gd name="T3" fmla="*/ 0 h 74"/>
                  <a:gd name="T4" fmla="*/ 0 w 172"/>
                  <a:gd name="T5" fmla="*/ 0 h 74"/>
                  <a:gd name="T6" fmla="*/ 0 w 172"/>
                  <a:gd name="T7" fmla="*/ 0 h 74"/>
                  <a:gd name="T8" fmla="*/ 0 w 172"/>
                  <a:gd name="T9" fmla="*/ 0 h 74"/>
                  <a:gd name="T10" fmla="*/ 0 w 172"/>
                  <a:gd name="T11" fmla="*/ 0 h 74"/>
                  <a:gd name="T12" fmla="*/ 0 w 172"/>
                  <a:gd name="T13" fmla="*/ 0 h 74"/>
                  <a:gd name="T14" fmla="*/ 0 w 172"/>
                  <a:gd name="T15" fmla="*/ 0 h 74"/>
                  <a:gd name="T16" fmla="*/ 0 w 172"/>
                  <a:gd name="T17" fmla="*/ 0 h 74"/>
                  <a:gd name="T18" fmla="*/ 0 w 172"/>
                  <a:gd name="T19" fmla="*/ 0 h 74"/>
                  <a:gd name="T20" fmla="*/ 0 w 172"/>
                  <a:gd name="T21" fmla="*/ 0 h 74"/>
                  <a:gd name="T22" fmla="*/ 0 w 172"/>
                  <a:gd name="T23" fmla="*/ 0 h 74"/>
                  <a:gd name="T24" fmla="*/ 0 w 172"/>
                  <a:gd name="T25" fmla="*/ 0 h 74"/>
                  <a:gd name="T26" fmla="*/ 0 w 172"/>
                  <a:gd name="T27" fmla="*/ 0 h 74"/>
                  <a:gd name="T28" fmla="*/ 0 w 172"/>
                  <a:gd name="T29" fmla="*/ 0 h 74"/>
                  <a:gd name="T30" fmla="*/ 0 w 172"/>
                  <a:gd name="T31" fmla="*/ 0 h 74"/>
                  <a:gd name="T32" fmla="*/ 0 w 172"/>
                  <a:gd name="T33" fmla="*/ 0 h 74"/>
                  <a:gd name="T34" fmla="*/ 0 w 172"/>
                  <a:gd name="T35" fmla="*/ 0 h 74"/>
                  <a:gd name="T36" fmla="*/ 0 w 172"/>
                  <a:gd name="T37" fmla="*/ 0 h 74"/>
                  <a:gd name="T38" fmla="*/ 0 w 172"/>
                  <a:gd name="T39" fmla="*/ 0 h 74"/>
                  <a:gd name="T40" fmla="*/ 0 w 172"/>
                  <a:gd name="T41" fmla="*/ 0 h 74"/>
                  <a:gd name="T42" fmla="*/ 0 w 172"/>
                  <a:gd name="T43" fmla="*/ 0 h 74"/>
                  <a:gd name="T44" fmla="*/ 0 w 172"/>
                  <a:gd name="T45" fmla="*/ 0 h 74"/>
                  <a:gd name="T46" fmla="*/ 0 w 172"/>
                  <a:gd name="T47" fmla="*/ 0 h 74"/>
                  <a:gd name="T48" fmla="*/ 0 w 172"/>
                  <a:gd name="T49" fmla="*/ 0 h 74"/>
                  <a:gd name="T50" fmla="*/ 0 w 172"/>
                  <a:gd name="T51" fmla="*/ 0 h 74"/>
                  <a:gd name="T52" fmla="*/ 0 w 172"/>
                  <a:gd name="T53" fmla="*/ 0 h 74"/>
                  <a:gd name="T54" fmla="*/ 0 w 172"/>
                  <a:gd name="T55" fmla="*/ 0 h 74"/>
                  <a:gd name="T56" fmla="*/ 0 w 172"/>
                  <a:gd name="T57" fmla="*/ 0 h 74"/>
                  <a:gd name="T58" fmla="*/ 0 w 172"/>
                  <a:gd name="T59" fmla="*/ 0 h 74"/>
                  <a:gd name="T60" fmla="*/ 0 w 172"/>
                  <a:gd name="T61" fmla="*/ 0 h 74"/>
                  <a:gd name="T62" fmla="*/ 0 w 172"/>
                  <a:gd name="T63" fmla="*/ 0 h 74"/>
                  <a:gd name="T64" fmla="*/ 0 w 172"/>
                  <a:gd name="T65" fmla="*/ 0 h 74"/>
                  <a:gd name="T66" fmla="*/ 0 w 172"/>
                  <a:gd name="T67" fmla="*/ 0 h 74"/>
                  <a:gd name="T68" fmla="*/ 0 w 172"/>
                  <a:gd name="T69" fmla="*/ 0 h 74"/>
                  <a:gd name="T70" fmla="*/ 0 w 172"/>
                  <a:gd name="T71" fmla="*/ 0 h 74"/>
                  <a:gd name="T72" fmla="*/ 0 w 172"/>
                  <a:gd name="T73" fmla="*/ 0 h 74"/>
                  <a:gd name="T74" fmla="*/ 0 w 172"/>
                  <a:gd name="T75" fmla="*/ 0 h 74"/>
                  <a:gd name="T76" fmla="*/ 0 w 172"/>
                  <a:gd name="T77" fmla="*/ 0 h 74"/>
                  <a:gd name="T78" fmla="*/ 0 w 172"/>
                  <a:gd name="T79" fmla="*/ 0 h 74"/>
                  <a:gd name="T80" fmla="*/ 0 w 172"/>
                  <a:gd name="T81" fmla="*/ 0 h 74"/>
                  <a:gd name="T82" fmla="*/ 0 w 172"/>
                  <a:gd name="T83" fmla="*/ 0 h 74"/>
                  <a:gd name="T84" fmla="*/ 0 w 172"/>
                  <a:gd name="T85" fmla="*/ 0 h 74"/>
                  <a:gd name="T86" fmla="*/ 0 w 172"/>
                  <a:gd name="T87" fmla="*/ 0 h 74"/>
                  <a:gd name="T88" fmla="*/ 0 w 172"/>
                  <a:gd name="T89" fmla="*/ 0 h 74"/>
                  <a:gd name="T90" fmla="*/ 0 w 172"/>
                  <a:gd name="T91" fmla="*/ 0 h 74"/>
                  <a:gd name="T92" fmla="*/ 0 w 172"/>
                  <a:gd name="T93" fmla="*/ 0 h 74"/>
                  <a:gd name="T94" fmla="*/ 0 w 172"/>
                  <a:gd name="T95" fmla="*/ 0 h 74"/>
                  <a:gd name="T96" fmla="*/ 0 w 172"/>
                  <a:gd name="T97" fmla="*/ 0 h 74"/>
                  <a:gd name="T98" fmla="*/ 0 w 172"/>
                  <a:gd name="T99" fmla="*/ 0 h 74"/>
                  <a:gd name="T100" fmla="*/ 0 w 172"/>
                  <a:gd name="T101" fmla="*/ 0 h 74"/>
                  <a:gd name="T102" fmla="*/ 0 w 172"/>
                  <a:gd name="T103" fmla="*/ 0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72"/>
                  <a:gd name="T157" fmla="*/ 0 h 74"/>
                  <a:gd name="T158" fmla="*/ 172 w 172"/>
                  <a:gd name="T159" fmla="*/ 74 h 74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49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0 w 120"/>
                  <a:gd name="T1" fmla="*/ 0 h 49"/>
                  <a:gd name="T2" fmla="*/ 0 w 120"/>
                  <a:gd name="T3" fmla="*/ 0 h 49"/>
                  <a:gd name="T4" fmla="*/ 0 w 120"/>
                  <a:gd name="T5" fmla="*/ 0 h 49"/>
                  <a:gd name="T6" fmla="*/ 0 w 120"/>
                  <a:gd name="T7" fmla="*/ 0 h 49"/>
                  <a:gd name="T8" fmla="*/ 0 w 120"/>
                  <a:gd name="T9" fmla="*/ 0 h 49"/>
                  <a:gd name="T10" fmla="*/ 0 w 120"/>
                  <a:gd name="T11" fmla="*/ 0 h 49"/>
                  <a:gd name="T12" fmla="*/ 0 w 120"/>
                  <a:gd name="T13" fmla="*/ 0 h 49"/>
                  <a:gd name="T14" fmla="*/ 0 w 120"/>
                  <a:gd name="T15" fmla="*/ 0 h 49"/>
                  <a:gd name="T16" fmla="*/ 0 w 120"/>
                  <a:gd name="T17" fmla="*/ 0 h 49"/>
                  <a:gd name="T18" fmla="*/ 0 w 120"/>
                  <a:gd name="T19" fmla="*/ 0 h 49"/>
                  <a:gd name="T20" fmla="*/ 0 w 120"/>
                  <a:gd name="T21" fmla="*/ 0 h 49"/>
                  <a:gd name="T22" fmla="*/ 0 w 120"/>
                  <a:gd name="T23" fmla="*/ 0 h 49"/>
                  <a:gd name="T24" fmla="*/ 0 w 120"/>
                  <a:gd name="T25" fmla="*/ 0 h 49"/>
                  <a:gd name="T26" fmla="*/ 0 w 120"/>
                  <a:gd name="T27" fmla="*/ 0 h 49"/>
                  <a:gd name="T28" fmla="*/ 0 w 120"/>
                  <a:gd name="T29" fmla="*/ 0 h 49"/>
                  <a:gd name="T30" fmla="*/ 0 w 120"/>
                  <a:gd name="T31" fmla="*/ 0 h 49"/>
                  <a:gd name="T32" fmla="*/ 0 w 120"/>
                  <a:gd name="T33" fmla="*/ 0 h 49"/>
                  <a:gd name="T34" fmla="*/ 0 w 120"/>
                  <a:gd name="T35" fmla="*/ 0 h 49"/>
                  <a:gd name="T36" fmla="*/ 0 w 120"/>
                  <a:gd name="T37" fmla="*/ 0 h 49"/>
                  <a:gd name="T38" fmla="*/ 0 w 120"/>
                  <a:gd name="T39" fmla="*/ 0 h 49"/>
                  <a:gd name="T40" fmla="*/ 0 w 120"/>
                  <a:gd name="T41" fmla="*/ 0 h 49"/>
                  <a:gd name="T42" fmla="*/ 0 w 120"/>
                  <a:gd name="T43" fmla="*/ 0 h 49"/>
                  <a:gd name="T44" fmla="*/ 0 w 120"/>
                  <a:gd name="T45" fmla="*/ 0 h 49"/>
                  <a:gd name="T46" fmla="*/ 0 w 120"/>
                  <a:gd name="T47" fmla="*/ 0 h 49"/>
                  <a:gd name="T48" fmla="*/ 0 w 120"/>
                  <a:gd name="T49" fmla="*/ 0 h 49"/>
                  <a:gd name="T50" fmla="*/ 0 w 120"/>
                  <a:gd name="T51" fmla="*/ 0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20"/>
                  <a:gd name="T79" fmla="*/ 0 h 49"/>
                  <a:gd name="T80" fmla="*/ 120 w 120"/>
                  <a:gd name="T81" fmla="*/ 49 h 49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50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0 w 85"/>
                  <a:gd name="T1" fmla="*/ 0 h 61"/>
                  <a:gd name="T2" fmla="*/ 0 w 85"/>
                  <a:gd name="T3" fmla="*/ 0 h 61"/>
                  <a:gd name="T4" fmla="*/ 0 w 85"/>
                  <a:gd name="T5" fmla="*/ 0 h 61"/>
                  <a:gd name="T6" fmla="*/ 0 w 85"/>
                  <a:gd name="T7" fmla="*/ 0 h 61"/>
                  <a:gd name="T8" fmla="*/ 0 w 85"/>
                  <a:gd name="T9" fmla="*/ 0 h 61"/>
                  <a:gd name="T10" fmla="*/ 0 w 85"/>
                  <a:gd name="T11" fmla="*/ 0 h 61"/>
                  <a:gd name="T12" fmla="*/ 0 w 85"/>
                  <a:gd name="T13" fmla="*/ 0 h 61"/>
                  <a:gd name="T14" fmla="*/ 0 w 85"/>
                  <a:gd name="T15" fmla="*/ 0 h 61"/>
                  <a:gd name="T16" fmla="*/ 0 w 85"/>
                  <a:gd name="T17" fmla="*/ 0 h 61"/>
                  <a:gd name="T18" fmla="*/ 0 w 85"/>
                  <a:gd name="T19" fmla="*/ 0 h 61"/>
                  <a:gd name="T20" fmla="*/ 0 w 85"/>
                  <a:gd name="T21" fmla="*/ 0 h 61"/>
                  <a:gd name="T22" fmla="*/ 0 w 85"/>
                  <a:gd name="T23" fmla="*/ 0 h 61"/>
                  <a:gd name="T24" fmla="*/ 0 w 85"/>
                  <a:gd name="T25" fmla="*/ 0 h 61"/>
                  <a:gd name="T26" fmla="*/ 0 w 85"/>
                  <a:gd name="T27" fmla="*/ 0 h 61"/>
                  <a:gd name="T28" fmla="*/ 0 w 85"/>
                  <a:gd name="T29" fmla="*/ 0 h 61"/>
                  <a:gd name="T30" fmla="*/ 0 w 85"/>
                  <a:gd name="T31" fmla="*/ 0 h 61"/>
                  <a:gd name="T32" fmla="*/ 0 w 85"/>
                  <a:gd name="T33" fmla="*/ 0 h 61"/>
                  <a:gd name="T34" fmla="*/ 0 w 85"/>
                  <a:gd name="T35" fmla="*/ 0 h 61"/>
                  <a:gd name="T36" fmla="*/ 0 w 85"/>
                  <a:gd name="T37" fmla="*/ 0 h 61"/>
                  <a:gd name="T38" fmla="*/ 0 w 85"/>
                  <a:gd name="T39" fmla="*/ 0 h 61"/>
                  <a:gd name="T40" fmla="*/ 0 w 85"/>
                  <a:gd name="T41" fmla="*/ 0 h 61"/>
                  <a:gd name="T42" fmla="*/ 0 w 85"/>
                  <a:gd name="T43" fmla="*/ 0 h 61"/>
                  <a:gd name="T44" fmla="*/ 0 w 85"/>
                  <a:gd name="T45" fmla="*/ 0 h 61"/>
                  <a:gd name="T46" fmla="*/ 0 w 85"/>
                  <a:gd name="T47" fmla="*/ 0 h 61"/>
                  <a:gd name="T48" fmla="*/ 0 w 85"/>
                  <a:gd name="T49" fmla="*/ 0 h 61"/>
                  <a:gd name="T50" fmla="*/ 0 w 85"/>
                  <a:gd name="T51" fmla="*/ 0 h 61"/>
                  <a:gd name="T52" fmla="*/ 0 w 85"/>
                  <a:gd name="T53" fmla="*/ 0 h 61"/>
                  <a:gd name="T54" fmla="*/ 0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85"/>
                  <a:gd name="T85" fmla="*/ 0 h 61"/>
                  <a:gd name="T86" fmla="*/ 85 w 85"/>
                  <a:gd name="T87" fmla="*/ 61 h 61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51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0 h 19"/>
                  <a:gd name="T2" fmla="*/ 0 w 100"/>
                  <a:gd name="T3" fmla="*/ 0 h 19"/>
                  <a:gd name="T4" fmla="*/ 0 w 100"/>
                  <a:gd name="T5" fmla="*/ 0 h 19"/>
                  <a:gd name="T6" fmla="*/ 0 w 100"/>
                  <a:gd name="T7" fmla="*/ 0 h 19"/>
                  <a:gd name="T8" fmla="*/ 0 w 100"/>
                  <a:gd name="T9" fmla="*/ 0 h 19"/>
                  <a:gd name="T10" fmla="*/ 0 w 100"/>
                  <a:gd name="T11" fmla="*/ 0 h 19"/>
                  <a:gd name="T12" fmla="*/ 0 w 100"/>
                  <a:gd name="T13" fmla="*/ 0 h 19"/>
                  <a:gd name="T14" fmla="*/ 0 w 100"/>
                  <a:gd name="T15" fmla="*/ 0 h 19"/>
                  <a:gd name="T16" fmla="*/ 0 w 100"/>
                  <a:gd name="T17" fmla="*/ 0 h 19"/>
                  <a:gd name="T18" fmla="*/ 0 w 100"/>
                  <a:gd name="T19" fmla="*/ 0 h 19"/>
                  <a:gd name="T20" fmla="*/ 0 w 100"/>
                  <a:gd name="T21" fmla="*/ 0 h 19"/>
                  <a:gd name="T22" fmla="*/ 0 w 100"/>
                  <a:gd name="T23" fmla="*/ 0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00"/>
                  <a:gd name="T37" fmla="*/ 0 h 19"/>
                  <a:gd name="T38" fmla="*/ 100 w 100"/>
                  <a:gd name="T39" fmla="*/ 19 h 1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52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0 h 45"/>
                  <a:gd name="T2" fmla="*/ 0 w 166"/>
                  <a:gd name="T3" fmla="*/ 0 h 45"/>
                  <a:gd name="T4" fmla="*/ 0 w 166"/>
                  <a:gd name="T5" fmla="*/ 0 h 45"/>
                  <a:gd name="T6" fmla="*/ 0 w 166"/>
                  <a:gd name="T7" fmla="*/ 0 h 45"/>
                  <a:gd name="T8" fmla="*/ 0 w 166"/>
                  <a:gd name="T9" fmla="*/ 0 h 45"/>
                  <a:gd name="T10" fmla="*/ 0 w 166"/>
                  <a:gd name="T11" fmla="*/ 0 h 45"/>
                  <a:gd name="T12" fmla="*/ 0 w 166"/>
                  <a:gd name="T13" fmla="*/ 0 h 45"/>
                  <a:gd name="T14" fmla="*/ 0 w 166"/>
                  <a:gd name="T15" fmla="*/ 0 h 45"/>
                  <a:gd name="T16" fmla="*/ 0 w 166"/>
                  <a:gd name="T17" fmla="*/ 0 h 45"/>
                  <a:gd name="T18" fmla="*/ 0 w 166"/>
                  <a:gd name="T19" fmla="*/ 0 h 45"/>
                  <a:gd name="T20" fmla="*/ 0 w 166"/>
                  <a:gd name="T21" fmla="*/ 0 h 45"/>
                  <a:gd name="T22" fmla="*/ 0 w 166"/>
                  <a:gd name="T23" fmla="*/ 0 h 45"/>
                  <a:gd name="T24" fmla="*/ 0 w 166"/>
                  <a:gd name="T25" fmla="*/ 0 h 45"/>
                  <a:gd name="T26" fmla="*/ 0 w 166"/>
                  <a:gd name="T27" fmla="*/ 0 h 45"/>
                  <a:gd name="T28" fmla="*/ 0 w 166"/>
                  <a:gd name="T29" fmla="*/ 0 h 45"/>
                  <a:gd name="T30" fmla="*/ 0 w 166"/>
                  <a:gd name="T31" fmla="*/ 0 h 45"/>
                  <a:gd name="T32" fmla="*/ 0 w 166"/>
                  <a:gd name="T33" fmla="*/ 0 h 45"/>
                  <a:gd name="T34" fmla="*/ 0 w 166"/>
                  <a:gd name="T35" fmla="*/ 0 h 45"/>
                  <a:gd name="T36" fmla="*/ 0 w 166"/>
                  <a:gd name="T37" fmla="*/ 0 h 45"/>
                  <a:gd name="T38" fmla="*/ 0 w 166"/>
                  <a:gd name="T39" fmla="*/ 0 h 45"/>
                  <a:gd name="T40" fmla="*/ 0 w 166"/>
                  <a:gd name="T41" fmla="*/ 0 h 45"/>
                  <a:gd name="T42" fmla="*/ 0 w 166"/>
                  <a:gd name="T43" fmla="*/ 0 h 45"/>
                  <a:gd name="T44" fmla="*/ 0 w 166"/>
                  <a:gd name="T45" fmla="*/ 0 h 45"/>
                  <a:gd name="T46" fmla="*/ 0 w 166"/>
                  <a:gd name="T47" fmla="*/ 0 h 45"/>
                  <a:gd name="T48" fmla="*/ 0 w 166"/>
                  <a:gd name="T49" fmla="*/ 0 h 45"/>
                  <a:gd name="T50" fmla="*/ 0 w 166"/>
                  <a:gd name="T51" fmla="*/ 0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66"/>
                  <a:gd name="T79" fmla="*/ 0 h 45"/>
                  <a:gd name="T80" fmla="*/ 166 w 166"/>
                  <a:gd name="T81" fmla="*/ 45 h 45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53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0 h 25"/>
                  <a:gd name="T4" fmla="*/ 0 w 33"/>
                  <a:gd name="T5" fmla="*/ 0 h 25"/>
                  <a:gd name="T6" fmla="*/ 0 w 33"/>
                  <a:gd name="T7" fmla="*/ 0 h 25"/>
                  <a:gd name="T8" fmla="*/ 0 w 33"/>
                  <a:gd name="T9" fmla="*/ 0 h 25"/>
                  <a:gd name="T10" fmla="*/ 0 w 33"/>
                  <a:gd name="T11" fmla="*/ 0 h 25"/>
                  <a:gd name="T12" fmla="*/ 0 w 33"/>
                  <a:gd name="T13" fmla="*/ 0 h 25"/>
                  <a:gd name="T14" fmla="*/ 0 w 33"/>
                  <a:gd name="T15" fmla="*/ 0 h 25"/>
                  <a:gd name="T16" fmla="*/ 0 w 33"/>
                  <a:gd name="T17" fmla="*/ 0 h 25"/>
                  <a:gd name="T18" fmla="*/ 0 w 33"/>
                  <a:gd name="T19" fmla="*/ 0 h 25"/>
                  <a:gd name="T20" fmla="*/ 0 w 33"/>
                  <a:gd name="T21" fmla="*/ 0 h 25"/>
                  <a:gd name="T22" fmla="*/ 0 w 33"/>
                  <a:gd name="T23" fmla="*/ 0 h 25"/>
                  <a:gd name="T24" fmla="*/ 0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33"/>
                  <a:gd name="T43" fmla="*/ 0 h 25"/>
                  <a:gd name="T44" fmla="*/ 33 w 33"/>
                  <a:gd name="T45" fmla="*/ 25 h 2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54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0 h 62"/>
                  <a:gd name="T2" fmla="*/ 0 w 48"/>
                  <a:gd name="T3" fmla="*/ 0 h 62"/>
                  <a:gd name="T4" fmla="*/ 0 w 48"/>
                  <a:gd name="T5" fmla="*/ 0 h 62"/>
                  <a:gd name="T6" fmla="*/ 0 w 48"/>
                  <a:gd name="T7" fmla="*/ 0 h 62"/>
                  <a:gd name="T8" fmla="*/ 0 w 48"/>
                  <a:gd name="T9" fmla="*/ 0 h 62"/>
                  <a:gd name="T10" fmla="*/ 0 w 48"/>
                  <a:gd name="T11" fmla="*/ 0 h 62"/>
                  <a:gd name="T12" fmla="*/ 0 w 48"/>
                  <a:gd name="T13" fmla="*/ 0 h 62"/>
                  <a:gd name="T14" fmla="*/ 0 w 48"/>
                  <a:gd name="T15" fmla="*/ 0 h 62"/>
                  <a:gd name="T16" fmla="*/ 0 w 48"/>
                  <a:gd name="T17" fmla="*/ 0 h 62"/>
                  <a:gd name="T18" fmla="*/ 0 w 48"/>
                  <a:gd name="T19" fmla="*/ 0 h 62"/>
                  <a:gd name="T20" fmla="*/ 0 w 48"/>
                  <a:gd name="T21" fmla="*/ 0 h 62"/>
                  <a:gd name="T22" fmla="*/ 0 w 48"/>
                  <a:gd name="T23" fmla="*/ 0 h 62"/>
                  <a:gd name="T24" fmla="*/ 0 w 48"/>
                  <a:gd name="T25" fmla="*/ 0 h 62"/>
                  <a:gd name="T26" fmla="*/ 0 w 48"/>
                  <a:gd name="T27" fmla="*/ 0 h 62"/>
                  <a:gd name="T28" fmla="*/ 0 w 48"/>
                  <a:gd name="T29" fmla="*/ 0 h 62"/>
                  <a:gd name="T30" fmla="*/ 0 w 48"/>
                  <a:gd name="T31" fmla="*/ 0 h 62"/>
                  <a:gd name="T32" fmla="*/ 0 w 48"/>
                  <a:gd name="T33" fmla="*/ 0 h 62"/>
                  <a:gd name="T34" fmla="*/ 0 w 48"/>
                  <a:gd name="T35" fmla="*/ 0 h 62"/>
                  <a:gd name="T36" fmla="*/ 0 w 48"/>
                  <a:gd name="T37" fmla="*/ 0 h 62"/>
                  <a:gd name="T38" fmla="*/ 0 w 48"/>
                  <a:gd name="T39" fmla="*/ 0 h 62"/>
                  <a:gd name="T40" fmla="*/ 0 w 48"/>
                  <a:gd name="T41" fmla="*/ 0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8"/>
                  <a:gd name="T64" fmla="*/ 0 h 62"/>
                  <a:gd name="T65" fmla="*/ 48 w 48"/>
                  <a:gd name="T66" fmla="*/ 62 h 6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55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0 w 113"/>
                  <a:gd name="T1" fmla="*/ 0 h 62"/>
                  <a:gd name="T2" fmla="*/ 0 w 113"/>
                  <a:gd name="T3" fmla="*/ 0 h 62"/>
                  <a:gd name="T4" fmla="*/ 0 w 113"/>
                  <a:gd name="T5" fmla="*/ 0 h 62"/>
                  <a:gd name="T6" fmla="*/ 0 w 113"/>
                  <a:gd name="T7" fmla="*/ 0 h 62"/>
                  <a:gd name="T8" fmla="*/ 0 w 113"/>
                  <a:gd name="T9" fmla="*/ 0 h 62"/>
                  <a:gd name="T10" fmla="*/ 0 w 113"/>
                  <a:gd name="T11" fmla="*/ 0 h 62"/>
                  <a:gd name="T12" fmla="*/ 0 w 113"/>
                  <a:gd name="T13" fmla="*/ 0 h 62"/>
                  <a:gd name="T14" fmla="*/ 0 w 113"/>
                  <a:gd name="T15" fmla="*/ 0 h 62"/>
                  <a:gd name="T16" fmla="*/ 0 w 113"/>
                  <a:gd name="T17" fmla="*/ 0 h 62"/>
                  <a:gd name="T18" fmla="*/ 0 w 113"/>
                  <a:gd name="T19" fmla="*/ 0 h 62"/>
                  <a:gd name="T20" fmla="*/ 0 w 113"/>
                  <a:gd name="T21" fmla="*/ 0 h 62"/>
                  <a:gd name="T22" fmla="*/ 0 w 113"/>
                  <a:gd name="T23" fmla="*/ 0 h 62"/>
                  <a:gd name="T24" fmla="*/ 0 w 113"/>
                  <a:gd name="T25" fmla="*/ 0 h 62"/>
                  <a:gd name="T26" fmla="*/ 0 w 113"/>
                  <a:gd name="T27" fmla="*/ 0 h 62"/>
                  <a:gd name="T28" fmla="*/ 0 w 113"/>
                  <a:gd name="T29" fmla="*/ 0 h 62"/>
                  <a:gd name="T30" fmla="*/ 0 w 113"/>
                  <a:gd name="T31" fmla="*/ 0 h 62"/>
                  <a:gd name="T32" fmla="*/ 0 w 113"/>
                  <a:gd name="T33" fmla="*/ 0 h 62"/>
                  <a:gd name="T34" fmla="*/ 0 w 113"/>
                  <a:gd name="T35" fmla="*/ 0 h 62"/>
                  <a:gd name="T36" fmla="*/ 0 w 113"/>
                  <a:gd name="T37" fmla="*/ 0 h 62"/>
                  <a:gd name="T38" fmla="*/ 0 w 113"/>
                  <a:gd name="T39" fmla="*/ 0 h 62"/>
                  <a:gd name="T40" fmla="*/ 0 w 113"/>
                  <a:gd name="T41" fmla="*/ 0 h 62"/>
                  <a:gd name="T42" fmla="*/ 0 w 113"/>
                  <a:gd name="T43" fmla="*/ 0 h 62"/>
                  <a:gd name="T44" fmla="*/ 0 w 113"/>
                  <a:gd name="T45" fmla="*/ 0 h 62"/>
                  <a:gd name="T46" fmla="*/ 0 w 113"/>
                  <a:gd name="T47" fmla="*/ 0 h 62"/>
                  <a:gd name="T48" fmla="*/ 0 w 113"/>
                  <a:gd name="T49" fmla="*/ 0 h 62"/>
                  <a:gd name="T50" fmla="*/ 0 w 113"/>
                  <a:gd name="T51" fmla="*/ 0 h 62"/>
                  <a:gd name="T52" fmla="*/ 0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13"/>
                  <a:gd name="T82" fmla="*/ 0 h 62"/>
                  <a:gd name="T83" fmla="*/ 113 w 113"/>
                  <a:gd name="T84" fmla="*/ 62 h 62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56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0 w 93"/>
                  <a:gd name="T3" fmla="*/ 0 h 50"/>
                  <a:gd name="T4" fmla="*/ 0 w 93"/>
                  <a:gd name="T5" fmla="*/ 0 h 50"/>
                  <a:gd name="T6" fmla="*/ 0 w 93"/>
                  <a:gd name="T7" fmla="*/ 0 h 50"/>
                  <a:gd name="T8" fmla="*/ 0 w 93"/>
                  <a:gd name="T9" fmla="*/ 0 h 50"/>
                  <a:gd name="T10" fmla="*/ 0 w 93"/>
                  <a:gd name="T11" fmla="*/ 0 h 50"/>
                  <a:gd name="T12" fmla="*/ 0 w 93"/>
                  <a:gd name="T13" fmla="*/ 0 h 50"/>
                  <a:gd name="T14" fmla="*/ 0 w 93"/>
                  <a:gd name="T15" fmla="*/ 0 h 50"/>
                  <a:gd name="T16" fmla="*/ 0 w 93"/>
                  <a:gd name="T17" fmla="*/ 0 h 50"/>
                  <a:gd name="T18" fmla="*/ 0 w 93"/>
                  <a:gd name="T19" fmla="*/ 0 h 50"/>
                  <a:gd name="T20" fmla="*/ 0 w 93"/>
                  <a:gd name="T21" fmla="*/ 0 h 50"/>
                  <a:gd name="T22" fmla="*/ 0 w 93"/>
                  <a:gd name="T23" fmla="*/ 0 h 50"/>
                  <a:gd name="T24" fmla="*/ 0 w 93"/>
                  <a:gd name="T25" fmla="*/ 0 h 50"/>
                  <a:gd name="T26" fmla="*/ 0 w 93"/>
                  <a:gd name="T27" fmla="*/ 0 h 50"/>
                  <a:gd name="T28" fmla="*/ 0 w 93"/>
                  <a:gd name="T29" fmla="*/ 0 h 50"/>
                  <a:gd name="T30" fmla="*/ 0 w 93"/>
                  <a:gd name="T31" fmla="*/ 0 h 50"/>
                  <a:gd name="T32" fmla="*/ 0 w 93"/>
                  <a:gd name="T33" fmla="*/ 0 h 50"/>
                  <a:gd name="T34" fmla="*/ 0 w 93"/>
                  <a:gd name="T35" fmla="*/ 0 h 50"/>
                  <a:gd name="T36" fmla="*/ 0 w 93"/>
                  <a:gd name="T37" fmla="*/ 0 h 50"/>
                  <a:gd name="T38" fmla="*/ 0 w 93"/>
                  <a:gd name="T39" fmla="*/ 0 h 50"/>
                  <a:gd name="T40" fmla="*/ 0 w 93"/>
                  <a:gd name="T41" fmla="*/ 0 h 50"/>
                  <a:gd name="T42" fmla="*/ 0 w 93"/>
                  <a:gd name="T43" fmla="*/ 0 h 50"/>
                  <a:gd name="T44" fmla="*/ 0 w 93"/>
                  <a:gd name="T45" fmla="*/ 0 h 50"/>
                  <a:gd name="T46" fmla="*/ 0 w 93"/>
                  <a:gd name="T47" fmla="*/ 0 h 50"/>
                  <a:gd name="T48" fmla="*/ 0 w 93"/>
                  <a:gd name="T49" fmla="*/ 0 h 50"/>
                  <a:gd name="T50" fmla="*/ 0 w 93"/>
                  <a:gd name="T51" fmla="*/ 0 h 50"/>
                  <a:gd name="T52" fmla="*/ 0 w 93"/>
                  <a:gd name="T53" fmla="*/ 0 h 50"/>
                  <a:gd name="T54" fmla="*/ 0 w 93"/>
                  <a:gd name="T55" fmla="*/ 0 h 50"/>
                  <a:gd name="T56" fmla="*/ 0 w 93"/>
                  <a:gd name="T57" fmla="*/ 0 h 50"/>
                  <a:gd name="T58" fmla="*/ 0 w 93"/>
                  <a:gd name="T59" fmla="*/ 0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93"/>
                  <a:gd name="T94" fmla="*/ 0 h 50"/>
                  <a:gd name="T95" fmla="*/ 93 w 93"/>
                  <a:gd name="T96" fmla="*/ 50 h 50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57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0 w 1029"/>
                  <a:gd name="T1" fmla="*/ 0 h 604"/>
                  <a:gd name="T2" fmla="*/ 0 w 1029"/>
                  <a:gd name="T3" fmla="*/ 0 h 604"/>
                  <a:gd name="T4" fmla="*/ 0 w 1029"/>
                  <a:gd name="T5" fmla="*/ 0 h 604"/>
                  <a:gd name="T6" fmla="*/ 0 w 1029"/>
                  <a:gd name="T7" fmla="*/ 0 h 604"/>
                  <a:gd name="T8" fmla="*/ 0 w 1029"/>
                  <a:gd name="T9" fmla="*/ 0 h 604"/>
                  <a:gd name="T10" fmla="*/ 0 w 1029"/>
                  <a:gd name="T11" fmla="*/ 0 h 604"/>
                  <a:gd name="T12" fmla="*/ 0 w 1029"/>
                  <a:gd name="T13" fmla="*/ 0 h 604"/>
                  <a:gd name="T14" fmla="*/ 0 w 1029"/>
                  <a:gd name="T15" fmla="*/ 0 h 604"/>
                  <a:gd name="T16" fmla="*/ 0 w 1029"/>
                  <a:gd name="T17" fmla="*/ 0 h 604"/>
                  <a:gd name="T18" fmla="*/ 0 w 1029"/>
                  <a:gd name="T19" fmla="*/ 0 h 604"/>
                  <a:gd name="T20" fmla="*/ 0 w 1029"/>
                  <a:gd name="T21" fmla="*/ 0 h 604"/>
                  <a:gd name="T22" fmla="*/ 0 w 1029"/>
                  <a:gd name="T23" fmla="*/ 0 h 604"/>
                  <a:gd name="T24" fmla="*/ 0 w 1029"/>
                  <a:gd name="T25" fmla="*/ 0 h 604"/>
                  <a:gd name="T26" fmla="*/ 0 w 1029"/>
                  <a:gd name="T27" fmla="*/ 0 h 604"/>
                  <a:gd name="T28" fmla="*/ 0 w 1029"/>
                  <a:gd name="T29" fmla="*/ 0 h 604"/>
                  <a:gd name="T30" fmla="*/ 0 w 1029"/>
                  <a:gd name="T31" fmla="*/ 0 h 604"/>
                  <a:gd name="T32" fmla="*/ 0 w 1029"/>
                  <a:gd name="T33" fmla="*/ 0 h 604"/>
                  <a:gd name="T34" fmla="*/ 0 w 1029"/>
                  <a:gd name="T35" fmla="*/ 0 h 604"/>
                  <a:gd name="T36" fmla="*/ 0 w 1029"/>
                  <a:gd name="T37" fmla="*/ 0 h 604"/>
                  <a:gd name="T38" fmla="*/ 0 w 1029"/>
                  <a:gd name="T39" fmla="*/ 0 h 604"/>
                  <a:gd name="T40" fmla="*/ 0 w 1029"/>
                  <a:gd name="T41" fmla="*/ 0 h 604"/>
                  <a:gd name="T42" fmla="*/ 0 w 1029"/>
                  <a:gd name="T43" fmla="*/ 0 h 604"/>
                  <a:gd name="T44" fmla="*/ 0 w 1029"/>
                  <a:gd name="T45" fmla="*/ 0 h 604"/>
                  <a:gd name="T46" fmla="*/ 0 w 1029"/>
                  <a:gd name="T47" fmla="*/ 0 h 604"/>
                  <a:gd name="T48" fmla="*/ 0 w 1029"/>
                  <a:gd name="T49" fmla="*/ 0 h 604"/>
                  <a:gd name="T50" fmla="*/ 0 w 1029"/>
                  <a:gd name="T51" fmla="*/ 0 h 604"/>
                  <a:gd name="T52" fmla="*/ 0 w 1029"/>
                  <a:gd name="T53" fmla="*/ 0 h 604"/>
                  <a:gd name="T54" fmla="*/ 0 w 1029"/>
                  <a:gd name="T55" fmla="*/ 0 h 604"/>
                  <a:gd name="T56" fmla="*/ 0 w 1029"/>
                  <a:gd name="T57" fmla="*/ 0 h 604"/>
                  <a:gd name="T58" fmla="*/ 0 w 1029"/>
                  <a:gd name="T59" fmla="*/ 0 h 604"/>
                  <a:gd name="T60" fmla="*/ 0 w 1029"/>
                  <a:gd name="T61" fmla="*/ 0 h 604"/>
                  <a:gd name="T62" fmla="*/ 0 w 1029"/>
                  <a:gd name="T63" fmla="*/ 0 h 604"/>
                  <a:gd name="T64" fmla="*/ 0 w 1029"/>
                  <a:gd name="T65" fmla="*/ 0 h 604"/>
                  <a:gd name="T66" fmla="*/ 0 w 1029"/>
                  <a:gd name="T67" fmla="*/ 0 h 604"/>
                  <a:gd name="T68" fmla="*/ 0 w 1029"/>
                  <a:gd name="T69" fmla="*/ 0 h 604"/>
                  <a:gd name="T70" fmla="*/ 0 w 1029"/>
                  <a:gd name="T71" fmla="*/ 0 h 604"/>
                  <a:gd name="T72" fmla="*/ 0 w 1029"/>
                  <a:gd name="T73" fmla="*/ 0 h 604"/>
                  <a:gd name="T74" fmla="*/ 0 w 1029"/>
                  <a:gd name="T75" fmla="*/ 0 h 604"/>
                  <a:gd name="T76" fmla="*/ 0 w 1029"/>
                  <a:gd name="T77" fmla="*/ 0 h 604"/>
                  <a:gd name="T78" fmla="*/ 0 w 1029"/>
                  <a:gd name="T79" fmla="*/ 0 h 604"/>
                  <a:gd name="T80" fmla="*/ 0 w 1029"/>
                  <a:gd name="T81" fmla="*/ 0 h 604"/>
                  <a:gd name="T82" fmla="*/ 0 w 1029"/>
                  <a:gd name="T83" fmla="*/ 0 h 604"/>
                  <a:gd name="T84" fmla="*/ 0 w 1029"/>
                  <a:gd name="T85" fmla="*/ 0 h 604"/>
                  <a:gd name="T86" fmla="*/ 0 w 1029"/>
                  <a:gd name="T87" fmla="*/ 0 h 604"/>
                  <a:gd name="T88" fmla="*/ 0 w 1029"/>
                  <a:gd name="T89" fmla="*/ 0 h 604"/>
                  <a:gd name="T90" fmla="*/ 0 w 1029"/>
                  <a:gd name="T91" fmla="*/ 0 h 604"/>
                  <a:gd name="T92" fmla="*/ 0 w 1029"/>
                  <a:gd name="T93" fmla="*/ 0 h 604"/>
                  <a:gd name="T94" fmla="*/ 0 w 1029"/>
                  <a:gd name="T95" fmla="*/ 0 h 604"/>
                  <a:gd name="T96" fmla="*/ 0 w 1029"/>
                  <a:gd name="T97" fmla="*/ 0 h 604"/>
                  <a:gd name="T98" fmla="*/ 0 w 1029"/>
                  <a:gd name="T99" fmla="*/ 0 h 604"/>
                  <a:gd name="T100" fmla="*/ 0 w 1029"/>
                  <a:gd name="T101" fmla="*/ 0 h 604"/>
                  <a:gd name="T102" fmla="*/ 0 w 1029"/>
                  <a:gd name="T103" fmla="*/ 0 h 604"/>
                  <a:gd name="T104" fmla="*/ 0 w 1029"/>
                  <a:gd name="T105" fmla="*/ 0 h 604"/>
                  <a:gd name="T106" fmla="*/ 0 w 1029"/>
                  <a:gd name="T107" fmla="*/ 0 h 604"/>
                  <a:gd name="T108" fmla="*/ 0 w 1029"/>
                  <a:gd name="T109" fmla="*/ 0 h 604"/>
                  <a:gd name="T110" fmla="*/ 0 w 1029"/>
                  <a:gd name="T111" fmla="*/ 0 h 604"/>
                  <a:gd name="T112" fmla="*/ 0 w 1029"/>
                  <a:gd name="T113" fmla="*/ 0 h 604"/>
                  <a:gd name="T114" fmla="*/ 0 w 1029"/>
                  <a:gd name="T115" fmla="*/ 0 h 604"/>
                  <a:gd name="T116" fmla="*/ 0 w 1029"/>
                  <a:gd name="T117" fmla="*/ 0 h 604"/>
                  <a:gd name="T118" fmla="*/ 0 w 1029"/>
                  <a:gd name="T119" fmla="*/ 0 h 604"/>
                  <a:gd name="T120" fmla="*/ 0 w 1029"/>
                  <a:gd name="T121" fmla="*/ 0 h 604"/>
                  <a:gd name="T122" fmla="*/ 0 w 1029"/>
                  <a:gd name="T123" fmla="*/ 0 h 604"/>
                  <a:gd name="T124" fmla="*/ 0 w 1029"/>
                  <a:gd name="T125" fmla="*/ 0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029"/>
                  <a:gd name="T190" fmla="*/ 0 h 604"/>
                  <a:gd name="T191" fmla="*/ 1029 w 1029"/>
                  <a:gd name="T192" fmla="*/ 604 h 604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58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0 w 1268"/>
                  <a:gd name="T1" fmla="*/ 0 h 321"/>
                  <a:gd name="T2" fmla="*/ 0 w 1268"/>
                  <a:gd name="T3" fmla="*/ 0 h 321"/>
                  <a:gd name="T4" fmla="*/ 0 w 1268"/>
                  <a:gd name="T5" fmla="*/ 0 h 321"/>
                  <a:gd name="T6" fmla="*/ 0 w 1268"/>
                  <a:gd name="T7" fmla="*/ 0 h 321"/>
                  <a:gd name="T8" fmla="*/ 0 w 1268"/>
                  <a:gd name="T9" fmla="*/ 0 h 321"/>
                  <a:gd name="T10" fmla="*/ 0 w 1268"/>
                  <a:gd name="T11" fmla="*/ 0 h 321"/>
                  <a:gd name="T12" fmla="*/ 0 w 1268"/>
                  <a:gd name="T13" fmla="*/ 0 h 321"/>
                  <a:gd name="T14" fmla="*/ 0 w 1268"/>
                  <a:gd name="T15" fmla="*/ 0 h 321"/>
                  <a:gd name="T16" fmla="*/ 0 w 1268"/>
                  <a:gd name="T17" fmla="*/ 0 h 321"/>
                  <a:gd name="T18" fmla="*/ 0 w 1268"/>
                  <a:gd name="T19" fmla="*/ 0 h 321"/>
                  <a:gd name="T20" fmla="*/ 0 w 1268"/>
                  <a:gd name="T21" fmla="*/ 0 h 321"/>
                  <a:gd name="T22" fmla="*/ 0 w 1268"/>
                  <a:gd name="T23" fmla="*/ 0 h 321"/>
                  <a:gd name="T24" fmla="*/ 0 w 1268"/>
                  <a:gd name="T25" fmla="*/ 0 h 321"/>
                  <a:gd name="T26" fmla="*/ 0 w 1268"/>
                  <a:gd name="T27" fmla="*/ 0 h 321"/>
                  <a:gd name="T28" fmla="*/ 0 w 1268"/>
                  <a:gd name="T29" fmla="*/ 0 h 321"/>
                  <a:gd name="T30" fmla="*/ 0 w 1268"/>
                  <a:gd name="T31" fmla="*/ 0 h 321"/>
                  <a:gd name="T32" fmla="*/ 0 w 1268"/>
                  <a:gd name="T33" fmla="*/ 0 h 321"/>
                  <a:gd name="T34" fmla="*/ 0 w 1268"/>
                  <a:gd name="T35" fmla="*/ 0 h 321"/>
                  <a:gd name="T36" fmla="*/ 0 w 1268"/>
                  <a:gd name="T37" fmla="*/ 0 h 321"/>
                  <a:gd name="T38" fmla="*/ 0 w 1268"/>
                  <a:gd name="T39" fmla="*/ 0 h 321"/>
                  <a:gd name="T40" fmla="*/ 0 w 1268"/>
                  <a:gd name="T41" fmla="*/ 0 h 321"/>
                  <a:gd name="T42" fmla="*/ 0 w 1268"/>
                  <a:gd name="T43" fmla="*/ 0 h 321"/>
                  <a:gd name="T44" fmla="*/ 0 w 1268"/>
                  <a:gd name="T45" fmla="*/ 0 h 321"/>
                  <a:gd name="T46" fmla="*/ 0 w 1268"/>
                  <a:gd name="T47" fmla="*/ 0 h 321"/>
                  <a:gd name="T48" fmla="*/ 0 w 1268"/>
                  <a:gd name="T49" fmla="*/ 0 h 321"/>
                  <a:gd name="T50" fmla="*/ 0 w 1268"/>
                  <a:gd name="T51" fmla="*/ 0 h 321"/>
                  <a:gd name="T52" fmla="*/ 0 w 1268"/>
                  <a:gd name="T53" fmla="*/ 0 h 321"/>
                  <a:gd name="T54" fmla="*/ 0 w 1268"/>
                  <a:gd name="T55" fmla="*/ 0 h 321"/>
                  <a:gd name="T56" fmla="*/ 0 w 1268"/>
                  <a:gd name="T57" fmla="*/ 0 h 321"/>
                  <a:gd name="T58" fmla="*/ 0 w 1268"/>
                  <a:gd name="T59" fmla="*/ 0 h 321"/>
                  <a:gd name="T60" fmla="*/ 0 w 1268"/>
                  <a:gd name="T61" fmla="*/ 0 h 321"/>
                  <a:gd name="T62" fmla="*/ 0 w 1268"/>
                  <a:gd name="T63" fmla="*/ 0 h 321"/>
                  <a:gd name="T64" fmla="*/ 0 w 1268"/>
                  <a:gd name="T65" fmla="*/ 0 h 321"/>
                  <a:gd name="T66" fmla="*/ 0 w 1268"/>
                  <a:gd name="T67" fmla="*/ 0 h 321"/>
                  <a:gd name="T68" fmla="*/ 0 w 1268"/>
                  <a:gd name="T69" fmla="*/ 0 h 321"/>
                  <a:gd name="T70" fmla="*/ 0 w 1268"/>
                  <a:gd name="T71" fmla="*/ 0 h 321"/>
                  <a:gd name="T72" fmla="*/ 0 w 1268"/>
                  <a:gd name="T73" fmla="*/ 0 h 321"/>
                  <a:gd name="T74" fmla="*/ 0 w 1268"/>
                  <a:gd name="T75" fmla="*/ 0 h 321"/>
                  <a:gd name="T76" fmla="*/ 0 w 1268"/>
                  <a:gd name="T77" fmla="*/ 0 h 321"/>
                  <a:gd name="T78" fmla="*/ 0 w 1268"/>
                  <a:gd name="T79" fmla="*/ 0 h 321"/>
                  <a:gd name="T80" fmla="*/ 0 w 1268"/>
                  <a:gd name="T81" fmla="*/ 0 h 321"/>
                  <a:gd name="T82" fmla="*/ 0 w 1268"/>
                  <a:gd name="T83" fmla="*/ 0 h 321"/>
                  <a:gd name="T84" fmla="*/ 0 w 1268"/>
                  <a:gd name="T85" fmla="*/ 0 h 321"/>
                  <a:gd name="T86" fmla="*/ 0 w 1268"/>
                  <a:gd name="T87" fmla="*/ 0 h 321"/>
                  <a:gd name="T88" fmla="*/ 0 w 1268"/>
                  <a:gd name="T89" fmla="*/ 0 h 321"/>
                  <a:gd name="T90" fmla="*/ 0 w 1268"/>
                  <a:gd name="T91" fmla="*/ 0 h 321"/>
                  <a:gd name="T92" fmla="*/ 0 w 1268"/>
                  <a:gd name="T93" fmla="*/ 0 h 321"/>
                  <a:gd name="T94" fmla="*/ 0 w 1268"/>
                  <a:gd name="T95" fmla="*/ 0 h 321"/>
                  <a:gd name="T96" fmla="*/ 0 w 1268"/>
                  <a:gd name="T97" fmla="*/ 0 h 321"/>
                  <a:gd name="T98" fmla="*/ 0 w 1268"/>
                  <a:gd name="T99" fmla="*/ 0 h 321"/>
                  <a:gd name="T100" fmla="*/ 0 w 1268"/>
                  <a:gd name="T101" fmla="*/ 0 h 321"/>
                  <a:gd name="T102" fmla="*/ 0 w 1268"/>
                  <a:gd name="T103" fmla="*/ 0 h 321"/>
                  <a:gd name="T104" fmla="*/ 0 w 1268"/>
                  <a:gd name="T105" fmla="*/ 0 h 321"/>
                  <a:gd name="T106" fmla="*/ 0 w 1268"/>
                  <a:gd name="T107" fmla="*/ 0 h 321"/>
                  <a:gd name="T108" fmla="*/ 0 w 1268"/>
                  <a:gd name="T109" fmla="*/ 0 h 321"/>
                  <a:gd name="T110" fmla="*/ 0 w 1268"/>
                  <a:gd name="T111" fmla="*/ 0 h 321"/>
                  <a:gd name="T112" fmla="*/ 0 w 1268"/>
                  <a:gd name="T113" fmla="*/ 0 h 321"/>
                  <a:gd name="T114" fmla="*/ 0 w 1268"/>
                  <a:gd name="T115" fmla="*/ 0 h 321"/>
                  <a:gd name="T116" fmla="*/ 0 w 1268"/>
                  <a:gd name="T117" fmla="*/ 0 h 321"/>
                  <a:gd name="T118" fmla="*/ 0 w 1268"/>
                  <a:gd name="T119" fmla="*/ 0 h 321"/>
                  <a:gd name="T120" fmla="*/ 0 w 1268"/>
                  <a:gd name="T121" fmla="*/ 0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268"/>
                  <a:gd name="T184" fmla="*/ 0 h 321"/>
                  <a:gd name="T185" fmla="*/ 1268 w 1268"/>
                  <a:gd name="T186" fmla="*/ 321 h 321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59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0 h 117"/>
                  <a:gd name="T4" fmla="*/ 0 w 160"/>
                  <a:gd name="T5" fmla="*/ 0 h 117"/>
                  <a:gd name="T6" fmla="*/ 0 w 160"/>
                  <a:gd name="T7" fmla="*/ 0 h 117"/>
                  <a:gd name="T8" fmla="*/ 0 w 160"/>
                  <a:gd name="T9" fmla="*/ 0 h 117"/>
                  <a:gd name="T10" fmla="*/ 0 w 160"/>
                  <a:gd name="T11" fmla="*/ 0 h 117"/>
                  <a:gd name="T12" fmla="*/ 0 w 160"/>
                  <a:gd name="T13" fmla="*/ 0 h 117"/>
                  <a:gd name="T14" fmla="*/ 0 w 160"/>
                  <a:gd name="T15" fmla="*/ 0 h 117"/>
                  <a:gd name="T16" fmla="*/ 0 w 160"/>
                  <a:gd name="T17" fmla="*/ 0 h 117"/>
                  <a:gd name="T18" fmla="*/ 0 w 160"/>
                  <a:gd name="T19" fmla="*/ 0 h 117"/>
                  <a:gd name="T20" fmla="*/ 0 w 160"/>
                  <a:gd name="T21" fmla="*/ 0 h 117"/>
                  <a:gd name="T22" fmla="*/ 0 w 160"/>
                  <a:gd name="T23" fmla="*/ 0 h 117"/>
                  <a:gd name="T24" fmla="*/ 0 w 160"/>
                  <a:gd name="T25" fmla="*/ 0 h 117"/>
                  <a:gd name="T26" fmla="*/ 0 w 160"/>
                  <a:gd name="T27" fmla="*/ 0 h 117"/>
                  <a:gd name="T28" fmla="*/ 0 w 160"/>
                  <a:gd name="T29" fmla="*/ 0 h 117"/>
                  <a:gd name="T30" fmla="*/ 0 w 160"/>
                  <a:gd name="T31" fmla="*/ 0 h 117"/>
                  <a:gd name="T32" fmla="*/ 0 w 160"/>
                  <a:gd name="T33" fmla="*/ 0 h 117"/>
                  <a:gd name="T34" fmla="*/ 0 w 160"/>
                  <a:gd name="T35" fmla="*/ 0 h 117"/>
                  <a:gd name="T36" fmla="*/ 0 w 160"/>
                  <a:gd name="T37" fmla="*/ 0 h 117"/>
                  <a:gd name="T38" fmla="*/ 0 w 160"/>
                  <a:gd name="T39" fmla="*/ 0 h 117"/>
                  <a:gd name="T40" fmla="*/ 0 w 160"/>
                  <a:gd name="T41" fmla="*/ 0 h 117"/>
                  <a:gd name="T42" fmla="*/ 0 w 160"/>
                  <a:gd name="T43" fmla="*/ 0 h 117"/>
                  <a:gd name="T44" fmla="*/ 0 w 160"/>
                  <a:gd name="T45" fmla="*/ 0 h 117"/>
                  <a:gd name="T46" fmla="*/ 0 w 160"/>
                  <a:gd name="T47" fmla="*/ 0 h 117"/>
                  <a:gd name="T48" fmla="*/ 0 w 160"/>
                  <a:gd name="T49" fmla="*/ 0 h 117"/>
                  <a:gd name="T50" fmla="*/ 0 w 160"/>
                  <a:gd name="T51" fmla="*/ 0 h 117"/>
                  <a:gd name="T52" fmla="*/ 0 w 160"/>
                  <a:gd name="T53" fmla="*/ 0 h 117"/>
                  <a:gd name="T54" fmla="*/ 0 w 160"/>
                  <a:gd name="T55" fmla="*/ 0 h 117"/>
                  <a:gd name="T56" fmla="*/ 0 w 160"/>
                  <a:gd name="T57" fmla="*/ 0 h 117"/>
                  <a:gd name="T58" fmla="*/ 0 w 160"/>
                  <a:gd name="T59" fmla="*/ 0 h 117"/>
                  <a:gd name="T60" fmla="*/ 0 w 160"/>
                  <a:gd name="T61" fmla="*/ 0 h 117"/>
                  <a:gd name="T62" fmla="*/ 0 w 160"/>
                  <a:gd name="T63" fmla="*/ 0 h 117"/>
                  <a:gd name="T64" fmla="*/ 0 w 160"/>
                  <a:gd name="T65" fmla="*/ 0 h 117"/>
                  <a:gd name="T66" fmla="*/ 0 w 160"/>
                  <a:gd name="T67" fmla="*/ 0 h 117"/>
                  <a:gd name="T68" fmla="*/ 0 w 160"/>
                  <a:gd name="T69" fmla="*/ 0 h 117"/>
                  <a:gd name="T70" fmla="*/ 0 w 160"/>
                  <a:gd name="T71" fmla="*/ 0 h 117"/>
                  <a:gd name="T72" fmla="*/ 0 w 160"/>
                  <a:gd name="T73" fmla="*/ 0 h 117"/>
                  <a:gd name="T74" fmla="*/ 0 w 160"/>
                  <a:gd name="T75" fmla="*/ 0 h 117"/>
                  <a:gd name="T76" fmla="*/ 0 w 160"/>
                  <a:gd name="T77" fmla="*/ 0 h 117"/>
                  <a:gd name="T78" fmla="*/ 0 w 160"/>
                  <a:gd name="T79" fmla="*/ 0 h 117"/>
                  <a:gd name="T80" fmla="*/ 0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60"/>
                  <a:gd name="T127" fmla="*/ 0 h 117"/>
                  <a:gd name="T128" fmla="*/ 160 w 160"/>
                  <a:gd name="T129" fmla="*/ 117 h 117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60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0 w 80"/>
                  <a:gd name="T1" fmla="*/ 0 h 141"/>
                  <a:gd name="T2" fmla="*/ 0 w 80"/>
                  <a:gd name="T3" fmla="*/ 0 h 141"/>
                  <a:gd name="T4" fmla="*/ 0 w 80"/>
                  <a:gd name="T5" fmla="*/ 0 h 141"/>
                  <a:gd name="T6" fmla="*/ 0 w 80"/>
                  <a:gd name="T7" fmla="*/ 0 h 141"/>
                  <a:gd name="T8" fmla="*/ 0 w 80"/>
                  <a:gd name="T9" fmla="*/ 0 h 141"/>
                  <a:gd name="T10" fmla="*/ 0 w 80"/>
                  <a:gd name="T11" fmla="*/ 0 h 141"/>
                  <a:gd name="T12" fmla="*/ 0 w 80"/>
                  <a:gd name="T13" fmla="*/ 0 h 141"/>
                  <a:gd name="T14" fmla="*/ 0 w 80"/>
                  <a:gd name="T15" fmla="*/ 0 h 141"/>
                  <a:gd name="T16" fmla="*/ 0 w 80"/>
                  <a:gd name="T17" fmla="*/ 0 h 141"/>
                  <a:gd name="T18" fmla="*/ 0 w 80"/>
                  <a:gd name="T19" fmla="*/ 0 h 141"/>
                  <a:gd name="T20" fmla="*/ 0 w 80"/>
                  <a:gd name="T21" fmla="*/ 0 h 141"/>
                  <a:gd name="T22" fmla="*/ 0 w 80"/>
                  <a:gd name="T23" fmla="*/ 0 h 141"/>
                  <a:gd name="T24" fmla="*/ 0 w 80"/>
                  <a:gd name="T25" fmla="*/ 0 h 141"/>
                  <a:gd name="T26" fmla="*/ 0 w 80"/>
                  <a:gd name="T27" fmla="*/ 0 h 141"/>
                  <a:gd name="T28" fmla="*/ 0 w 80"/>
                  <a:gd name="T29" fmla="*/ 0 h 141"/>
                  <a:gd name="T30" fmla="*/ 0 w 80"/>
                  <a:gd name="T31" fmla="*/ 0 h 141"/>
                  <a:gd name="T32" fmla="*/ 0 w 80"/>
                  <a:gd name="T33" fmla="*/ 0 h 141"/>
                  <a:gd name="T34" fmla="*/ 0 w 80"/>
                  <a:gd name="T35" fmla="*/ 0 h 141"/>
                  <a:gd name="T36" fmla="*/ 0 w 80"/>
                  <a:gd name="T37" fmla="*/ 0 h 141"/>
                  <a:gd name="T38" fmla="*/ 0 w 80"/>
                  <a:gd name="T39" fmla="*/ 0 h 141"/>
                  <a:gd name="T40" fmla="*/ 0 w 80"/>
                  <a:gd name="T41" fmla="*/ 0 h 141"/>
                  <a:gd name="T42" fmla="*/ 0 w 80"/>
                  <a:gd name="T43" fmla="*/ 0 h 141"/>
                  <a:gd name="T44" fmla="*/ 0 w 80"/>
                  <a:gd name="T45" fmla="*/ 0 h 141"/>
                  <a:gd name="T46" fmla="*/ 0 w 80"/>
                  <a:gd name="T47" fmla="*/ 0 h 141"/>
                  <a:gd name="T48" fmla="*/ 0 w 80"/>
                  <a:gd name="T49" fmla="*/ 0 h 141"/>
                  <a:gd name="T50" fmla="*/ 0 w 80"/>
                  <a:gd name="T51" fmla="*/ 0 h 141"/>
                  <a:gd name="T52" fmla="*/ 0 w 80"/>
                  <a:gd name="T53" fmla="*/ 0 h 141"/>
                  <a:gd name="T54" fmla="*/ 0 w 80"/>
                  <a:gd name="T55" fmla="*/ 0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80"/>
                  <a:gd name="T85" fmla="*/ 0 h 141"/>
                  <a:gd name="T86" fmla="*/ 80 w 80"/>
                  <a:gd name="T87" fmla="*/ 141 h 141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61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0 h 124"/>
                  <a:gd name="T2" fmla="*/ 0 w 259"/>
                  <a:gd name="T3" fmla="*/ 0 h 124"/>
                  <a:gd name="T4" fmla="*/ 0 w 259"/>
                  <a:gd name="T5" fmla="*/ 0 h 124"/>
                  <a:gd name="T6" fmla="*/ 0 w 259"/>
                  <a:gd name="T7" fmla="*/ 0 h 124"/>
                  <a:gd name="T8" fmla="*/ 0 w 259"/>
                  <a:gd name="T9" fmla="*/ 0 h 124"/>
                  <a:gd name="T10" fmla="*/ 0 w 259"/>
                  <a:gd name="T11" fmla="*/ 0 h 124"/>
                  <a:gd name="T12" fmla="*/ 0 w 259"/>
                  <a:gd name="T13" fmla="*/ 0 h 124"/>
                  <a:gd name="T14" fmla="*/ 0 w 259"/>
                  <a:gd name="T15" fmla="*/ 0 h 124"/>
                  <a:gd name="T16" fmla="*/ 0 w 259"/>
                  <a:gd name="T17" fmla="*/ 0 h 124"/>
                  <a:gd name="T18" fmla="*/ 0 w 259"/>
                  <a:gd name="T19" fmla="*/ 0 h 124"/>
                  <a:gd name="T20" fmla="*/ 0 w 259"/>
                  <a:gd name="T21" fmla="*/ 0 h 124"/>
                  <a:gd name="T22" fmla="*/ 0 w 259"/>
                  <a:gd name="T23" fmla="*/ 0 h 124"/>
                  <a:gd name="T24" fmla="*/ 0 w 259"/>
                  <a:gd name="T25" fmla="*/ 0 h 124"/>
                  <a:gd name="T26" fmla="*/ 0 w 259"/>
                  <a:gd name="T27" fmla="*/ 0 h 124"/>
                  <a:gd name="T28" fmla="*/ 0 w 259"/>
                  <a:gd name="T29" fmla="*/ 0 h 124"/>
                  <a:gd name="T30" fmla="*/ 0 w 259"/>
                  <a:gd name="T31" fmla="*/ 0 h 124"/>
                  <a:gd name="T32" fmla="*/ 0 w 259"/>
                  <a:gd name="T33" fmla="*/ 0 h 124"/>
                  <a:gd name="T34" fmla="*/ 0 w 259"/>
                  <a:gd name="T35" fmla="*/ 0 h 124"/>
                  <a:gd name="T36" fmla="*/ 0 w 259"/>
                  <a:gd name="T37" fmla="*/ 0 h 124"/>
                  <a:gd name="T38" fmla="*/ 0 w 259"/>
                  <a:gd name="T39" fmla="*/ 0 h 124"/>
                  <a:gd name="T40" fmla="*/ 0 w 259"/>
                  <a:gd name="T41" fmla="*/ 0 h 124"/>
                  <a:gd name="T42" fmla="*/ 0 w 259"/>
                  <a:gd name="T43" fmla="*/ 0 h 124"/>
                  <a:gd name="T44" fmla="*/ 0 w 259"/>
                  <a:gd name="T45" fmla="*/ 0 h 124"/>
                  <a:gd name="T46" fmla="*/ 0 w 259"/>
                  <a:gd name="T47" fmla="*/ 0 h 124"/>
                  <a:gd name="T48" fmla="*/ 0 w 259"/>
                  <a:gd name="T49" fmla="*/ 0 h 124"/>
                  <a:gd name="T50" fmla="*/ 0 w 259"/>
                  <a:gd name="T51" fmla="*/ 0 h 124"/>
                  <a:gd name="T52" fmla="*/ 0 w 259"/>
                  <a:gd name="T53" fmla="*/ 0 h 124"/>
                  <a:gd name="T54" fmla="*/ 0 w 259"/>
                  <a:gd name="T55" fmla="*/ 0 h 124"/>
                  <a:gd name="T56" fmla="*/ 0 w 259"/>
                  <a:gd name="T57" fmla="*/ 0 h 124"/>
                  <a:gd name="T58" fmla="*/ 0 w 259"/>
                  <a:gd name="T59" fmla="*/ 0 h 124"/>
                  <a:gd name="T60" fmla="*/ 0 w 259"/>
                  <a:gd name="T61" fmla="*/ 0 h 124"/>
                  <a:gd name="T62" fmla="*/ 0 w 259"/>
                  <a:gd name="T63" fmla="*/ 0 h 124"/>
                  <a:gd name="T64" fmla="*/ 0 w 259"/>
                  <a:gd name="T65" fmla="*/ 0 h 124"/>
                  <a:gd name="T66" fmla="*/ 0 w 259"/>
                  <a:gd name="T67" fmla="*/ 0 h 124"/>
                  <a:gd name="T68" fmla="*/ 0 w 259"/>
                  <a:gd name="T69" fmla="*/ 0 h 124"/>
                  <a:gd name="T70" fmla="*/ 0 w 259"/>
                  <a:gd name="T71" fmla="*/ 0 h 124"/>
                  <a:gd name="T72" fmla="*/ 0 w 259"/>
                  <a:gd name="T73" fmla="*/ 0 h 124"/>
                  <a:gd name="T74" fmla="*/ 0 w 259"/>
                  <a:gd name="T75" fmla="*/ 0 h 124"/>
                  <a:gd name="T76" fmla="*/ 0 w 259"/>
                  <a:gd name="T77" fmla="*/ 0 h 124"/>
                  <a:gd name="T78" fmla="*/ 0 w 259"/>
                  <a:gd name="T79" fmla="*/ 0 h 124"/>
                  <a:gd name="T80" fmla="*/ 0 w 259"/>
                  <a:gd name="T81" fmla="*/ 0 h 124"/>
                  <a:gd name="T82" fmla="*/ 0 w 259"/>
                  <a:gd name="T83" fmla="*/ 0 h 124"/>
                  <a:gd name="T84" fmla="*/ 0 w 259"/>
                  <a:gd name="T85" fmla="*/ 0 h 124"/>
                  <a:gd name="T86" fmla="*/ 0 w 259"/>
                  <a:gd name="T87" fmla="*/ 0 h 124"/>
                  <a:gd name="T88" fmla="*/ 0 w 259"/>
                  <a:gd name="T89" fmla="*/ 0 h 124"/>
                  <a:gd name="T90" fmla="*/ 0 w 259"/>
                  <a:gd name="T91" fmla="*/ 0 h 124"/>
                  <a:gd name="T92" fmla="*/ 0 w 259"/>
                  <a:gd name="T93" fmla="*/ 0 h 124"/>
                  <a:gd name="T94" fmla="*/ 0 w 259"/>
                  <a:gd name="T95" fmla="*/ 0 h 124"/>
                  <a:gd name="T96" fmla="*/ 0 w 259"/>
                  <a:gd name="T97" fmla="*/ 0 h 124"/>
                  <a:gd name="T98" fmla="*/ 0 w 259"/>
                  <a:gd name="T99" fmla="*/ 0 h 124"/>
                  <a:gd name="T100" fmla="*/ 0 w 259"/>
                  <a:gd name="T101" fmla="*/ 0 h 124"/>
                  <a:gd name="T102" fmla="*/ 0 w 259"/>
                  <a:gd name="T103" fmla="*/ 0 h 124"/>
                  <a:gd name="T104" fmla="*/ 0 w 259"/>
                  <a:gd name="T105" fmla="*/ 0 h 124"/>
                  <a:gd name="T106" fmla="*/ 0 w 259"/>
                  <a:gd name="T107" fmla="*/ 0 h 124"/>
                  <a:gd name="T108" fmla="*/ 0 w 259"/>
                  <a:gd name="T109" fmla="*/ 0 h 124"/>
                  <a:gd name="T110" fmla="*/ 0 w 259"/>
                  <a:gd name="T111" fmla="*/ 0 h 124"/>
                  <a:gd name="T112" fmla="*/ 0 w 259"/>
                  <a:gd name="T113" fmla="*/ 0 h 124"/>
                  <a:gd name="T114" fmla="*/ 0 w 259"/>
                  <a:gd name="T115" fmla="*/ 0 h 124"/>
                  <a:gd name="T116" fmla="*/ 0 w 259"/>
                  <a:gd name="T117" fmla="*/ 0 h 124"/>
                  <a:gd name="T118" fmla="*/ 0 w 259"/>
                  <a:gd name="T119" fmla="*/ 0 h 124"/>
                  <a:gd name="T120" fmla="*/ 0 w 259"/>
                  <a:gd name="T121" fmla="*/ 0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259"/>
                  <a:gd name="T184" fmla="*/ 0 h 124"/>
                  <a:gd name="T185" fmla="*/ 259 w 259"/>
                  <a:gd name="T186" fmla="*/ 124 h 124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62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0 h 57"/>
                  <a:gd name="T2" fmla="*/ 0 w 119"/>
                  <a:gd name="T3" fmla="*/ 0 h 57"/>
                  <a:gd name="T4" fmla="*/ 0 w 119"/>
                  <a:gd name="T5" fmla="*/ 0 h 57"/>
                  <a:gd name="T6" fmla="*/ 0 w 119"/>
                  <a:gd name="T7" fmla="*/ 0 h 57"/>
                  <a:gd name="T8" fmla="*/ 0 w 119"/>
                  <a:gd name="T9" fmla="*/ 0 h 57"/>
                  <a:gd name="T10" fmla="*/ 0 w 119"/>
                  <a:gd name="T11" fmla="*/ 0 h 57"/>
                  <a:gd name="T12" fmla="*/ 0 w 119"/>
                  <a:gd name="T13" fmla="*/ 0 h 57"/>
                  <a:gd name="T14" fmla="*/ 0 w 119"/>
                  <a:gd name="T15" fmla="*/ 0 h 57"/>
                  <a:gd name="T16" fmla="*/ 0 w 119"/>
                  <a:gd name="T17" fmla="*/ 0 h 57"/>
                  <a:gd name="T18" fmla="*/ 0 w 119"/>
                  <a:gd name="T19" fmla="*/ 0 h 57"/>
                  <a:gd name="T20" fmla="*/ 0 w 119"/>
                  <a:gd name="T21" fmla="*/ 0 h 57"/>
                  <a:gd name="T22" fmla="*/ 0 w 119"/>
                  <a:gd name="T23" fmla="*/ 0 h 57"/>
                  <a:gd name="T24" fmla="*/ 0 w 119"/>
                  <a:gd name="T25" fmla="*/ 0 h 57"/>
                  <a:gd name="T26" fmla="*/ 0 w 119"/>
                  <a:gd name="T27" fmla="*/ 0 h 57"/>
                  <a:gd name="T28" fmla="*/ 0 w 119"/>
                  <a:gd name="T29" fmla="*/ 0 h 57"/>
                  <a:gd name="T30" fmla="*/ 0 w 119"/>
                  <a:gd name="T31" fmla="*/ 0 h 57"/>
                  <a:gd name="T32" fmla="*/ 0 w 119"/>
                  <a:gd name="T33" fmla="*/ 0 h 57"/>
                  <a:gd name="T34" fmla="*/ 0 w 119"/>
                  <a:gd name="T35" fmla="*/ 0 h 57"/>
                  <a:gd name="T36" fmla="*/ 0 w 119"/>
                  <a:gd name="T37" fmla="*/ 0 h 57"/>
                  <a:gd name="T38" fmla="*/ 0 w 119"/>
                  <a:gd name="T39" fmla="*/ 0 h 57"/>
                  <a:gd name="T40" fmla="*/ 0 w 119"/>
                  <a:gd name="T41" fmla="*/ 0 h 57"/>
                  <a:gd name="T42" fmla="*/ 0 w 119"/>
                  <a:gd name="T43" fmla="*/ 0 h 57"/>
                  <a:gd name="T44" fmla="*/ 0 w 119"/>
                  <a:gd name="T45" fmla="*/ 0 h 57"/>
                  <a:gd name="T46" fmla="*/ 0 w 119"/>
                  <a:gd name="T47" fmla="*/ 0 h 57"/>
                  <a:gd name="T48" fmla="*/ 0 w 119"/>
                  <a:gd name="T49" fmla="*/ 0 h 57"/>
                  <a:gd name="T50" fmla="*/ 0 w 119"/>
                  <a:gd name="T51" fmla="*/ 0 h 57"/>
                  <a:gd name="T52" fmla="*/ 0 w 119"/>
                  <a:gd name="T53" fmla="*/ 0 h 57"/>
                  <a:gd name="T54" fmla="*/ 0 w 119"/>
                  <a:gd name="T55" fmla="*/ 0 h 57"/>
                  <a:gd name="T56" fmla="*/ 0 w 119"/>
                  <a:gd name="T57" fmla="*/ 0 h 57"/>
                  <a:gd name="T58" fmla="*/ 0 w 119"/>
                  <a:gd name="T59" fmla="*/ 0 h 57"/>
                  <a:gd name="T60" fmla="*/ 0 w 119"/>
                  <a:gd name="T61" fmla="*/ 0 h 57"/>
                  <a:gd name="T62" fmla="*/ 0 w 119"/>
                  <a:gd name="T63" fmla="*/ 0 h 57"/>
                  <a:gd name="T64" fmla="*/ 0 w 119"/>
                  <a:gd name="T65" fmla="*/ 0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19"/>
                  <a:gd name="T100" fmla="*/ 0 h 57"/>
                  <a:gd name="T101" fmla="*/ 119 w 119"/>
                  <a:gd name="T102" fmla="*/ 57 h 57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63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0 h 52"/>
                  <a:gd name="T2" fmla="*/ 0 w 107"/>
                  <a:gd name="T3" fmla="*/ 0 h 52"/>
                  <a:gd name="T4" fmla="*/ 0 w 107"/>
                  <a:gd name="T5" fmla="*/ 0 h 52"/>
                  <a:gd name="T6" fmla="*/ 0 w 107"/>
                  <a:gd name="T7" fmla="*/ 0 h 52"/>
                  <a:gd name="T8" fmla="*/ 0 w 107"/>
                  <a:gd name="T9" fmla="*/ 0 h 52"/>
                  <a:gd name="T10" fmla="*/ 0 w 107"/>
                  <a:gd name="T11" fmla="*/ 0 h 52"/>
                  <a:gd name="T12" fmla="*/ 0 w 107"/>
                  <a:gd name="T13" fmla="*/ 0 h 52"/>
                  <a:gd name="T14" fmla="*/ 0 w 107"/>
                  <a:gd name="T15" fmla="*/ 0 h 52"/>
                  <a:gd name="T16" fmla="*/ 0 w 107"/>
                  <a:gd name="T17" fmla="*/ 0 h 52"/>
                  <a:gd name="T18" fmla="*/ 0 w 107"/>
                  <a:gd name="T19" fmla="*/ 0 h 52"/>
                  <a:gd name="T20" fmla="*/ 0 w 107"/>
                  <a:gd name="T21" fmla="*/ 0 h 52"/>
                  <a:gd name="T22" fmla="*/ 0 w 107"/>
                  <a:gd name="T23" fmla="*/ 0 h 52"/>
                  <a:gd name="T24" fmla="*/ 0 w 107"/>
                  <a:gd name="T25" fmla="*/ 0 h 52"/>
                  <a:gd name="T26" fmla="*/ 0 w 107"/>
                  <a:gd name="T27" fmla="*/ 0 h 52"/>
                  <a:gd name="T28" fmla="*/ 0 w 107"/>
                  <a:gd name="T29" fmla="*/ 0 h 52"/>
                  <a:gd name="T30" fmla="*/ 0 w 107"/>
                  <a:gd name="T31" fmla="*/ 0 h 52"/>
                  <a:gd name="T32" fmla="*/ 0 w 107"/>
                  <a:gd name="T33" fmla="*/ 0 h 52"/>
                  <a:gd name="T34" fmla="*/ 0 w 107"/>
                  <a:gd name="T35" fmla="*/ 0 h 52"/>
                  <a:gd name="T36" fmla="*/ 0 w 107"/>
                  <a:gd name="T37" fmla="*/ 0 h 52"/>
                  <a:gd name="T38" fmla="*/ 0 w 107"/>
                  <a:gd name="T39" fmla="*/ 0 h 52"/>
                  <a:gd name="T40" fmla="*/ 0 w 107"/>
                  <a:gd name="T41" fmla="*/ 0 h 52"/>
                  <a:gd name="T42" fmla="*/ 0 w 107"/>
                  <a:gd name="T43" fmla="*/ 0 h 52"/>
                  <a:gd name="T44" fmla="*/ 0 w 107"/>
                  <a:gd name="T45" fmla="*/ 0 h 52"/>
                  <a:gd name="T46" fmla="*/ 0 w 107"/>
                  <a:gd name="T47" fmla="*/ 0 h 52"/>
                  <a:gd name="T48" fmla="*/ 0 w 107"/>
                  <a:gd name="T49" fmla="*/ 0 h 52"/>
                  <a:gd name="T50" fmla="*/ 0 w 107"/>
                  <a:gd name="T51" fmla="*/ 0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07"/>
                  <a:gd name="T79" fmla="*/ 0 h 52"/>
                  <a:gd name="T80" fmla="*/ 107 w 107"/>
                  <a:gd name="T81" fmla="*/ 52 h 52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64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0 w 246"/>
                  <a:gd name="T1" fmla="*/ 0 h 99"/>
                  <a:gd name="T2" fmla="*/ 0 w 246"/>
                  <a:gd name="T3" fmla="*/ 0 h 99"/>
                  <a:gd name="T4" fmla="*/ 0 w 246"/>
                  <a:gd name="T5" fmla="*/ 0 h 99"/>
                  <a:gd name="T6" fmla="*/ 0 w 246"/>
                  <a:gd name="T7" fmla="*/ 0 h 99"/>
                  <a:gd name="T8" fmla="*/ 0 w 246"/>
                  <a:gd name="T9" fmla="*/ 0 h 99"/>
                  <a:gd name="T10" fmla="*/ 0 w 246"/>
                  <a:gd name="T11" fmla="*/ 0 h 99"/>
                  <a:gd name="T12" fmla="*/ 0 w 246"/>
                  <a:gd name="T13" fmla="*/ 0 h 99"/>
                  <a:gd name="T14" fmla="*/ 0 w 246"/>
                  <a:gd name="T15" fmla="*/ 0 h 99"/>
                  <a:gd name="T16" fmla="*/ 0 w 246"/>
                  <a:gd name="T17" fmla="*/ 0 h 99"/>
                  <a:gd name="T18" fmla="*/ 0 w 246"/>
                  <a:gd name="T19" fmla="*/ 0 h 99"/>
                  <a:gd name="T20" fmla="*/ 0 w 246"/>
                  <a:gd name="T21" fmla="*/ 0 h 99"/>
                  <a:gd name="T22" fmla="*/ 0 w 246"/>
                  <a:gd name="T23" fmla="*/ 0 h 99"/>
                  <a:gd name="T24" fmla="*/ 0 w 246"/>
                  <a:gd name="T25" fmla="*/ 0 h 99"/>
                  <a:gd name="T26" fmla="*/ 0 w 246"/>
                  <a:gd name="T27" fmla="*/ 0 h 99"/>
                  <a:gd name="T28" fmla="*/ 0 w 246"/>
                  <a:gd name="T29" fmla="*/ 0 h 99"/>
                  <a:gd name="T30" fmla="*/ 0 w 246"/>
                  <a:gd name="T31" fmla="*/ 0 h 99"/>
                  <a:gd name="T32" fmla="*/ 0 w 246"/>
                  <a:gd name="T33" fmla="*/ 0 h 99"/>
                  <a:gd name="T34" fmla="*/ 0 w 246"/>
                  <a:gd name="T35" fmla="*/ 0 h 99"/>
                  <a:gd name="T36" fmla="*/ 0 w 246"/>
                  <a:gd name="T37" fmla="*/ 0 h 99"/>
                  <a:gd name="T38" fmla="*/ 0 w 246"/>
                  <a:gd name="T39" fmla="*/ 0 h 99"/>
                  <a:gd name="T40" fmla="*/ 0 w 246"/>
                  <a:gd name="T41" fmla="*/ 0 h 99"/>
                  <a:gd name="T42" fmla="*/ 0 w 246"/>
                  <a:gd name="T43" fmla="*/ 0 h 99"/>
                  <a:gd name="T44" fmla="*/ 0 w 246"/>
                  <a:gd name="T45" fmla="*/ 0 h 99"/>
                  <a:gd name="T46" fmla="*/ 0 w 246"/>
                  <a:gd name="T47" fmla="*/ 0 h 99"/>
                  <a:gd name="T48" fmla="*/ 0 w 246"/>
                  <a:gd name="T49" fmla="*/ 0 h 99"/>
                  <a:gd name="T50" fmla="*/ 0 w 246"/>
                  <a:gd name="T51" fmla="*/ 0 h 99"/>
                  <a:gd name="T52" fmla="*/ 0 w 246"/>
                  <a:gd name="T53" fmla="*/ 0 h 99"/>
                  <a:gd name="T54" fmla="*/ 0 w 246"/>
                  <a:gd name="T55" fmla="*/ 0 h 99"/>
                  <a:gd name="T56" fmla="*/ 0 w 246"/>
                  <a:gd name="T57" fmla="*/ 0 h 99"/>
                  <a:gd name="T58" fmla="*/ 0 w 246"/>
                  <a:gd name="T59" fmla="*/ 0 h 99"/>
                  <a:gd name="T60" fmla="*/ 0 w 246"/>
                  <a:gd name="T61" fmla="*/ 0 h 99"/>
                  <a:gd name="T62" fmla="*/ 0 w 246"/>
                  <a:gd name="T63" fmla="*/ 0 h 99"/>
                  <a:gd name="T64" fmla="*/ 0 w 246"/>
                  <a:gd name="T65" fmla="*/ 0 h 99"/>
                  <a:gd name="T66" fmla="*/ 0 w 246"/>
                  <a:gd name="T67" fmla="*/ 0 h 99"/>
                  <a:gd name="T68" fmla="*/ 0 w 246"/>
                  <a:gd name="T69" fmla="*/ 0 h 99"/>
                  <a:gd name="T70" fmla="*/ 0 w 246"/>
                  <a:gd name="T71" fmla="*/ 0 h 99"/>
                  <a:gd name="T72" fmla="*/ 0 w 246"/>
                  <a:gd name="T73" fmla="*/ 0 h 99"/>
                  <a:gd name="T74" fmla="*/ 0 w 246"/>
                  <a:gd name="T75" fmla="*/ 0 h 99"/>
                  <a:gd name="T76" fmla="*/ 0 w 246"/>
                  <a:gd name="T77" fmla="*/ 0 h 99"/>
                  <a:gd name="T78" fmla="*/ 0 w 246"/>
                  <a:gd name="T79" fmla="*/ 0 h 99"/>
                  <a:gd name="T80" fmla="*/ 0 w 246"/>
                  <a:gd name="T81" fmla="*/ 0 h 99"/>
                  <a:gd name="T82" fmla="*/ 0 w 246"/>
                  <a:gd name="T83" fmla="*/ 0 h 99"/>
                  <a:gd name="T84" fmla="*/ 0 w 246"/>
                  <a:gd name="T85" fmla="*/ 0 h 99"/>
                  <a:gd name="T86" fmla="*/ 0 w 246"/>
                  <a:gd name="T87" fmla="*/ 0 h 99"/>
                  <a:gd name="T88" fmla="*/ 0 w 246"/>
                  <a:gd name="T89" fmla="*/ 0 h 99"/>
                  <a:gd name="T90" fmla="*/ 0 w 246"/>
                  <a:gd name="T91" fmla="*/ 0 h 99"/>
                  <a:gd name="T92" fmla="*/ 0 w 246"/>
                  <a:gd name="T93" fmla="*/ 0 h 99"/>
                  <a:gd name="T94" fmla="*/ 0 w 246"/>
                  <a:gd name="T95" fmla="*/ 0 h 99"/>
                  <a:gd name="T96" fmla="*/ 0 w 246"/>
                  <a:gd name="T97" fmla="*/ 0 h 99"/>
                  <a:gd name="T98" fmla="*/ 0 w 246"/>
                  <a:gd name="T99" fmla="*/ 0 h 99"/>
                  <a:gd name="T100" fmla="*/ 0 w 246"/>
                  <a:gd name="T101" fmla="*/ 0 h 99"/>
                  <a:gd name="T102" fmla="*/ 0 w 246"/>
                  <a:gd name="T103" fmla="*/ 0 h 99"/>
                  <a:gd name="T104" fmla="*/ 0 w 246"/>
                  <a:gd name="T105" fmla="*/ 0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46"/>
                  <a:gd name="T160" fmla="*/ 0 h 99"/>
                  <a:gd name="T161" fmla="*/ 246 w 246"/>
                  <a:gd name="T162" fmla="*/ 99 h 9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65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0 w 233"/>
                  <a:gd name="T1" fmla="*/ 0 h 123"/>
                  <a:gd name="T2" fmla="*/ 0 w 233"/>
                  <a:gd name="T3" fmla="*/ 0 h 123"/>
                  <a:gd name="T4" fmla="*/ 0 w 233"/>
                  <a:gd name="T5" fmla="*/ 0 h 123"/>
                  <a:gd name="T6" fmla="*/ 0 w 233"/>
                  <a:gd name="T7" fmla="*/ 0 h 123"/>
                  <a:gd name="T8" fmla="*/ 0 w 233"/>
                  <a:gd name="T9" fmla="*/ 0 h 123"/>
                  <a:gd name="T10" fmla="*/ 0 w 233"/>
                  <a:gd name="T11" fmla="*/ 0 h 123"/>
                  <a:gd name="T12" fmla="*/ 0 w 233"/>
                  <a:gd name="T13" fmla="*/ 0 h 123"/>
                  <a:gd name="T14" fmla="*/ 0 w 233"/>
                  <a:gd name="T15" fmla="*/ 0 h 123"/>
                  <a:gd name="T16" fmla="*/ 0 w 233"/>
                  <a:gd name="T17" fmla="*/ 0 h 123"/>
                  <a:gd name="T18" fmla="*/ 0 w 233"/>
                  <a:gd name="T19" fmla="*/ 0 h 123"/>
                  <a:gd name="T20" fmla="*/ 0 w 233"/>
                  <a:gd name="T21" fmla="*/ 0 h 123"/>
                  <a:gd name="T22" fmla="*/ 0 w 233"/>
                  <a:gd name="T23" fmla="*/ 0 h 123"/>
                  <a:gd name="T24" fmla="*/ 0 w 233"/>
                  <a:gd name="T25" fmla="*/ 0 h 123"/>
                  <a:gd name="T26" fmla="*/ 0 w 233"/>
                  <a:gd name="T27" fmla="*/ 0 h 123"/>
                  <a:gd name="T28" fmla="*/ 0 w 233"/>
                  <a:gd name="T29" fmla="*/ 0 h 123"/>
                  <a:gd name="T30" fmla="*/ 0 w 233"/>
                  <a:gd name="T31" fmla="*/ 0 h 123"/>
                  <a:gd name="T32" fmla="*/ 0 w 233"/>
                  <a:gd name="T33" fmla="*/ 0 h 123"/>
                  <a:gd name="T34" fmla="*/ 0 w 233"/>
                  <a:gd name="T35" fmla="*/ 0 h 123"/>
                  <a:gd name="T36" fmla="*/ 0 w 233"/>
                  <a:gd name="T37" fmla="*/ 0 h 123"/>
                  <a:gd name="T38" fmla="*/ 0 w 233"/>
                  <a:gd name="T39" fmla="*/ 0 h 123"/>
                  <a:gd name="T40" fmla="*/ 0 w 233"/>
                  <a:gd name="T41" fmla="*/ 0 h 123"/>
                  <a:gd name="T42" fmla="*/ 0 w 233"/>
                  <a:gd name="T43" fmla="*/ 0 h 123"/>
                  <a:gd name="T44" fmla="*/ 0 w 233"/>
                  <a:gd name="T45" fmla="*/ 0 h 123"/>
                  <a:gd name="T46" fmla="*/ 0 w 233"/>
                  <a:gd name="T47" fmla="*/ 0 h 123"/>
                  <a:gd name="T48" fmla="*/ 0 w 233"/>
                  <a:gd name="T49" fmla="*/ 0 h 123"/>
                  <a:gd name="T50" fmla="*/ 0 w 233"/>
                  <a:gd name="T51" fmla="*/ 0 h 123"/>
                  <a:gd name="T52" fmla="*/ 0 w 233"/>
                  <a:gd name="T53" fmla="*/ 0 h 123"/>
                  <a:gd name="T54" fmla="*/ 0 w 233"/>
                  <a:gd name="T55" fmla="*/ 0 h 123"/>
                  <a:gd name="T56" fmla="*/ 0 w 233"/>
                  <a:gd name="T57" fmla="*/ 0 h 123"/>
                  <a:gd name="T58" fmla="*/ 0 w 233"/>
                  <a:gd name="T59" fmla="*/ 0 h 123"/>
                  <a:gd name="T60" fmla="*/ 0 w 233"/>
                  <a:gd name="T61" fmla="*/ 0 h 123"/>
                  <a:gd name="T62" fmla="*/ 0 w 233"/>
                  <a:gd name="T63" fmla="*/ 0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33"/>
                  <a:gd name="T97" fmla="*/ 0 h 123"/>
                  <a:gd name="T98" fmla="*/ 233 w 233"/>
                  <a:gd name="T99" fmla="*/ 123 h 123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66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0 h 172"/>
                  <a:gd name="T2" fmla="*/ 0 w 484"/>
                  <a:gd name="T3" fmla="*/ 0 h 172"/>
                  <a:gd name="T4" fmla="*/ 0 w 484"/>
                  <a:gd name="T5" fmla="*/ 0 h 172"/>
                  <a:gd name="T6" fmla="*/ 0 w 484"/>
                  <a:gd name="T7" fmla="*/ 0 h 172"/>
                  <a:gd name="T8" fmla="*/ 0 w 484"/>
                  <a:gd name="T9" fmla="*/ 0 h 172"/>
                  <a:gd name="T10" fmla="*/ 0 w 484"/>
                  <a:gd name="T11" fmla="*/ 0 h 172"/>
                  <a:gd name="T12" fmla="*/ 0 w 484"/>
                  <a:gd name="T13" fmla="*/ 0 h 172"/>
                  <a:gd name="T14" fmla="*/ 0 w 484"/>
                  <a:gd name="T15" fmla="*/ 0 h 172"/>
                  <a:gd name="T16" fmla="*/ 0 w 484"/>
                  <a:gd name="T17" fmla="*/ 0 h 172"/>
                  <a:gd name="T18" fmla="*/ 0 w 484"/>
                  <a:gd name="T19" fmla="*/ 0 h 172"/>
                  <a:gd name="T20" fmla="*/ 0 w 484"/>
                  <a:gd name="T21" fmla="*/ 0 h 172"/>
                  <a:gd name="T22" fmla="*/ 0 w 484"/>
                  <a:gd name="T23" fmla="*/ 0 h 172"/>
                  <a:gd name="T24" fmla="*/ 0 w 484"/>
                  <a:gd name="T25" fmla="*/ 0 h 172"/>
                  <a:gd name="T26" fmla="*/ 0 w 484"/>
                  <a:gd name="T27" fmla="*/ 0 h 172"/>
                  <a:gd name="T28" fmla="*/ 0 w 484"/>
                  <a:gd name="T29" fmla="*/ 0 h 172"/>
                  <a:gd name="T30" fmla="*/ 0 w 484"/>
                  <a:gd name="T31" fmla="*/ 0 h 172"/>
                  <a:gd name="T32" fmla="*/ 0 w 484"/>
                  <a:gd name="T33" fmla="*/ 0 h 172"/>
                  <a:gd name="T34" fmla="*/ 0 w 484"/>
                  <a:gd name="T35" fmla="*/ 0 h 172"/>
                  <a:gd name="T36" fmla="*/ 0 w 484"/>
                  <a:gd name="T37" fmla="*/ 0 h 172"/>
                  <a:gd name="T38" fmla="*/ 0 w 484"/>
                  <a:gd name="T39" fmla="*/ 0 h 172"/>
                  <a:gd name="T40" fmla="*/ 0 w 484"/>
                  <a:gd name="T41" fmla="*/ 0 h 172"/>
                  <a:gd name="T42" fmla="*/ 0 w 484"/>
                  <a:gd name="T43" fmla="*/ 0 h 172"/>
                  <a:gd name="T44" fmla="*/ 0 w 484"/>
                  <a:gd name="T45" fmla="*/ 0 h 172"/>
                  <a:gd name="T46" fmla="*/ 0 w 484"/>
                  <a:gd name="T47" fmla="*/ 0 h 172"/>
                  <a:gd name="T48" fmla="*/ 0 w 484"/>
                  <a:gd name="T49" fmla="*/ 0 h 172"/>
                  <a:gd name="T50" fmla="*/ 0 w 484"/>
                  <a:gd name="T51" fmla="*/ 0 h 172"/>
                  <a:gd name="T52" fmla="*/ 0 w 484"/>
                  <a:gd name="T53" fmla="*/ 0 h 172"/>
                  <a:gd name="T54" fmla="*/ 0 w 484"/>
                  <a:gd name="T55" fmla="*/ 0 h 172"/>
                  <a:gd name="T56" fmla="*/ 0 w 484"/>
                  <a:gd name="T57" fmla="*/ 0 h 172"/>
                  <a:gd name="T58" fmla="*/ 0 w 484"/>
                  <a:gd name="T59" fmla="*/ 0 h 172"/>
                  <a:gd name="T60" fmla="*/ 0 w 484"/>
                  <a:gd name="T61" fmla="*/ 0 h 172"/>
                  <a:gd name="T62" fmla="*/ 0 w 484"/>
                  <a:gd name="T63" fmla="*/ 0 h 172"/>
                  <a:gd name="T64" fmla="*/ 0 w 484"/>
                  <a:gd name="T65" fmla="*/ 0 h 172"/>
                  <a:gd name="T66" fmla="*/ 0 w 484"/>
                  <a:gd name="T67" fmla="*/ 0 h 172"/>
                  <a:gd name="T68" fmla="*/ 0 w 484"/>
                  <a:gd name="T69" fmla="*/ 0 h 172"/>
                  <a:gd name="T70" fmla="*/ 0 w 484"/>
                  <a:gd name="T71" fmla="*/ 0 h 172"/>
                  <a:gd name="T72" fmla="*/ 0 w 484"/>
                  <a:gd name="T73" fmla="*/ 0 h 172"/>
                  <a:gd name="T74" fmla="*/ 0 w 484"/>
                  <a:gd name="T75" fmla="*/ 0 h 172"/>
                  <a:gd name="T76" fmla="*/ 0 w 484"/>
                  <a:gd name="T77" fmla="*/ 0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484"/>
                  <a:gd name="T118" fmla="*/ 0 h 172"/>
                  <a:gd name="T119" fmla="*/ 484 w 484"/>
                  <a:gd name="T120" fmla="*/ 172 h 172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67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0 w 684"/>
                  <a:gd name="T1" fmla="*/ 0 h 240"/>
                  <a:gd name="T2" fmla="*/ 0 w 684"/>
                  <a:gd name="T3" fmla="*/ 0 h 240"/>
                  <a:gd name="T4" fmla="*/ 0 w 684"/>
                  <a:gd name="T5" fmla="*/ 0 h 240"/>
                  <a:gd name="T6" fmla="*/ 0 w 684"/>
                  <a:gd name="T7" fmla="*/ 0 h 240"/>
                  <a:gd name="T8" fmla="*/ 0 w 684"/>
                  <a:gd name="T9" fmla="*/ 0 h 240"/>
                  <a:gd name="T10" fmla="*/ 0 w 684"/>
                  <a:gd name="T11" fmla="*/ 0 h 240"/>
                  <a:gd name="T12" fmla="*/ 0 w 684"/>
                  <a:gd name="T13" fmla="*/ 0 h 240"/>
                  <a:gd name="T14" fmla="*/ 0 w 684"/>
                  <a:gd name="T15" fmla="*/ 0 h 240"/>
                  <a:gd name="T16" fmla="*/ 0 w 684"/>
                  <a:gd name="T17" fmla="*/ 0 h 240"/>
                  <a:gd name="T18" fmla="*/ 0 w 684"/>
                  <a:gd name="T19" fmla="*/ 0 h 240"/>
                  <a:gd name="T20" fmla="*/ 0 w 684"/>
                  <a:gd name="T21" fmla="*/ 0 h 240"/>
                  <a:gd name="T22" fmla="*/ 0 w 684"/>
                  <a:gd name="T23" fmla="*/ 0 h 240"/>
                  <a:gd name="T24" fmla="*/ 0 w 684"/>
                  <a:gd name="T25" fmla="*/ 0 h 240"/>
                  <a:gd name="T26" fmla="*/ 0 w 684"/>
                  <a:gd name="T27" fmla="*/ 0 h 240"/>
                  <a:gd name="T28" fmla="*/ 0 w 684"/>
                  <a:gd name="T29" fmla="*/ 0 h 240"/>
                  <a:gd name="T30" fmla="*/ 0 w 684"/>
                  <a:gd name="T31" fmla="*/ 0 h 240"/>
                  <a:gd name="T32" fmla="*/ 0 w 684"/>
                  <a:gd name="T33" fmla="*/ 0 h 240"/>
                  <a:gd name="T34" fmla="*/ 0 w 684"/>
                  <a:gd name="T35" fmla="*/ 0 h 240"/>
                  <a:gd name="T36" fmla="*/ 0 w 684"/>
                  <a:gd name="T37" fmla="*/ 0 h 240"/>
                  <a:gd name="T38" fmla="*/ 0 w 684"/>
                  <a:gd name="T39" fmla="*/ 0 h 240"/>
                  <a:gd name="T40" fmla="*/ 0 w 684"/>
                  <a:gd name="T41" fmla="*/ 0 h 240"/>
                  <a:gd name="T42" fmla="*/ 0 w 684"/>
                  <a:gd name="T43" fmla="*/ 0 h 240"/>
                  <a:gd name="T44" fmla="*/ 0 w 684"/>
                  <a:gd name="T45" fmla="*/ 0 h 240"/>
                  <a:gd name="T46" fmla="*/ 0 w 684"/>
                  <a:gd name="T47" fmla="*/ 0 h 240"/>
                  <a:gd name="T48" fmla="*/ 0 w 684"/>
                  <a:gd name="T49" fmla="*/ 0 h 240"/>
                  <a:gd name="T50" fmla="*/ 0 w 684"/>
                  <a:gd name="T51" fmla="*/ 0 h 240"/>
                  <a:gd name="T52" fmla="*/ 0 w 684"/>
                  <a:gd name="T53" fmla="*/ 0 h 240"/>
                  <a:gd name="T54" fmla="*/ 0 w 684"/>
                  <a:gd name="T55" fmla="*/ 0 h 240"/>
                  <a:gd name="T56" fmla="*/ 0 w 684"/>
                  <a:gd name="T57" fmla="*/ 0 h 240"/>
                  <a:gd name="T58" fmla="*/ 0 w 684"/>
                  <a:gd name="T59" fmla="*/ 0 h 240"/>
                  <a:gd name="T60" fmla="*/ 0 w 684"/>
                  <a:gd name="T61" fmla="*/ 0 h 240"/>
                  <a:gd name="T62" fmla="*/ 0 w 684"/>
                  <a:gd name="T63" fmla="*/ 0 h 240"/>
                  <a:gd name="T64" fmla="*/ 0 w 684"/>
                  <a:gd name="T65" fmla="*/ 0 h 240"/>
                  <a:gd name="T66" fmla="*/ 0 w 684"/>
                  <a:gd name="T67" fmla="*/ 0 h 240"/>
                  <a:gd name="T68" fmla="*/ 0 w 684"/>
                  <a:gd name="T69" fmla="*/ 0 h 240"/>
                  <a:gd name="T70" fmla="*/ 0 w 684"/>
                  <a:gd name="T71" fmla="*/ 0 h 240"/>
                  <a:gd name="T72" fmla="*/ 0 w 684"/>
                  <a:gd name="T73" fmla="*/ 0 h 240"/>
                  <a:gd name="T74" fmla="*/ 0 w 684"/>
                  <a:gd name="T75" fmla="*/ 0 h 240"/>
                  <a:gd name="T76" fmla="*/ 0 w 684"/>
                  <a:gd name="T77" fmla="*/ 0 h 240"/>
                  <a:gd name="T78" fmla="*/ 0 w 684"/>
                  <a:gd name="T79" fmla="*/ 0 h 240"/>
                  <a:gd name="T80" fmla="*/ 0 w 684"/>
                  <a:gd name="T81" fmla="*/ 0 h 240"/>
                  <a:gd name="T82" fmla="*/ 0 w 684"/>
                  <a:gd name="T83" fmla="*/ 0 h 240"/>
                  <a:gd name="T84" fmla="*/ 0 w 684"/>
                  <a:gd name="T85" fmla="*/ 0 h 240"/>
                  <a:gd name="T86" fmla="*/ 0 w 684"/>
                  <a:gd name="T87" fmla="*/ 0 h 240"/>
                  <a:gd name="T88" fmla="*/ 0 w 684"/>
                  <a:gd name="T89" fmla="*/ 0 h 240"/>
                  <a:gd name="T90" fmla="*/ 0 w 684"/>
                  <a:gd name="T91" fmla="*/ 0 h 240"/>
                  <a:gd name="T92" fmla="*/ 0 w 684"/>
                  <a:gd name="T93" fmla="*/ 0 h 240"/>
                  <a:gd name="T94" fmla="*/ 0 w 684"/>
                  <a:gd name="T95" fmla="*/ 0 h 240"/>
                  <a:gd name="T96" fmla="*/ 0 w 684"/>
                  <a:gd name="T97" fmla="*/ 0 h 240"/>
                  <a:gd name="T98" fmla="*/ 0 w 684"/>
                  <a:gd name="T99" fmla="*/ 0 h 240"/>
                  <a:gd name="T100" fmla="*/ 0 w 684"/>
                  <a:gd name="T101" fmla="*/ 0 h 240"/>
                  <a:gd name="T102" fmla="*/ 0 w 684"/>
                  <a:gd name="T103" fmla="*/ 0 h 240"/>
                  <a:gd name="T104" fmla="*/ 0 w 684"/>
                  <a:gd name="T105" fmla="*/ 0 h 240"/>
                  <a:gd name="T106" fmla="*/ 0 w 684"/>
                  <a:gd name="T107" fmla="*/ 0 h 240"/>
                  <a:gd name="T108" fmla="*/ 0 w 684"/>
                  <a:gd name="T109" fmla="*/ 0 h 240"/>
                  <a:gd name="T110" fmla="*/ 0 w 684"/>
                  <a:gd name="T111" fmla="*/ 0 h 240"/>
                  <a:gd name="T112" fmla="*/ 0 w 684"/>
                  <a:gd name="T113" fmla="*/ 0 h 240"/>
                  <a:gd name="T114" fmla="*/ 0 w 684"/>
                  <a:gd name="T115" fmla="*/ 0 h 240"/>
                  <a:gd name="T116" fmla="*/ 0 w 684"/>
                  <a:gd name="T117" fmla="*/ 0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684"/>
                  <a:gd name="T178" fmla="*/ 0 h 240"/>
                  <a:gd name="T179" fmla="*/ 684 w 684"/>
                  <a:gd name="T180" fmla="*/ 240 h 240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68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0 w 332"/>
                  <a:gd name="T1" fmla="*/ 0 h 287"/>
                  <a:gd name="T2" fmla="*/ 0 w 332"/>
                  <a:gd name="T3" fmla="*/ 0 h 287"/>
                  <a:gd name="T4" fmla="*/ 0 w 332"/>
                  <a:gd name="T5" fmla="*/ 0 h 287"/>
                  <a:gd name="T6" fmla="*/ 0 w 332"/>
                  <a:gd name="T7" fmla="*/ 0 h 287"/>
                  <a:gd name="T8" fmla="*/ 0 w 332"/>
                  <a:gd name="T9" fmla="*/ 0 h 287"/>
                  <a:gd name="T10" fmla="*/ 0 w 332"/>
                  <a:gd name="T11" fmla="*/ 0 h 287"/>
                  <a:gd name="T12" fmla="*/ 0 w 332"/>
                  <a:gd name="T13" fmla="*/ 0 h 287"/>
                  <a:gd name="T14" fmla="*/ 0 w 332"/>
                  <a:gd name="T15" fmla="*/ 0 h 287"/>
                  <a:gd name="T16" fmla="*/ 0 w 332"/>
                  <a:gd name="T17" fmla="*/ 0 h 287"/>
                  <a:gd name="T18" fmla="*/ 0 w 332"/>
                  <a:gd name="T19" fmla="*/ 0 h 287"/>
                  <a:gd name="T20" fmla="*/ 0 w 332"/>
                  <a:gd name="T21" fmla="*/ 0 h 287"/>
                  <a:gd name="T22" fmla="*/ 0 w 332"/>
                  <a:gd name="T23" fmla="*/ 0 h 287"/>
                  <a:gd name="T24" fmla="*/ 0 w 332"/>
                  <a:gd name="T25" fmla="*/ 0 h 287"/>
                  <a:gd name="T26" fmla="*/ 0 w 332"/>
                  <a:gd name="T27" fmla="*/ 0 h 287"/>
                  <a:gd name="T28" fmla="*/ 0 w 332"/>
                  <a:gd name="T29" fmla="*/ 0 h 287"/>
                  <a:gd name="T30" fmla="*/ 0 w 332"/>
                  <a:gd name="T31" fmla="*/ 0 h 287"/>
                  <a:gd name="T32" fmla="*/ 0 w 332"/>
                  <a:gd name="T33" fmla="*/ 0 h 287"/>
                  <a:gd name="T34" fmla="*/ 0 w 332"/>
                  <a:gd name="T35" fmla="*/ 0 h 287"/>
                  <a:gd name="T36" fmla="*/ 0 w 332"/>
                  <a:gd name="T37" fmla="*/ 0 h 287"/>
                  <a:gd name="T38" fmla="*/ 0 w 332"/>
                  <a:gd name="T39" fmla="*/ 0 h 287"/>
                  <a:gd name="T40" fmla="*/ 0 w 332"/>
                  <a:gd name="T41" fmla="*/ 0 h 287"/>
                  <a:gd name="T42" fmla="*/ 0 w 332"/>
                  <a:gd name="T43" fmla="*/ 0 h 287"/>
                  <a:gd name="T44" fmla="*/ 0 w 332"/>
                  <a:gd name="T45" fmla="*/ 0 h 287"/>
                  <a:gd name="T46" fmla="*/ 0 w 332"/>
                  <a:gd name="T47" fmla="*/ 0 h 287"/>
                  <a:gd name="T48" fmla="*/ 0 w 332"/>
                  <a:gd name="T49" fmla="*/ 0 h 287"/>
                  <a:gd name="T50" fmla="*/ 0 w 332"/>
                  <a:gd name="T51" fmla="*/ 0 h 287"/>
                  <a:gd name="T52" fmla="*/ 0 w 332"/>
                  <a:gd name="T53" fmla="*/ 0 h 287"/>
                  <a:gd name="T54" fmla="*/ 0 w 332"/>
                  <a:gd name="T55" fmla="*/ 0 h 287"/>
                  <a:gd name="T56" fmla="*/ 0 w 332"/>
                  <a:gd name="T57" fmla="*/ 0 h 287"/>
                  <a:gd name="T58" fmla="*/ 0 w 332"/>
                  <a:gd name="T59" fmla="*/ 0 h 287"/>
                  <a:gd name="T60" fmla="*/ 0 w 332"/>
                  <a:gd name="T61" fmla="*/ 0 h 287"/>
                  <a:gd name="T62" fmla="*/ 0 w 332"/>
                  <a:gd name="T63" fmla="*/ 0 h 287"/>
                  <a:gd name="T64" fmla="*/ 0 w 332"/>
                  <a:gd name="T65" fmla="*/ 0 h 287"/>
                  <a:gd name="T66" fmla="*/ 0 w 332"/>
                  <a:gd name="T67" fmla="*/ 0 h 287"/>
                  <a:gd name="T68" fmla="*/ 0 w 332"/>
                  <a:gd name="T69" fmla="*/ 0 h 287"/>
                  <a:gd name="T70" fmla="*/ 0 w 332"/>
                  <a:gd name="T71" fmla="*/ 0 h 287"/>
                  <a:gd name="T72" fmla="*/ 0 w 332"/>
                  <a:gd name="T73" fmla="*/ 0 h 287"/>
                  <a:gd name="T74" fmla="*/ 0 w 332"/>
                  <a:gd name="T75" fmla="*/ 0 h 287"/>
                  <a:gd name="T76" fmla="*/ 0 w 332"/>
                  <a:gd name="T77" fmla="*/ 0 h 287"/>
                  <a:gd name="T78" fmla="*/ 0 w 332"/>
                  <a:gd name="T79" fmla="*/ 0 h 287"/>
                  <a:gd name="T80" fmla="*/ 0 w 332"/>
                  <a:gd name="T81" fmla="*/ 0 h 287"/>
                  <a:gd name="T82" fmla="*/ 0 w 332"/>
                  <a:gd name="T83" fmla="*/ 0 h 287"/>
                  <a:gd name="T84" fmla="*/ 0 w 332"/>
                  <a:gd name="T85" fmla="*/ 0 h 287"/>
                  <a:gd name="T86" fmla="*/ 0 w 332"/>
                  <a:gd name="T87" fmla="*/ 0 h 287"/>
                  <a:gd name="T88" fmla="*/ 0 w 332"/>
                  <a:gd name="T89" fmla="*/ 0 h 287"/>
                  <a:gd name="T90" fmla="*/ 0 w 332"/>
                  <a:gd name="T91" fmla="*/ 0 h 287"/>
                  <a:gd name="T92" fmla="*/ 0 w 332"/>
                  <a:gd name="T93" fmla="*/ 0 h 287"/>
                  <a:gd name="T94" fmla="*/ 0 w 332"/>
                  <a:gd name="T95" fmla="*/ 0 h 287"/>
                  <a:gd name="T96" fmla="*/ 0 w 332"/>
                  <a:gd name="T97" fmla="*/ 0 h 287"/>
                  <a:gd name="T98" fmla="*/ 0 w 332"/>
                  <a:gd name="T99" fmla="*/ 0 h 287"/>
                  <a:gd name="T100" fmla="*/ 0 w 332"/>
                  <a:gd name="T101" fmla="*/ 0 h 287"/>
                  <a:gd name="T102" fmla="*/ 0 w 332"/>
                  <a:gd name="T103" fmla="*/ 0 h 287"/>
                  <a:gd name="T104" fmla="*/ 0 w 332"/>
                  <a:gd name="T105" fmla="*/ 0 h 287"/>
                  <a:gd name="T106" fmla="*/ 0 w 332"/>
                  <a:gd name="T107" fmla="*/ 0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332"/>
                  <a:gd name="T163" fmla="*/ 0 h 287"/>
                  <a:gd name="T164" fmla="*/ 332 w 332"/>
                  <a:gd name="T165" fmla="*/ 287 h 287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69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0 w 345"/>
                  <a:gd name="T1" fmla="*/ 0 h 86"/>
                  <a:gd name="T2" fmla="*/ 0 w 345"/>
                  <a:gd name="T3" fmla="*/ 0 h 86"/>
                  <a:gd name="T4" fmla="*/ 0 w 345"/>
                  <a:gd name="T5" fmla="*/ 0 h 86"/>
                  <a:gd name="T6" fmla="*/ 0 w 345"/>
                  <a:gd name="T7" fmla="*/ 0 h 86"/>
                  <a:gd name="T8" fmla="*/ 0 w 345"/>
                  <a:gd name="T9" fmla="*/ 0 h 86"/>
                  <a:gd name="T10" fmla="*/ 0 w 345"/>
                  <a:gd name="T11" fmla="*/ 0 h 86"/>
                  <a:gd name="T12" fmla="*/ 0 w 345"/>
                  <a:gd name="T13" fmla="*/ 0 h 86"/>
                  <a:gd name="T14" fmla="*/ 0 w 345"/>
                  <a:gd name="T15" fmla="*/ 0 h 86"/>
                  <a:gd name="T16" fmla="*/ 0 w 345"/>
                  <a:gd name="T17" fmla="*/ 0 h 86"/>
                  <a:gd name="T18" fmla="*/ 0 w 345"/>
                  <a:gd name="T19" fmla="*/ 0 h 86"/>
                  <a:gd name="T20" fmla="*/ 0 w 345"/>
                  <a:gd name="T21" fmla="*/ 0 h 86"/>
                  <a:gd name="T22" fmla="*/ 0 w 345"/>
                  <a:gd name="T23" fmla="*/ 0 h 86"/>
                  <a:gd name="T24" fmla="*/ 0 w 345"/>
                  <a:gd name="T25" fmla="*/ 0 h 86"/>
                  <a:gd name="T26" fmla="*/ 0 w 345"/>
                  <a:gd name="T27" fmla="*/ 0 h 86"/>
                  <a:gd name="T28" fmla="*/ 0 w 345"/>
                  <a:gd name="T29" fmla="*/ 0 h 86"/>
                  <a:gd name="T30" fmla="*/ 0 w 345"/>
                  <a:gd name="T31" fmla="*/ 0 h 86"/>
                  <a:gd name="T32" fmla="*/ 0 w 345"/>
                  <a:gd name="T33" fmla="*/ 0 h 86"/>
                  <a:gd name="T34" fmla="*/ 0 w 345"/>
                  <a:gd name="T35" fmla="*/ 0 h 86"/>
                  <a:gd name="T36" fmla="*/ 0 w 345"/>
                  <a:gd name="T37" fmla="*/ 0 h 86"/>
                  <a:gd name="T38" fmla="*/ 0 w 345"/>
                  <a:gd name="T39" fmla="*/ 0 h 86"/>
                  <a:gd name="T40" fmla="*/ 0 w 345"/>
                  <a:gd name="T41" fmla="*/ 0 h 86"/>
                  <a:gd name="T42" fmla="*/ 0 w 345"/>
                  <a:gd name="T43" fmla="*/ 0 h 86"/>
                  <a:gd name="T44" fmla="*/ 0 w 345"/>
                  <a:gd name="T45" fmla="*/ 0 h 86"/>
                  <a:gd name="T46" fmla="*/ 0 w 345"/>
                  <a:gd name="T47" fmla="*/ 0 h 86"/>
                  <a:gd name="T48" fmla="*/ 0 w 345"/>
                  <a:gd name="T49" fmla="*/ 0 h 86"/>
                  <a:gd name="T50" fmla="*/ 0 w 345"/>
                  <a:gd name="T51" fmla="*/ 0 h 86"/>
                  <a:gd name="T52" fmla="*/ 0 w 345"/>
                  <a:gd name="T53" fmla="*/ 0 h 86"/>
                  <a:gd name="T54" fmla="*/ 0 w 345"/>
                  <a:gd name="T55" fmla="*/ 0 h 86"/>
                  <a:gd name="T56" fmla="*/ 0 w 345"/>
                  <a:gd name="T57" fmla="*/ 0 h 86"/>
                  <a:gd name="T58" fmla="*/ 0 w 345"/>
                  <a:gd name="T59" fmla="*/ 0 h 86"/>
                  <a:gd name="T60" fmla="*/ 0 w 345"/>
                  <a:gd name="T61" fmla="*/ 0 h 86"/>
                  <a:gd name="T62" fmla="*/ 0 w 345"/>
                  <a:gd name="T63" fmla="*/ 0 h 86"/>
                  <a:gd name="T64" fmla="*/ 0 w 345"/>
                  <a:gd name="T65" fmla="*/ 0 h 86"/>
                  <a:gd name="T66" fmla="*/ 0 w 345"/>
                  <a:gd name="T67" fmla="*/ 0 h 86"/>
                  <a:gd name="T68" fmla="*/ 0 w 345"/>
                  <a:gd name="T69" fmla="*/ 0 h 86"/>
                  <a:gd name="T70" fmla="*/ 0 w 345"/>
                  <a:gd name="T71" fmla="*/ 0 h 86"/>
                  <a:gd name="T72" fmla="*/ 0 w 345"/>
                  <a:gd name="T73" fmla="*/ 0 h 86"/>
                  <a:gd name="T74" fmla="*/ 0 w 345"/>
                  <a:gd name="T75" fmla="*/ 0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45"/>
                  <a:gd name="T115" fmla="*/ 0 h 86"/>
                  <a:gd name="T116" fmla="*/ 345 w 345"/>
                  <a:gd name="T117" fmla="*/ 86 h 8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70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0 w 464"/>
                  <a:gd name="T1" fmla="*/ 0 h 130"/>
                  <a:gd name="T2" fmla="*/ 0 w 464"/>
                  <a:gd name="T3" fmla="*/ 0 h 130"/>
                  <a:gd name="T4" fmla="*/ 0 w 464"/>
                  <a:gd name="T5" fmla="*/ 0 h 130"/>
                  <a:gd name="T6" fmla="*/ 0 w 464"/>
                  <a:gd name="T7" fmla="*/ 0 h 130"/>
                  <a:gd name="T8" fmla="*/ 0 w 464"/>
                  <a:gd name="T9" fmla="*/ 0 h 130"/>
                  <a:gd name="T10" fmla="*/ 0 w 464"/>
                  <a:gd name="T11" fmla="*/ 0 h 130"/>
                  <a:gd name="T12" fmla="*/ 0 w 464"/>
                  <a:gd name="T13" fmla="*/ 0 h 130"/>
                  <a:gd name="T14" fmla="*/ 0 w 464"/>
                  <a:gd name="T15" fmla="*/ 0 h 130"/>
                  <a:gd name="T16" fmla="*/ 0 w 464"/>
                  <a:gd name="T17" fmla="*/ 0 h 130"/>
                  <a:gd name="T18" fmla="*/ 0 w 464"/>
                  <a:gd name="T19" fmla="*/ 0 h 130"/>
                  <a:gd name="T20" fmla="*/ 0 w 464"/>
                  <a:gd name="T21" fmla="*/ 0 h 130"/>
                  <a:gd name="T22" fmla="*/ 0 w 464"/>
                  <a:gd name="T23" fmla="*/ 0 h 130"/>
                  <a:gd name="T24" fmla="*/ 0 w 464"/>
                  <a:gd name="T25" fmla="*/ 0 h 130"/>
                  <a:gd name="T26" fmla="*/ 0 w 464"/>
                  <a:gd name="T27" fmla="*/ 0 h 130"/>
                  <a:gd name="T28" fmla="*/ 0 w 464"/>
                  <a:gd name="T29" fmla="*/ 0 h 130"/>
                  <a:gd name="T30" fmla="*/ 0 w 464"/>
                  <a:gd name="T31" fmla="*/ 0 h 130"/>
                  <a:gd name="T32" fmla="*/ 0 w 464"/>
                  <a:gd name="T33" fmla="*/ 0 h 130"/>
                  <a:gd name="T34" fmla="*/ 0 w 464"/>
                  <a:gd name="T35" fmla="*/ 0 h 130"/>
                  <a:gd name="T36" fmla="*/ 0 w 464"/>
                  <a:gd name="T37" fmla="*/ 0 h 130"/>
                  <a:gd name="T38" fmla="*/ 0 w 464"/>
                  <a:gd name="T39" fmla="*/ 0 h 130"/>
                  <a:gd name="T40" fmla="*/ 0 w 464"/>
                  <a:gd name="T41" fmla="*/ 0 h 130"/>
                  <a:gd name="T42" fmla="*/ 0 w 464"/>
                  <a:gd name="T43" fmla="*/ 0 h 130"/>
                  <a:gd name="T44" fmla="*/ 0 w 464"/>
                  <a:gd name="T45" fmla="*/ 0 h 130"/>
                  <a:gd name="T46" fmla="*/ 0 w 464"/>
                  <a:gd name="T47" fmla="*/ 0 h 130"/>
                  <a:gd name="T48" fmla="*/ 0 w 464"/>
                  <a:gd name="T49" fmla="*/ 0 h 130"/>
                  <a:gd name="T50" fmla="*/ 0 w 464"/>
                  <a:gd name="T51" fmla="*/ 0 h 130"/>
                  <a:gd name="T52" fmla="*/ 0 w 464"/>
                  <a:gd name="T53" fmla="*/ 0 h 130"/>
                  <a:gd name="T54" fmla="*/ 0 w 464"/>
                  <a:gd name="T55" fmla="*/ 0 h 130"/>
                  <a:gd name="T56" fmla="*/ 0 w 464"/>
                  <a:gd name="T57" fmla="*/ 0 h 130"/>
                  <a:gd name="T58" fmla="*/ 0 w 464"/>
                  <a:gd name="T59" fmla="*/ 0 h 130"/>
                  <a:gd name="T60" fmla="*/ 0 w 464"/>
                  <a:gd name="T61" fmla="*/ 0 h 130"/>
                  <a:gd name="T62" fmla="*/ 0 w 464"/>
                  <a:gd name="T63" fmla="*/ 0 h 130"/>
                  <a:gd name="T64" fmla="*/ 0 w 464"/>
                  <a:gd name="T65" fmla="*/ 0 h 130"/>
                  <a:gd name="T66" fmla="*/ 0 w 464"/>
                  <a:gd name="T67" fmla="*/ 0 h 130"/>
                  <a:gd name="T68" fmla="*/ 0 w 464"/>
                  <a:gd name="T69" fmla="*/ 0 h 130"/>
                  <a:gd name="T70" fmla="*/ 0 w 464"/>
                  <a:gd name="T71" fmla="*/ 0 h 130"/>
                  <a:gd name="T72" fmla="*/ 0 w 464"/>
                  <a:gd name="T73" fmla="*/ 0 h 130"/>
                  <a:gd name="T74" fmla="*/ 0 w 464"/>
                  <a:gd name="T75" fmla="*/ 0 h 130"/>
                  <a:gd name="T76" fmla="*/ 0 w 464"/>
                  <a:gd name="T77" fmla="*/ 0 h 130"/>
                  <a:gd name="T78" fmla="*/ 0 w 464"/>
                  <a:gd name="T79" fmla="*/ 0 h 130"/>
                  <a:gd name="T80" fmla="*/ 0 w 464"/>
                  <a:gd name="T81" fmla="*/ 0 h 130"/>
                  <a:gd name="T82" fmla="*/ 0 w 464"/>
                  <a:gd name="T83" fmla="*/ 0 h 130"/>
                  <a:gd name="T84" fmla="*/ 0 w 464"/>
                  <a:gd name="T85" fmla="*/ 0 h 130"/>
                  <a:gd name="T86" fmla="*/ 0 w 464"/>
                  <a:gd name="T87" fmla="*/ 0 h 130"/>
                  <a:gd name="T88" fmla="*/ 0 w 464"/>
                  <a:gd name="T89" fmla="*/ 0 h 130"/>
                  <a:gd name="T90" fmla="*/ 0 w 464"/>
                  <a:gd name="T91" fmla="*/ 0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464"/>
                  <a:gd name="T139" fmla="*/ 0 h 130"/>
                  <a:gd name="T140" fmla="*/ 464 w 464"/>
                  <a:gd name="T141" fmla="*/ 130 h 130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71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0 w 472"/>
                  <a:gd name="T1" fmla="*/ 0 h 92"/>
                  <a:gd name="T2" fmla="*/ 0 w 472"/>
                  <a:gd name="T3" fmla="*/ 0 h 92"/>
                  <a:gd name="T4" fmla="*/ 0 w 472"/>
                  <a:gd name="T5" fmla="*/ 0 h 92"/>
                  <a:gd name="T6" fmla="*/ 0 w 472"/>
                  <a:gd name="T7" fmla="*/ 0 h 92"/>
                  <a:gd name="T8" fmla="*/ 0 w 472"/>
                  <a:gd name="T9" fmla="*/ 0 h 92"/>
                  <a:gd name="T10" fmla="*/ 0 w 472"/>
                  <a:gd name="T11" fmla="*/ 0 h 92"/>
                  <a:gd name="T12" fmla="*/ 0 w 472"/>
                  <a:gd name="T13" fmla="*/ 0 h 92"/>
                  <a:gd name="T14" fmla="*/ 0 w 472"/>
                  <a:gd name="T15" fmla="*/ 0 h 92"/>
                  <a:gd name="T16" fmla="*/ 0 w 472"/>
                  <a:gd name="T17" fmla="*/ 0 h 92"/>
                  <a:gd name="T18" fmla="*/ 0 w 472"/>
                  <a:gd name="T19" fmla="*/ 0 h 92"/>
                  <a:gd name="T20" fmla="*/ 0 w 472"/>
                  <a:gd name="T21" fmla="*/ 0 h 92"/>
                  <a:gd name="T22" fmla="*/ 0 w 472"/>
                  <a:gd name="T23" fmla="*/ 0 h 92"/>
                  <a:gd name="T24" fmla="*/ 0 w 472"/>
                  <a:gd name="T25" fmla="*/ 0 h 92"/>
                  <a:gd name="T26" fmla="*/ 0 w 472"/>
                  <a:gd name="T27" fmla="*/ 0 h 92"/>
                  <a:gd name="T28" fmla="*/ 0 w 472"/>
                  <a:gd name="T29" fmla="*/ 0 h 92"/>
                  <a:gd name="T30" fmla="*/ 0 w 472"/>
                  <a:gd name="T31" fmla="*/ 0 h 92"/>
                  <a:gd name="T32" fmla="*/ 0 w 472"/>
                  <a:gd name="T33" fmla="*/ 0 h 92"/>
                  <a:gd name="T34" fmla="*/ 0 w 472"/>
                  <a:gd name="T35" fmla="*/ 0 h 92"/>
                  <a:gd name="T36" fmla="*/ 0 w 472"/>
                  <a:gd name="T37" fmla="*/ 0 h 92"/>
                  <a:gd name="T38" fmla="*/ 0 w 472"/>
                  <a:gd name="T39" fmla="*/ 0 h 92"/>
                  <a:gd name="T40" fmla="*/ 0 w 472"/>
                  <a:gd name="T41" fmla="*/ 0 h 92"/>
                  <a:gd name="T42" fmla="*/ 0 w 472"/>
                  <a:gd name="T43" fmla="*/ 0 h 92"/>
                  <a:gd name="T44" fmla="*/ 0 w 472"/>
                  <a:gd name="T45" fmla="*/ 0 h 92"/>
                  <a:gd name="T46" fmla="*/ 0 w 472"/>
                  <a:gd name="T47" fmla="*/ 0 h 92"/>
                  <a:gd name="T48" fmla="*/ 0 w 472"/>
                  <a:gd name="T49" fmla="*/ 0 h 92"/>
                  <a:gd name="T50" fmla="*/ 0 w 472"/>
                  <a:gd name="T51" fmla="*/ 0 h 92"/>
                  <a:gd name="T52" fmla="*/ 0 w 472"/>
                  <a:gd name="T53" fmla="*/ 0 h 92"/>
                  <a:gd name="T54" fmla="*/ 0 w 472"/>
                  <a:gd name="T55" fmla="*/ 0 h 92"/>
                  <a:gd name="T56" fmla="*/ 0 w 472"/>
                  <a:gd name="T57" fmla="*/ 0 h 92"/>
                  <a:gd name="T58" fmla="*/ 0 w 472"/>
                  <a:gd name="T59" fmla="*/ 0 h 92"/>
                  <a:gd name="T60" fmla="*/ 0 w 472"/>
                  <a:gd name="T61" fmla="*/ 0 h 92"/>
                  <a:gd name="T62" fmla="*/ 0 w 472"/>
                  <a:gd name="T63" fmla="*/ 0 h 92"/>
                  <a:gd name="T64" fmla="*/ 0 w 472"/>
                  <a:gd name="T65" fmla="*/ 0 h 92"/>
                  <a:gd name="T66" fmla="*/ 0 w 472"/>
                  <a:gd name="T67" fmla="*/ 0 h 92"/>
                  <a:gd name="T68" fmla="*/ 0 w 472"/>
                  <a:gd name="T69" fmla="*/ 0 h 92"/>
                  <a:gd name="T70" fmla="*/ 0 w 472"/>
                  <a:gd name="T71" fmla="*/ 0 h 92"/>
                  <a:gd name="T72" fmla="*/ 0 w 472"/>
                  <a:gd name="T73" fmla="*/ 0 h 92"/>
                  <a:gd name="T74" fmla="*/ 0 w 472"/>
                  <a:gd name="T75" fmla="*/ 0 h 92"/>
                  <a:gd name="T76" fmla="*/ 0 w 472"/>
                  <a:gd name="T77" fmla="*/ 0 h 92"/>
                  <a:gd name="T78" fmla="*/ 0 w 472"/>
                  <a:gd name="T79" fmla="*/ 0 h 92"/>
                  <a:gd name="T80" fmla="*/ 0 w 472"/>
                  <a:gd name="T81" fmla="*/ 0 h 92"/>
                  <a:gd name="T82" fmla="*/ 0 w 472"/>
                  <a:gd name="T83" fmla="*/ 0 h 92"/>
                  <a:gd name="T84" fmla="*/ 0 w 472"/>
                  <a:gd name="T85" fmla="*/ 0 h 92"/>
                  <a:gd name="T86" fmla="*/ 0 w 472"/>
                  <a:gd name="T87" fmla="*/ 0 h 92"/>
                  <a:gd name="T88" fmla="*/ 0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472"/>
                  <a:gd name="T136" fmla="*/ 0 h 92"/>
                  <a:gd name="T137" fmla="*/ 472 w 472"/>
                  <a:gd name="T138" fmla="*/ 92 h 92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72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0 w 326"/>
                  <a:gd name="T1" fmla="*/ 0 h 135"/>
                  <a:gd name="T2" fmla="*/ 0 w 326"/>
                  <a:gd name="T3" fmla="*/ 0 h 135"/>
                  <a:gd name="T4" fmla="*/ 0 w 326"/>
                  <a:gd name="T5" fmla="*/ 0 h 135"/>
                  <a:gd name="T6" fmla="*/ 0 w 326"/>
                  <a:gd name="T7" fmla="*/ 0 h 135"/>
                  <a:gd name="T8" fmla="*/ 0 w 326"/>
                  <a:gd name="T9" fmla="*/ 0 h 135"/>
                  <a:gd name="T10" fmla="*/ 0 w 326"/>
                  <a:gd name="T11" fmla="*/ 0 h 135"/>
                  <a:gd name="T12" fmla="*/ 0 w 326"/>
                  <a:gd name="T13" fmla="*/ 0 h 135"/>
                  <a:gd name="T14" fmla="*/ 0 w 326"/>
                  <a:gd name="T15" fmla="*/ 0 h 135"/>
                  <a:gd name="T16" fmla="*/ 0 w 326"/>
                  <a:gd name="T17" fmla="*/ 0 h 135"/>
                  <a:gd name="T18" fmla="*/ 0 w 326"/>
                  <a:gd name="T19" fmla="*/ 0 h 135"/>
                  <a:gd name="T20" fmla="*/ 0 w 326"/>
                  <a:gd name="T21" fmla="*/ 0 h 135"/>
                  <a:gd name="T22" fmla="*/ 0 w 326"/>
                  <a:gd name="T23" fmla="*/ 0 h 135"/>
                  <a:gd name="T24" fmla="*/ 0 w 326"/>
                  <a:gd name="T25" fmla="*/ 0 h 135"/>
                  <a:gd name="T26" fmla="*/ 0 w 326"/>
                  <a:gd name="T27" fmla="*/ 0 h 135"/>
                  <a:gd name="T28" fmla="*/ 0 w 326"/>
                  <a:gd name="T29" fmla="*/ 0 h 135"/>
                  <a:gd name="T30" fmla="*/ 0 w 326"/>
                  <a:gd name="T31" fmla="*/ 0 h 135"/>
                  <a:gd name="T32" fmla="*/ 0 w 326"/>
                  <a:gd name="T33" fmla="*/ 0 h 135"/>
                  <a:gd name="T34" fmla="*/ 0 w 326"/>
                  <a:gd name="T35" fmla="*/ 0 h 135"/>
                  <a:gd name="T36" fmla="*/ 0 w 326"/>
                  <a:gd name="T37" fmla="*/ 0 h 135"/>
                  <a:gd name="T38" fmla="*/ 0 w 326"/>
                  <a:gd name="T39" fmla="*/ 0 h 135"/>
                  <a:gd name="T40" fmla="*/ 0 w 326"/>
                  <a:gd name="T41" fmla="*/ 0 h 135"/>
                  <a:gd name="T42" fmla="*/ 0 w 326"/>
                  <a:gd name="T43" fmla="*/ 0 h 135"/>
                  <a:gd name="T44" fmla="*/ 0 w 326"/>
                  <a:gd name="T45" fmla="*/ 0 h 135"/>
                  <a:gd name="T46" fmla="*/ 0 w 326"/>
                  <a:gd name="T47" fmla="*/ 0 h 135"/>
                  <a:gd name="T48" fmla="*/ 0 w 326"/>
                  <a:gd name="T49" fmla="*/ 0 h 135"/>
                  <a:gd name="T50" fmla="*/ 0 w 326"/>
                  <a:gd name="T51" fmla="*/ 0 h 135"/>
                  <a:gd name="T52" fmla="*/ 0 w 326"/>
                  <a:gd name="T53" fmla="*/ 0 h 135"/>
                  <a:gd name="T54" fmla="*/ 0 w 326"/>
                  <a:gd name="T55" fmla="*/ 0 h 135"/>
                  <a:gd name="T56" fmla="*/ 0 w 326"/>
                  <a:gd name="T57" fmla="*/ 0 h 135"/>
                  <a:gd name="T58" fmla="*/ 0 w 326"/>
                  <a:gd name="T59" fmla="*/ 0 h 135"/>
                  <a:gd name="T60" fmla="*/ 0 w 326"/>
                  <a:gd name="T61" fmla="*/ 0 h 135"/>
                  <a:gd name="T62" fmla="*/ 0 w 326"/>
                  <a:gd name="T63" fmla="*/ 0 h 135"/>
                  <a:gd name="T64" fmla="*/ 0 w 326"/>
                  <a:gd name="T65" fmla="*/ 0 h 135"/>
                  <a:gd name="T66" fmla="*/ 0 w 326"/>
                  <a:gd name="T67" fmla="*/ 0 h 135"/>
                  <a:gd name="T68" fmla="*/ 0 w 326"/>
                  <a:gd name="T69" fmla="*/ 0 h 135"/>
                  <a:gd name="T70" fmla="*/ 0 w 326"/>
                  <a:gd name="T71" fmla="*/ 0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326"/>
                  <a:gd name="T109" fmla="*/ 0 h 135"/>
                  <a:gd name="T110" fmla="*/ 326 w 326"/>
                  <a:gd name="T111" fmla="*/ 135 h 135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73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0 w 159"/>
                  <a:gd name="T1" fmla="*/ 0 h 56"/>
                  <a:gd name="T2" fmla="*/ 0 w 159"/>
                  <a:gd name="T3" fmla="*/ 0 h 56"/>
                  <a:gd name="T4" fmla="*/ 0 w 159"/>
                  <a:gd name="T5" fmla="*/ 0 h 56"/>
                  <a:gd name="T6" fmla="*/ 0 w 159"/>
                  <a:gd name="T7" fmla="*/ 0 h 56"/>
                  <a:gd name="T8" fmla="*/ 0 w 159"/>
                  <a:gd name="T9" fmla="*/ 0 h 56"/>
                  <a:gd name="T10" fmla="*/ 0 w 159"/>
                  <a:gd name="T11" fmla="*/ 0 h 56"/>
                  <a:gd name="T12" fmla="*/ 0 w 159"/>
                  <a:gd name="T13" fmla="*/ 0 h 56"/>
                  <a:gd name="T14" fmla="*/ 0 w 159"/>
                  <a:gd name="T15" fmla="*/ 0 h 56"/>
                  <a:gd name="T16" fmla="*/ 0 w 159"/>
                  <a:gd name="T17" fmla="*/ 0 h 56"/>
                  <a:gd name="T18" fmla="*/ 0 w 159"/>
                  <a:gd name="T19" fmla="*/ 0 h 56"/>
                  <a:gd name="T20" fmla="*/ 0 w 159"/>
                  <a:gd name="T21" fmla="*/ 0 h 56"/>
                  <a:gd name="T22" fmla="*/ 0 w 159"/>
                  <a:gd name="T23" fmla="*/ 0 h 56"/>
                  <a:gd name="T24" fmla="*/ 0 w 159"/>
                  <a:gd name="T25" fmla="*/ 0 h 56"/>
                  <a:gd name="T26" fmla="*/ 0 w 159"/>
                  <a:gd name="T27" fmla="*/ 0 h 56"/>
                  <a:gd name="T28" fmla="*/ 0 w 159"/>
                  <a:gd name="T29" fmla="*/ 0 h 56"/>
                  <a:gd name="T30" fmla="*/ 0 w 159"/>
                  <a:gd name="T31" fmla="*/ 0 h 56"/>
                  <a:gd name="T32" fmla="*/ 0 w 159"/>
                  <a:gd name="T33" fmla="*/ 0 h 56"/>
                  <a:gd name="T34" fmla="*/ 0 w 159"/>
                  <a:gd name="T35" fmla="*/ 0 h 56"/>
                  <a:gd name="T36" fmla="*/ 0 w 159"/>
                  <a:gd name="T37" fmla="*/ 0 h 56"/>
                  <a:gd name="T38" fmla="*/ 0 w 159"/>
                  <a:gd name="T39" fmla="*/ 0 h 56"/>
                  <a:gd name="T40" fmla="*/ 0 w 159"/>
                  <a:gd name="T41" fmla="*/ 0 h 56"/>
                  <a:gd name="T42" fmla="*/ 0 w 159"/>
                  <a:gd name="T43" fmla="*/ 0 h 56"/>
                  <a:gd name="T44" fmla="*/ 0 w 159"/>
                  <a:gd name="T45" fmla="*/ 0 h 56"/>
                  <a:gd name="T46" fmla="*/ 0 w 159"/>
                  <a:gd name="T47" fmla="*/ 0 h 56"/>
                  <a:gd name="T48" fmla="*/ 0 w 159"/>
                  <a:gd name="T49" fmla="*/ 0 h 56"/>
                  <a:gd name="T50" fmla="*/ 0 w 159"/>
                  <a:gd name="T51" fmla="*/ 0 h 56"/>
                  <a:gd name="T52" fmla="*/ 0 w 159"/>
                  <a:gd name="T53" fmla="*/ 0 h 56"/>
                  <a:gd name="T54" fmla="*/ 0 w 159"/>
                  <a:gd name="T55" fmla="*/ 0 h 56"/>
                  <a:gd name="T56" fmla="*/ 0 w 159"/>
                  <a:gd name="T57" fmla="*/ 0 h 56"/>
                  <a:gd name="T58" fmla="*/ 0 w 159"/>
                  <a:gd name="T59" fmla="*/ 0 h 56"/>
                  <a:gd name="T60" fmla="*/ 0 w 159"/>
                  <a:gd name="T61" fmla="*/ 0 h 56"/>
                  <a:gd name="T62" fmla="*/ 0 w 159"/>
                  <a:gd name="T63" fmla="*/ 0 h 56"/>
                  <a:gd name="T64" fmla="*/ 0 w 159"/>
                  <a:gd name="T65" fmla="*/ 0 h 56"/>
                  <a:gd name="T66" fmla="*/ 0 w 159"/>
                  <a:gd name="T67" fmla="*/ 0 h 56"/>
                  <a:gd name="T68" fmla="*/ 0 w 159"/>
                  <a:gd name="T69" fmla="*/ 0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59"/>
                  <a:gd name="T106" fmla="*/ 0 h 56"/>
                  <a:gd name="T107" fmla="*/ 159 w 159"/>
                  <a:gd name="T108" fmla="*/ 56 h 5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74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0 w 3734"/>
                  <a:gd name="T1" fmla="*/ 0 h 1644"/>
                  <a:gd name="T2" fmla="*/ 0 w 3734"/>
                  <a:gd name="T3" fmla="*/ 0 h 1644"/>
                  <a:gd name="T4" fmla="*/ 0 w 3734"/>
                  <a:gd name="T5" fmla="*/ 0 h 1644"/>
                  <a:gd name="T6" fmla="*/ 0 w 3734"/>
                  <a:gd name="T7" fmla="*/ 0 h 1644"/>
                  <a:gd name="T8" fmla="*/ 0 w 3734"/>
                  <a:gd name="T9" fmla="*/ 0 h 1644"/>
                  <a:gd name="T10" fmla="*/ 0 w 3734"/>
                  <a:gd name="T11" fmla="*/ 0 h 1644"/>
                  <a:gd name="T12" fmla="*/ 0 w 3734"/>
                  <a:gd name="T13" fmla="*/ 0 h 1644"/>
                  <a:gd name="T14" fmla="*/ 0 w 3734"/>
                  <a:gd name="T15" fmla="*/ 0 h 1644"/>
                  <a:gd name="T16" fmla="*/ 0 w 3734"/>
                  <a:gd name="T17" fmla="*/ 0 h 1644"/>
                  <a:gd name="T18" fmla="*/ 0 w 3734"/>
                  <a:gd name="T19" fmla="*/ 0 h 1644"/>
                  <a:gd name="T20" fmla="*/ 0 w 3734"/>
                  <a:gd name="T21" fmla="*/ 0 h 1644"/>
                  <a:gd name="T22" fmla="*/ 0 w 3734"/>
                  <a:gd name="T23" fmla="*/ 0 h 1644"/>
                  <a:gd name="T24" fmla="*/ 0 w 3734"/>
                  <a:gd name="T25" fmla="*/ 0 h 1644"/>
                  <a:gd name="T26" fmla="*/ 0 w 3734"/>
                  <a:gd name="T27" fmla="*/ 0 h 1644"/>
                  <a:gd name="T28" fmla="*/ 0 w 3734"/>
                  <a:gd name="T29" fmla="*/ 0 h 1644"/>
                  <a:gd name="T30" fmla="*/ 0 w 3734"/>
                  <a:gd name="T31" fmla="*/ 0 h 1644"/>
                  <a:gd name="T32" fmla="*/ 0 w 3734"/>
                  <a:gd name="T33" fmla="*/ 0 h 1644"/>
                  <a:gd name="T34" fmla="*/ 0 w 3734"/>
                  <a:gd name="T35" fmla="*/ 0 h 1644"/>
                  <a:gd name="T36" fmla="*/ 0 w 3734"/>
                  <a:gd name="T37" fmla="*/ 0 h 1644"/>
                  <a:gd name="T38" fmla="*/ 0 w 3734"/>
                  <a:gd name="T39" fmla="*/ 0 h 1644"/>
                  <a:gd name="T40" fmla="*/ 0 w 3734"/>
                  <a:gd name="T41" fmla="*/ 0 h 1644"/>
                  <a:gd name="T42" fmla="*/ 0 w 3734"/>
                  <a:gd name="T43" fmla="*/ 0 h 1644"/>
                  <a:gd name="T44" fmla="*/ 0 w 3734"/>
                  <a:gd name="T45" fmla="*/ 0 h 1644"/>
                  <a:gd name="T46" fmla="*/ 0 w 3734"/>
                  <a:gd name="T47" fmla="*/ 0 h 1644"/>
                  <a:gd name="T48" fmla="*/ 0 w 3734"/>
                  <a:gd name="T49" fmla="*/ 0 h 1644"/>
                  <a:gd name="T50" fmla="*/ 0 w 3734"/>
                  <a:gd name="T51" fmla="*/ 0 h 1644"/>
                  <a:gd name="T52" fmla="*/ 0 w 3734"/>
                  <a:gd name="T53" fmla="*/ 0 h 1644"/>
                  <a:gd name="T54" fmla="*/ 0 w 3734"/>
                  <a:gd name="T55" fmla="*/ 0 h 1644"/>
                  <a:gd name="T56" fmla="*/ 0 w 3734"/>
                  <a:gd name="T57" fmla="*/ 0 h 1644"/>
                  <a:gd name="T58" fmla="*/ 0 w 3734"/>
                  <a:gd name="T59" fmla="*/ 0 h 1644"/>
                  <a:gd name="T60" fmla="*/ 0 w 3734"/>
                  <a:gd name="T61" fmla="*/ 0 h 1644"/>
                  <a:gd name="T62" fmla="*/ 0 w 3734"/>
                  <a:gd name="T63" fmla="*/ 0 h 1644"/>
                  <a:gd name="T64" fmla="*/ 0 w 3734"/>
                  <a:gd name="T65" fmla="*/ 0 h 1644"/>
                  <a:gd name="T66" fmla="*/ 0 w 3734"/>
                  <a:gd name="T67" fmla="*/ 0 h 1644"/>
                  <a:gd name="T68" fmla="*/ 0 w 3734"/>
                  <a:gd name="T69" fmla="*/ 0 h 1644"/>
                  <a:gd name="T70" fmla="*/ 0 w 3734"/>
                  <a:gd name="T71" fmla="*/ 0 h 1644"/>
                  <a:gd name="T72" fmla="*/ 0 w 3734"/>
                  <a:gd name="T73" fmla="*/ 0 h 1644"/>
                  <a:gd name="T74" fmla="*/ 0 w 3734"/>
                  <a:gd name="T75" fmla="*/ 0 h 1644"/>
                  <a:gd name="T76" fmla="*/ 0 w 3734"/>
                  <a:gd name="T77" fmla="*/ 0 h 1644"/>
                  <a:gd name="T78" fmla="*/ 0 w 3734"/>
                  <a:gd name="T79" fmla="*/ 0 h 1644"/>
                  <a:gd name="T80" fmla="*/ 0 w 3734"/>
                  <a:gd name="T81" fmla="*/ 0 h 1644"/>
                  <a:gd name="T82" fmla="*/ 0 w 3734"/>
                  <a:gd name="T83" fmla="*/ 0 h 1644"/>
                  <a:gd name="T84" fmla="*/ 0 w 3734"/>
                  <a:gd name="T85" fmla="*/ 0 h 1644"/>
                  <a:gd name="T86" fmla="*/ 0 w 3734"/>
                  <a:gd name="T87" fmla="*/ 0 h 1644"/>
                  <a:gd name="T88" fmla="*/ 0 w 3734"/>
                  <a:gd name="T89" fmla="*/ 0 h 1644"/>
                  <a:gd name="T90" fmla="*/ 0 w 3734"/>
                  <a:gd name="T91" fmla="*/ 0 h 1644"/>
                  <a:gd name="T92" fmla="*/ 0 w 3734"/>
                  <a:gd name="T93" fmla="*/ 0 h 1644"/>
                  <a:gd name="T94" fmla="*/ 0 w 3734"/>
                  <a:gd name="T95" fmla="*/ 0 h 1644"/>
                  <a:gd name="T96" fmla="*/ 0 w 3734"/>
                  <a:gd name="T97" fmla="*/ 0 h 1644"/>
                  <a:gd name="T98" fmla="*/ 0 w 3734"/>
                  <a:gd name="T99" fmla="*/ 0 h 1644"/>
                  <a:gd name="T100" fmla="*/ 0 w 3734"/>
                  <a:gd name="T101" fmla="*/ 0 h 1644"/>
                  <a:gd name="T102" fmla="*/ 0 w 3734"/>
                  <a:gd name="T103" fmla="*/ 0 h 1644"/>
                  <a:gd name="T104" fmla="*/ 0 w 3734"/>
                  <a:gd name="T105" fmla="*/ 0 h 1644"/>
                  <a:gd name="T106" fmla="*/ 0 w 3734"/>
                  <a:gd name="T107" fmla="*/ 0 h 1644"/>
                  <a:gd name="T108" fmla="*/ 0 w 3734"/>
                  <a:gd name="T109" fmla="*/ 0 h 1644"/>
                  <a:gd name="T110" fmla="*/ 0 w 3734"/>
                  <a:gd name="T111" fmla="*/ 0 h 1644"/>
                  <a:gd name="T112" fmla="*/ 0 w 3734"/>
                  <a:gd name="T113" fmla="*/ 0 h 1644"/>
                  <a:gd name="T114" fmla="*/ 0 w 3734"/>
                  <a:gd name="T115" fmla="*/ 0 h 1644"/>
                  <a:gd name="T116" fmla="*/ 0 w 3734"/>
                  <a:gd name="T117" fmla="*/ 0 h 1644"/>
                  <a:gd name="T118" fmla="*/ 0 w 3734"/>
                  <a:gd name="T119" fmla="*/ 0 h 1644"/>
                  <a:gd name="T120" fmla="*/ 0 w 3734"/>
                  <a:gd name="T121" fmla="*/ 0 h 1644"/>
                  <a:gd name="T122" fmla="*/ 0 w 3734"/>
                  <a:gd name="T123" fmla="*/ 0 h 1644"/>
                  <a:gd name="T124" fmla="*/ 0 w 3734"/>
                  <a:gd name="T125" fmla="*/ 0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734"/>
                  <a:gd name="T190" fmla="*/ 0 h 1644"/>
                  <a:gd name="T191" fmla="*/ 3734 w 3734"/>
                  <a:gd name="T192" fmla="*/ 1644 h 1644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5670" name="Freeform 434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4757738" y="3541713"/>
              <a:ext cx="127000" cy="158750"/>
            </a:xfrm>
            <a:custGeom>
              <a:avLst/>
              <a:gdLst>
                <a:gd name="T0" fmla="*/ 2147483647 w 292"/>
                <a:gd name="T1" fmla="*/ 2147483647 h 308"/>
                <a:gd name="T2" fmla="*/ 2147483647 w 292"/>
                <a:gd name="T3" fmla="*/ 2147483647 h 308"/>
                <a:gd name="T4" fmla="*/ 2147483647 w 292"/>
                <a:gd name="T5" fmla="*/ 2147483647 h 308"/>
                <a:gd name="T6" fmla="*/ 2147483647 w 292"/>
                <a:gd name="T7" fmla="*/ 2147483647 h 308"/>
                <a:gd name="T8" fmla="*/ 2147483647 w 292"/>
                <a:gd name="T9" fmla="*/ 2147483647 h 308"/>
                <a:gd name="T10" fmla="*/ 2147483647 w 292"/>
                <a:gd name="T11" fmla="*/ 2147483647 h 308"/>
                <a:gd name="T12" fmla="*/ 2147483647 w 292"/>
                <a:gd name="T13" fmla="*/ 2147483647 h 308"/>
                <a:gd name="T14" fmla="*/ 2147483647 w 292"/>
                <a:gd name="T15" fmla="*/ 2147483647 h 308"/>
                <a:gd name="T16" fmla="*/ 2147483647 w 292"/>
                <a:gd name="T17" fmla="*/ 2147483647 h 308"/>
                <a:gd name="T18" fmla="*/ 2147483647 w 292"/>
                <a:gd name="T19" fmla="*/ 2147483647 h 308"/>
                <a:gd name="T20" fmla="*/ 2147483647 w 292"/>
                <a:gd name="T21" fmla="*/ 2147483647 h 308"/>
                <a:gd name="T22" fmla="*/ 2147483647 w 292"/>
                <a:gd name="T23" fmla="*/ 2147483647 h 308"/>
                <a:gd name="T24" fmla="*/ 2147483647 w 292"/>
                <a:gd name="T25" fmla="*/ 2147483647 h 308"/>
                <a:gd name="T26" fmla="*/ 2147483647 w 292"/>
                <a:gd name="T27" fmla="*/ 2147483647 h 308"/>
                <a:gd name="T28" fmla="*/ 2147483647 w 292"/>
                <a:gd name="T29" fmla="*/ 2147483647 h 308"/>
                <a:gd name="T30" fmla="*/ 2147483647 w 292"/>
                <a:gd name="T31" fmla="*/ 2147483647 h 308"/>
                <a:gd name="T32" fmla="*/ 2147483647 w 292"/>
                <a:gd name="T33" fmla="*/ 2147483647 h 308"/>
                <a:gd name="T34" fmla="*/ 0 w 292"/>
                <a:gd name="T35" fmla="*/ 2147483647 h 308"/>
                <a:gd name="T36" fmla="*/ 2147483647 w 292"/>
                <a:gd name="T37" fmla="*/ 2147483647 h 308"/>
                <a:gd name="T38" fmla="*/ 2147483647 w 292"/>
                <a:gd name="T39" fmla="*/ 2147483647 h 308"/>
                <a:gd name="T40" fmla="*/ 2147483647 w 292"/>
                <a:gd name="T41" fmla="*/ 2147483647 h 308"/>
                <a:gd name="T42" fmla="*/ 2147483647 w 292"/>
                <a:gd name="T43" fmla="*/ 2147483647 h 308"/>
                <a:gd name="T44" fmla="*/ 2147483647 w 292"/>
                <a:gd name="T45" fmla="*/ 2147483647 h 308"/>
                <a:gd name="T46" fmla="*/ 2147483647 w 292"/>
                <a:gd name="T47" fmla="*/ 2147483647 h 308"/>
                <a:gd name="T48" fmla="*/ 2147483647 w 292"/>
                <a:gd name="T49" fmla="*/ 2147483647 h 308"/>
                <a:gd name="T50" fmla="*/ 2147483647 w 292"/>
                <a:gd name="T51" fmla="*/ 2147483647 h 308"/>
                <a:gd name="T52" fmla="*/ 2147483647 w 292"/>
                <a:gd name="T53" fmla="*/ 2147483647 h 308"/>
                <a:gd name="T54" fmla="*/ 2147483647 w 292"/>
                <a:gd name="T55" fmla="*/ 2147483647 h 308"/>
                <a:gd name="T56" fmla="*/ 2147483647 w 292"/>
                <a:gd name="T57" fmla="*/ 2147483647 h 308"/>
                <a:gd name="T58" fmla="*/ 2147483647 w 292"/>
                <a:gd name="T59" fmla="*/ 2147483647 h 308"/>
                <a:gd name="T60" fmla="*/ 2147483647 w 292"/>
                <a:gd name="T61" fmla="*/ 2147483647 h 308"/>
                <a:gd name="T62" fmla="*/ 2147483647 w 292"/>
                <a:gd name="T63" fmla="*/ 2147483647 h 308"/>
                <a:gd name="T64" fmla="*/ 2147483647 w 292"/>
                <a:gd name="T65" fmla="*/ 2147483647 h 308"/>
                <a:gd name="T66" fmla="*/ 2147483647 w 292"/>
                <a:gd name="T67" fmla="*/ 2147483647 h 308"/>
                <a:gd name="T68" fmla="*/ 2147483647 w 292"/>
                <a:gd name="T69" fmla="*/ 2147483647 h 308"/>
                <a:gd name="T70" fmla="*/ 2147483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92"/>
                <a:gd name="T109" fmla="*/ 0 h 308"/>
                <a:gd name="T110" fmla="*/ 292 w 292"/>
                <a:gd name="T111" fmla="*/ 308 h 30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71" name="Freeform 435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4864100" y="3692525"/>
              <a:ext cx="6350" cy="57150"/>
            </a:xfrm>
            <a:custGeom>
              <a:avLst/>
              <a:gdLst>
                <a:gd name="T0" fmla="*/ 2147483647 w 14"/>
                <a:gd name="T1" fmla="*/ 0 h 7"/>
                <a:gd name="T2" fmla="*/ 2147483647 w 14"/>
                <a:gd name="T3" fmla="*/ 2147483647 h 7"/>
                <a:gd name="T4" fmla="*/ 2147483647 w 14"/>
                <a:gd name="T5" fmla="*/ 2147483647 h 7"/>
                <a:gd name="T6" fmla="*/ 0 w 14"/>
                <a:gd name="T7" fmla="*/ 2147483647 h 7"/>
                <a:gd name="T8" fmla="*/ 2147483647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7"/>
                <a:gd name="T17" fmla="*/ 14 w 1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72" name="Freeform 436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4354513" y="2928938"/>
              <a:ext cx="249237" cy="500062"/>
            </a:xfrm>
            <a:custGeom>
              <a:avLst/>
              <a:gdLst>
                <a:gd name="T0" fmla="*/ 2147483647 w 581"/>
                <a:gd name="T1" fmla="*/ 2147483647 h 955"/>
                <a:gd name="T2" fmla="*/ 2147483647 w 581"/>
                <a:gd name="T3" fmla="*/ 2147483647 h 955"/>
                <a:gd name="T4" fmla="*/ 2147483647 w 581"/>
                <a:gd name="T5" fmla="*/ 2147483647 h 955"/>
                <a:gd name="T6" fmla="*/ 2147483647 w 581"/>
                <a:gd name="T7" fmla="*/ 2147483647 h 955"/>
                <a:gd name="T8" fmla="*/ 2147483647 w 581"/>
                <a:gd name="T9" fmla="*/ 2147483647 h 955"/>
                <a:gd name="T10" fmla="*/ 2147483647 w 581"/>
                <a:gd name="T11" fmla="*/ 2147483647 h 955"/>
                <a:gd name="T12" fmla="*/ 2147483647 w 581"/>
                <a:gd name="T13" fmla="*/ 2147483647 h 955"/>
                <a:gd name="T14" fmla="*/ 2147483647 w 581"/>
                <a:gd name="T15" fmla="*/ 2147483647 h 955"/>
                <a:gd name="T16" fmla="*/ 2147483647 w 581"/>
                <a:gd name="T17" fmla="*/ 2147483647 h 955"/>
                <a:gd name="T18" fmla="*/ 2147483647 w 581"/>
                <a:gd name="T19" fmla="*/ 2147483647 h 955"/>
                <a:gd name="T20" fmla="*/ 2147483647 w 581"/>
                <a:gd name="T21" fmla="*/ 2147483647 h 955"/>
                <a:gd name="T22" fmla="*/ 2147483647 w 581"/>
                <a:gd name="T23" fmla="*/ 2147483647 h 955"/>
                <a:gd name="T24" fmla="*/ 2147483647 w 581"/>
                <a:gd name="T25" fmla="*/ 2147483647 h 955"/>
                <a:gd name="T26" fmla="*/ 2147483647 w 581"/>
                <a:gd name="T27" fmla="*/ 2147483647 h 955"/>
                <a:gd name="T28" fmla="*/ 2147483647 w 581"/>
                <a:gd name="T29" fmla="*/ 2147483647 h 955"/>
                <a:gd name="T30" fmla="*/ 2147483647 w 581"/>
                <a:gd name="T31" fmla="*/ 2147483647 h 955"/>
                <a:gd name="T32" fmla="*/ 2147483647 w 581"/>
                <a:gd name="T33" fmla="*/ 2147483647 h 955"/>
                <a:gd name="T34" fmla="*/ 2147483647 w 581"/>
                <a:gd name="T35" fmla="*/ 2147483647 h 955"/>
                <a:gd name="T36" fmla="*/ 2147483647 w 581"/>
                <a:gd name="T37" fmla="*/ 2147483647 h 955"/>
                <a:gd name="T38" fmla="*/ 2147483647 w 581"/>
                <a:gd name="T39" fmla="*/ 2147483647 h 955"/>
                <a:gd name="T40" fmla="*/ 2147483647 w 581"/>
                <a:gd name="T41" fmla="*/ 2147483647 h 955"/>
                <a:gd name="T42" fmla="*/ 2147483647 w 581"/>
                <a:gd name="T43" fmla="*/ 2147483647 h 955"/>
                <a:gd name="T44" fmla="*/ 2147483647 w 581"/>
                <a:gd name="T45" fmla="*/ 2147483647 h 955"/>
                <a:gd name="T46" fmla="*/ 2147483647 w 581"/>
                <a:gd name="T47" fmla="*/ 2147483647 h 955"/>
                <a:gd name="T48" fmla="*/ 2147483647 w 581"/>
                <a:gd name="T49" fmla="*/ 2147483647 h 955"/>
                <a:gd name="T50" fmla="*/ 2147483647 w 581"/>
                <a:gd name="T51" fmla="*/ 2147483647 h 955"/>
                <a:gd name="T52" fmla="*/ 2147483647 w 581"/>
                <a:gd name="T53" fmla="*/ 2147483647 h 955"/>
                <a:gd name="T54" fmla="*/ 2147483647 w 581"/>
                <a:gd name="T55" fmla="*/ 2147483647 h 955"/>
                <a:gd name="T56" fmla="*/ 2147483647 w 581"/>
                <a:gd name="T57" fmla="*/ 2147483647 h 955"/>
                <a:gd name="T58" fmla="*/ 2147483647 w 581"/>
                <a:gd name="T59" fmla="*/ 2147483647 h 955"/>
                <a:gd name="T60" fmla="*/ 2147483647 w 581"/>
                <a:gd name="T61" fmla="*/ 2147483647 h 955"/>
                <a:gd name="T62" fmla="*/ 2147483647 w 581"/>
                <a:gd name="T63" fmla="*/ 2147483647 h 955"/>
                <a:gd name="T64" fmla="*/ 2147483647 w 581"/>
                <a:gd name="T65" fmla="*/ 2147483647 h 955"/>
                <a:gd name="T66" fmla="*/ 2147483647 w 581"/>
                <a:gd name="T67" fmla="*/ 2147483647 h 955"/>
                <a:gd name="T68" fmla="*/ 2147483647 w 581"/>
                <a:gd name="T69" fmla="*/ 2147483647 h 955"/>
                <a:gd name="T70" fmla="*/ 2147483647 w 581"/>
                <a:gd name="T71" fmla="*/ 2147483647 h 955"/>
                <a:gd name="T72" fmla="*/ 2147483647 w 581"/>
                <a:gd name="T73" fmla="*/ 2147483647 h 955"/>
                <a:gd name="T74" fmla="*/ 2147483647 w 581"/>
                <a:gd name="T75" fmla="*/ 2147483647 h 955"/>
                <a:gd name="T76" fmla="*/ 2147483647 w 581"/>
                <a:gd name="T77" fmla="*/ 2147483647 h 955"/>
                <a:gd name="T78" fmla="*/ 2147483647 w 581"/>
                <a:gd name="T79" fmla="*/ 2147483647 h 955"/>
                <a:gd name="T80" fmla="*/ 2147483647 w 581"/>
                <a:gd name="T81" fmla="*/ 2147483647 h 955"/>
                <a:gd name="T82" fmla="*/ 2147483647 w 581"/>
                <a:gd name="T83" fmla="*/ 2147483647 h 955"/>
                <a:gd name="T84" fmla="*/ 2147483647 w 581"/>
                <a:gd name="T85" fmla="*/ 2147483647 h 955"/>
                <a:gd name="T86" fmla="*/ 2147483647 w 581"/>
                <a:gd name="T87" fmla="*/ 2147483647 h 955"/>
                <a:gd name="T88" fmla="*/ 2147483647 w 581"/>
                <a:gd name="T89" fmla="*/ 2147483647 h 955"/>
                <a:gd name="T90" fmla="*/ 2147483647 w 581"/>
                <a:gd name="T91" fmla="*/ 2147483647 h 955"/>
                <a:gd name="T92" fmla="*/ 2147483647 w 581"/>
                <a:gd name="T93" fmla="*/ 2147483647 h 955"/>
                <a:gd name="T94" fmla="*/ 2147483647 w 581"/>
                <a:gd name="T95" fmla="*/ 2147483647 h 955"/>
                <a:gd name="T96" fmla="*/ 2147483647 w 581"/>
                <a:gd name="T97" fmla="*/ 2147483647 h 955"/>
                <a:gd name="T98" fmla="*/ 2147483647 w 581"/>
                <a:gd name="T99" fmla="*/ 2147483647 h 955"/>
                <a:gd name="T100" fmla="*/ 2147483647 w 581"/>
                <a:gd name="T101" fmla="*/ 0 h 955"/>
                <a:gd name="T102" fmla="*/ 2147483647 w 581"/>
                <a:gd name="T103" fmla="*/ 2147483647 h 955"/>
                <a:gd name="T104" fmla="*/ 2147483647 w 581"/>
                <a:gd name="T105" fmla="*/ 214748364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81"/>
                <a:gd name="T160" fmla="*/ 0 h 955"/>
                <a:gd name="T161" fmla="*/ 581 w 581"/>
                <a:gd name="T162" fmla="*/ 955 h 95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chemeClr val="accent1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73" name="Freeform 437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4030663" y="2311400"/>
              <a:ext cx="15875" cy="57150"/>
            </a:xfrm>
            <a:custGeom>
              <a:avLst/>
              <a:gdLst>
                <a:gd name="T0" fmla="*/ 2147483647 w 45"/>
                <a:gd name="T1" fmla="*/ 0 h 36"/>
                <a:gd name="T2" fmla="*/ 0 w 45"/>
                <a:gd name="T3" fmla="*/ 2147483647 h 36"/>
                <a:gd name="T4" fmla="*/ 2147483647 w 45"/>
                <a:gd name="T5" fmla="*/ 2147483647 h 36"/>
                <a:gd name="T6" fmla="*/ 2147483647 w 45"/>
                <a:gd name="T7" fmla="*/ 2147483647 h 36"/>
                <a:gd name="T8" fmla="*/ 2147483647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5"/>
                <a:gd name="T16" fmla="*/ 0 h 36"/>
                <a:gd name="T17" fmla="*/ 45 w 45"/>
                <a:gd name="T18" fmla="*/ 36 h 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15674" name="Group 438"/>
            <p:cNvGrpSpPr>
              <a:grpSpLocks/>
            </p:cNvGrpSpPr>
            <p:nvPr>
              <p:custDataLst>
                <p:tags r:id="rId279"/>
              </p:custDataLst>
            </p:nvPr>
          </p:nvGrpSpPr>
          <p:grpSpPr bwMode="auto">
            <a:xfrm>
              <a:off x="2330450" y="4371975"/>
              <a:ext cx="384175" cy="1031875"/>
              <a:chOff x="1589" y="3126"/>
              <a:chExt cx="290" cy="657"/>
            </a:xfrm>
          </p:grpSpPr>
          <p:sp>
            <p:nvSpPr>
              <p:cNvPr id="15830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0 w 46"/>
                  <a:gd name="T1" fmla="*/ 0 h 51"/>
                  <a:gd name="T2" fmla="*/ 0 w 46"/>
                  <a:gd name="T3" fmla="*/ 0 h 51"/>
                  <a:gd name="T4" fmla="*/ 0 w 46"/>
                  <a:gd name="T5" fmla="*/ 0 h 51"/>
                  <a:gd name="T6" fmla="*/ 0 w 46"/>
                  <a:gd name="T7" fmla="*/ 0 h 51"/>
                  <a:gd name="T8" fmla="*/ 0 w 46"/>
                  <a:gd name="T9" fmla="*/ 0 h 51"/>
                  <a:gd name="T10" fmla="*/ 0 w 46"/>
                  <a:gd name="T11" fmla="*/ 0 h 51"/>
                  <a:gd name="T12" fmla="*/ 0 w 46"/>
                  <a:gd name="T13" fmla="*/ 0 h 51"/>
                  <a:gd name="T14" fmla="*/ 0 w 46"/>
                  <a:gd name="T15" fmla="*/ 0 h 51"/>
                  <a:gd name="T16" fmla="*/ 0 w 46"/>
                  <a:gd name="T17" fmla="*/ 0 h 51"/>
                  <a:gd name="T18" fmla="*/ 0 w 46"/>
                  <a:gd name="T19" fmla="*/ 0 h 51"/>
                  <a:gd name="T20" fmla="*/ 0 w 46"/>
                  <a:gd name="T21" fmla="*/ 0 h 51"/>
                  <a:gd name="T22" fmla="*/ 0 w 46"/>
                  <a:gd name="T23" fmla="*/ 0 h 51"/>
                  <a:gd name="T24" fmla="*/ 0 w 46"/>
                  <a:gd name="T25" fmla="*/ 0 h 51"/>
                  <a:gd name="T26" fmla="*/ 0 w 46"/>
                  <a:gd name="T27" fmla="*/ 0 h 51"/>
                  <a:gd name="T28" fmla="*/ 0 w 46"/>
                  <a:gd name="T29" fmla="*/ 0 h 51"/>
                  <a:gd name="T30" fmla="*/ 0 w 46"/>
                  <a:gd name="T31" fmla="*/ 0 h 51"/>
                  <a:gd name="T32" fmla="*/ 0 w 46"/>
                  <a:gd name="T33" fmla="*/ 0 h 51"/>
                  <a:gd name="T34" fmla="*/ 0 w 46"/>
                  <a:gd name="T35" fmla="*/ 0 h 51"/>
                  <a:gd name="T36" fmla="*/ 0 w 46"/>
                  <a:gd name="T37" fmla="*/ 0 h 51"/>
                  <a:gd name="T38" fmla="*/ 0 w 46"/>
                  <a:gd name="T39" fmla="*/ 0 h 51"/>
                  <a:gd name="T40" fmla="*/ 0 w 46"/>
                  <a:gd name="T41" fmla="*/ 0 h 51"/>
                  <a:gd name="T42" fmla="*/ 0 w 46"/>
                  <a:gd name="T43" fmla="*/ 0 h 51"/>
                  <a:gd name="T44" fmla="*/ 0 w 46"/>
                  <a:gd name="T45" fmla="*/ 0 h 51"/>
                  <a:gd name="T46" fmla="*/ 0 w 46"/>
                  <a:gd name="T47" fmla="*/ 0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46"/>
                  <a:gd name="T73" fmla="*/ 0 h 51"/>
                  <a:gd name="T74" fmla="*/ 46 w 46"/>
                  <a:gd name="T75" fmla="*/ 51 h 51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31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0 h 158"/>
                  <a:gd name="T4" fmla="*/ 0 w 192"/>
                  <a:gd name="T5" fmla="*/ 0 h 158"/>
                  <a:gd name="T6" fmla="*/ 0 w 192"/>
                  <a:gd name="T7" fmla="*/ 0 h 158"/>
                  <a:gd name="T8" fmla="*/ 0 w 192"/>
                  <a:gd name="T9" fmla="*/ 0 h 158"/>
                  <a:gd name="T10" fmla="*/ 0 w 192"/>
                  <a:gd name="T11" fmla="*/ 0 h 158"/>
                  <a:gd name="T12" fmla="*/ 0 w 192"/>
                  <a:gd name="T13" fmla="*/ 0 h 158"/>
                  <a:gd name="T14" fmla="*/ 0 w 192"/>
                  <a:gd name="T15" fmla="*/ 0 h 158"/>
                  <a:gd name="T16" fmla="*/ 0 w 192"/>
                  <a:gd name="T17" fmla="*/ 0 h 158"/>
                  <a:gd name="T18" fmla="*/ 0 w 192"/>
                  <a:gd name="T19" fmla="*/ 0 h 158"/>
                  <a:gd name="T20" fmla="*/ 0 w 192"/>
                  <a:gd name="T21" fmla="*/ 0 h 158"/>
                  <a:gd name="T22" fmla="*/ 0 w 192"/>
                  <a:gd name="T23" fmla="*/ 0 h 158"/>
                  <a:gd name="T24" fmla="*/ 0 w 192"/>
                  <a:gd name="T25" fmla="*/ 0 h 158"/>
                  <a:gd name="T26" fmla="*/ 0 w 192"/>
                  <a:gd name="T27" fmla="*/ 0 h 158"/>
                  <a:gd name="T28" fmla="*/ 0 w 192"/>
                  <a:gd name="T29" fmla="*/ 0 h 158"/>
                  <a:gd name="T30" fmla="*/ 0 w 192"/>
                  <a:gd name="T31" fmla="*/ 0 h 158"/>
                  <a:gd name="T32" fmla="*/ 0 w 192"/>
                  <a:gd name="T33" fmla="*/ 0 h 158"/>
                  <a:gd name="T34" fmla="*/ 0 w 192"/>
                  <a:gd name="T35" fmla="*/ 0 h 158"/>
                  <a:gd name="T36" fmla="*/ 0 w 192"/>
                  <a:gd name="T37" fmla="*/ 0 h 158"/>
                  <a:gd name="T38" fmla="*/ 0 w 192"/>
                  <a:gd name="T39" fmla="*/ 0 h 158"/>
                  <a:gd name="T40" fmla="*/ 0 w 192"/>
                  <a:gd name="T41" fmla="*/ 0 h 158"/>
                  <a:gd name="T42" fmla="*/ 0 w 192"/>
                  <a:gd name="T43" fmla="*/ 0 h 158"/>
                  <a:gd name="T44" fmla="*/ 0 w 192"/>
                  <a:gd name="T45" fmla="*/ 0 h 158"/>
                  <a:gd name="T46" fmla="*/ 0 w 192"/>
                  <a:gd name="T47" fmla="*/ 0 h 158"/>
                  <a:gd name="T48" fmla="*/ 0 w 192"/>
                  <a:gd name="T49" fmla="*/ 0 h 158"/>
                  <a:gd name="T50" fmla="*/ 0 w 192"/>
                  <a:gd name="T51" fmla="*/ 0 h 158"/>
                  <a:gd name="T52" fmla="*/ 0 w 192"/>
                  <a:gd name="T53" fmla="*/ 0 h 158"/>
                  <a:gd name="T54" fmla="*/ 0 w 192"/>
                  <a:gd name="T55" fmla="*/ 0 h 158"/>
                  <a:gd name="T56" fmla="*/ 0 w 192"/>
                  <a:gd name="T57" fmla="*/ 0 h 158"/>
                  <a:gd name="T58" fmla="*/ 0 w 192"/>
                  <a:gd name="T59" fmla="*/ 0 h 158"/>
                  <a:gd name="T60" fmla="*/ 0 w 192"/>
                  <a:gd name="T61" fmla="*/ 0 h 158"/>
                  <a:gd name="T62" fmla="*/ 0 w 192"/>
                  <a:gd name="T63" fmla="*/ 0 h 158"/>
                  <a:gd name="T64" fmla="*/ 0 w 192"/>
                  <a:gd name="T65" fmla="*/ 0 h 158"/>
                  <a:gd name="T66" fmla="*/ 0 w 192"/>
                  <a:gd name="T67" fmla="*/ 0 h 158"/>
                  <a:gd name="T68" fmla="*/ 0 w 192"/>
                  <a:gd name="T69" fmla="*/ 0 h 158"/>
                  <a:gd name="T70" fmla="*/ 0 w 192"/>
                  <a:gd name="T71" fmla="*/ 0 h 158"/>
                  <a:gd name="T72" fmla="*/ 0 w 192"/>
                  <a:gd name="T73" fmla="*/ 0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92"/>
                  <a:gd name="T115" fmla="*/ 0 h 158"/>
                  <a:gd name="T116" fmla="*/ 192 w 192"/>
                  <a:gd name="T117" fmla="*/ 158 h 15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32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0 w 884"/>
                  <a:gd name="T1" fmla="*/ 0 h 1818"/>
                  <a:gd name="T2" fmla="*/ 0 w 884"/>
                  <a:gd name="T3" fmla="*/ 0 h 1818"/>
                  <a:gd name="T4" fmla="*/ 0 w 884"/>
                  <a:gd name="T5" fmla="*/ 0 h 1818"/>
                  <a:gd name="T6" fmla="*/ 0 w 884"/>
                  <a:gd name="T7" fmla="*/ 0 h 1818"/>
                  <a:gd name="T8" fmla="*/ 0 w 884"/>
                  <a:gd name="T9" fmla="*/ 0 h 1818"/>
                  <a:gd name="T10" fmla="*/ 0 w 884"/>
                  <a:gd name="T11" fmla="*/ 0 h 1818"/>
                  <a:gd name="T12" fmla="*/ 0 w 884"/>
                  <a:gd name="T13" fmla="*/ 0 h 1818"/>
                  <a:gd name="T14" fmla="*/ 0 w 884"/>
                  <a:gd name="T15" fmla="*/ 0 h 1818"/>
                  <a:gd name="T16" fmla="*/ 0 w 884"/>
                  <a:gd name="T17" fmla="*/ 0 h 1818"/>
                  <a:gd name="T18" fmla="*/ 0 w 884"/>
                  <a:gd name="T19" fmla="*/ 0 h 1818"/>
                  <a:gd name="T20" fmla="*/ 0 w 884"/>
                  <a:gd name="T21" fmla="*/ 0 h 1818"/>
                  <a:gd name="T22" fmla="*/ 0 w 884"/>
                  <a:gd name="T23" fmla="*/ 0 h 1818"/>
                  <a:gd name="T24" fmla="*/ 0 w 884"/>
                  <a:gd name="T25" fmla="*/ 0 h 1818"/>
                  <a:gd name="T26" fmla="*/ 0 w 884"/>
                  <a:gd name="T27" fmla="*/ 0 h 1818"/>
                  <a:gd name="T28" fmla="*/ 0 w 884"/>
                  <a:gd name="T29" fmla="*/ 0 h 1818"/>
                  <a:gd name="T30" fmla="*/ 0 w 884"/>
                  <a:gd name="T31" fmla="*/ 0 h 1818"/>
                  <a:gd name="T32" fmla="*/ 0 w 884"/>
                  <a:gd name="T33" fmla="*/ 0 h 1818"/>
                  <a:gd name="T34" fmla="*/ 0 w 884"/>
                  <a:gd name="T35" fmla="*/ 0 h 1818"/>
                  <a:gd name="T36" fmla="*/ 0 w 884"/>
                  <a:gd name="T37" fmla="*/ 0 h 1818"/>
                  <a:gd name="T38" fmla="*/ 0 w 884"/>
                  <a:gd name="T39" fmla="*/ 0 h 1818"/>
                  <a:gd name="T40" fmla="*/ 0 w 884"/>
                  <a:gd name="T41" fmla="*/ 0 h 1818"/>
                  <a:gd name="T42" fmla="*/ 0 w 884"/>
                  <a:gd name="T43" fmla="*/ 0 h 1818"/>
                  <a:gd name="T44" fmla="*/ 0 w 884"/>
                  <a:gd name="T45" fmla="*/ 0 h 1818"/>
                  <a:gd name="T46" fmla="*/ 0 w 884"/>
                  <a:gd name="T47" fmla="*/ 0 h 1818"/>
                  <a:gd name="T48" fmla="*/ 0 w 884"/>
                  <a:gd name="T49" fmla="*/ 0 h 1818"/>
                  <a:gd name="T50" fmla="*/ 0 w 884"/>
                  <a:gd name="T51" fmla="*/ 0 h 1818"/>
                  <a:gd name="T52" fmla="*/ 0 w 884"/>
                  <a:gd name="T53" fmla="*/ 0 h 1818"/>
                  <a:gd name="T54" fmla="*/ 0 w 884"/>
                  <a:gd name="T55" fmla="*/ 0 h 1818"/>
                  <a:gd name="T56" fmla="*/ 0 w 884"/>
                  <a:gd name="T57" fmla="*/ 0 h 1818"/>
                  <a:gd name="T58" fmla="*/ 0 w 884"/>
                  <a:gd name="T59" fmla="*/ 0 h 1818"/>
                  <a:gd name="T60" fmla="*/ 0 w 884"/>
                  <a:gd name="T61" fmla="*/ 0 h 1818"/>
                  <a:gd name="T62" fmla="*/ 0 w 884"/>
                  <a:gd name="T63" fmla="*/ 0 h 1818"/>
                  <a:gd name="T64" fmla="*/ 0 w 884"/>
                  <a:gd name="T65" fmla="*/ 0 h 1818"/>
                  <a:gd name="T66" fmla="*/ 0 w 884"/>
                  <a:gd name="T67" fmla="*/ 0 h 1818"/>
                  <a:gd name="T68" fmla="*/ 0 w 884"/>
                  <a:gd name="T69" fmla="*/ 0 h 1818"/>
                  <a:gd name="T70" fmla="*/ 0 w 884"/>
                  <a:gd name="T71" fmla="*/ 0 h 1818"/>
                  <a:gd name="T72" fmla="*/ 0 w 884"/>
                  <a:gd name="T73" fmla="*/ 0 h 1818"/>
                  <a:gd name="T74" fmla="*/ 0 w 884"/>
                  <a:gd name="T75" fmla="*/ 0 h 1818"/>
                  <a:gd name="T76" fmla="*/ 0 w 884"/>
                  <a:gd name="T77" fmla="*/ 0 h 1818"/>
                  <a:gd name="T78" fmla="*/ 0 w 884"/>
                  <a:gd name="T79" fmla="*/ 0 h 1818"/>
                  <a:gd name="T80" fmla="*/ 0 w 884"/>
                  <a:gd name="T81" fmla="*/ 0 h 1818"/>
                  <a:gd name="T82" fmla="*/ 0 w 884"/>
                  <a:gd name="T83" fmla="*/ 0 h 1818"/>
                  <a:gd name="T84" fmla="*/ 0 w 884"/>
                  <a:gd name="T85" fmla="*/ 0 h 1818"/>
                  <a:gd name="T86" fmla="*/ 0 w 884"/>
                  <a:gd name="T87" fmla="*/ 0 h 1818"/>
                  <a:gd name="T88" fmla="*/ 0 w 884"/>
                  <a:gd name="T89" fmla="*/ 0 h 1818"/>
                  <a:gd name="T90" fmla="*/ 0 w 884"/>
                  <a:gd name="T91" fmla="*/ 0 h 1818"/>
                  <a:gd name="T92" fmla="*/ 0 w 884"/>
                  <a:gd name="T93" fmla="*/ 0 h 1818"/>
                  <a:gd name="T94" fmla="*/ 0 w 884"/>
                  <a:gd name="T95" fmla="*/ 0 h 1818"/>
                  <a:gd name="T96" fmla="*/ 0 w 884"/>
                  <a:gd name="T97" fmla="*/ 0 h 1818"/>
                  <a:gd name="T98" fmla="*/ 0 w 884"/>
                  <a:gd name="T99" fmla="*/ 0 h 1818"/>
                  <a:gd name="T100" fmla="*/ 0 w 884"/>
                  <a:gd name="T101" fmla="*/ 0 h 1818"/>
                  <a:gd name="T102" fmla="*/ 0 w 884"/>
                  <a:gd name="T103" fmla="*/ 0 h 1818"/>
                  <a:gd name="T104" fmla="*/ 0 w 884"/>
                  <a:gd name="T105" fmla="*/ 0 h 1818"/>
                  <a:gd name="T106" fmla="*/ 0 w 884"/>
                  <a:gd name="T107" fmla="*/ 0 h 1818"/>
                  <a:gd name="T108" fmla="*/ 0 w 884"/>
                  <a:gd name="T109" fmla="*/ 0 h 1818"/>
                  <a:gd name="T110" fmla="*/ 0 w 884"/>
                  <a:gd name="T111" fmla="*/ 0 h 1818"/>
                  <a:gd name="T112" fmla="*/ 0 w 884"/>
                  <a:gd name="T113" fmla="*/ 0 h 1818"/>
                  <a:gd name="T114" fmla="*/ 0 w 884"/>
                  <a:gd name="T115" fmla="*/ 0 h 1818"/>
                  <a:gd name="T116" fmla="*/ 0 w 884"/>
                  <a:gd name="T117" fmla="*/ 0 h 1818"/>
                  <a:gd name="T118" fmla="*/ 0 w 884"/>
                  <a:gd name="T119" fmla="*/ 0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884"/>
                  <a:gd name="T181" fmla="*/ 0 h 1818"/>
                  <a:gd name="T182" fmla="*/ 884 w 884"/>
                  <a:gd name="T183" fmla="*/ 1818 h 1818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5675" name="Freeform 442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5040313" y="2324100"/>
              <a:ext cx="123825" cy="109538"/>
            </a:xfrm>
            <a:custGeom>
              <a:avLst/>
              <a:gdLst>
                <a:gd name="T0" fmla="*/ 2147483647 w 279"/>
                <a:gd name="T1" fmla="*/ 2147483647 h 204"/>
                <a:gd name="T2" fmla="*/ 2147483647 w 279"/>
                <a:gd name="T3" fmla="*/ 2147483647 h 204"/>
                <a:gd name="T4" fmla="*/ 2147483647 w 279"/>
                <a:gd name="T5" fmla="*/ 2147483647 h 204"/>
                <a:gd name="T6" fmla="*/ 2147483647 w 279"/>
                <a:gd name="T7" fmla="*/ 2147483647 h 204"/>
                <a:gd name="T8" fmla="*/ 2147483647 w 279"/>
                <a:gd name="T9" fmla="*/ 2147483647 h 204"/>
                <a:gd name="T10" fmla="*/ 2147483647 w 279"/>
                <a:gd name="T11" fmla="*/ 2147483647 h 204"/>
                <a:gd name="T12" fmla="*/ 2147483647 w 279"/>
                <a:gd name="T13" fmla="*/ 2147483647 h 204"/>
                <a:gd name="T14" fmla="*/ 2147483647 w 279"/>
                <a:gd name="T15" fmla="*/ 2147483647 h 204"/>
                <a:gd name="T16" fmla="*/ 2147483647 w 279"/>
                <a:gd name="T17" fmla="*/ 2147483647 h 204"/>
                <a:gd name="T18" fmla="*/ 2147483647 w 279"/>
                <a:gd name="T19" fmla="*/ 2147483647 h 204"/>
                <a:gd name="T20" fmla="*/ 2147483647 w 279"/>
                <a:gd name="T21" fmla="*/ 2147483647 h 204"/>
                <a:gd name="T22" fmla="*/ 2147483647 w 279"/>
                <a:gd name="T23" fmla="*/ 2147483647 h 204"/>
                <a:gd name="T24" fmla="*/ 2147483647 w 279"/>
                <a:gd name="T25" fmla="*/ 2147483647 h 204"/>
                <a:gd name="T26" fmla="*/ 2147483647 w 279"/>
                <a:gd name="T27" fmla="*/ 2147483647 h 204"/>
                <a:gd name="T28" fmla="*/ 2147483647 w 279"/>
                <a:gd name="T29" fmla="*/ 2147483647 h 204"/>
                <a:gd name="T30" fmla="*/ 2147483647 w 279"/>
                <a:gd name="T31" fmla="*/ 2147483647 h 204"/>
                <a:gd name="T32" fmla="*/ 2147483647 w 279"/>
                <a:gd name="T33" fmla="*/ 2147483647 h 204"/>
                <a:gd name="T34" fmla="*/ 2147483647 w 279"/>
                <a:gd name="T35" fmla="*/ 2147483647 h 204"/>
                <a:gd name="T36" fmla="*/ 2147483647 w 279"/>
                <a:gd name="T37" fmla="*/ 2147483647 h 204"/>
                <a:gd name="T38" fmla="*/ 2147483647 w 279"/>
                <a:gd name="T39" fmla="*/ 2147483647 h 204"/>
                <a:gd name="T40" fmla="*/ 2147483647 w 279"/>
                <a:gd name="T41" fmla="*/ 2147483647 h 204"/>
                <a:gd name="T42" fmla="*/ 2147483647 w 279"/>
                <a:gd name="T43" fmla="*/ 2147483647 h 204"/>
                <a:gd name="T44" fmla="*/ 2147483647 w 279"/>
                <a:gd name="T45" fmla="*/ 2147483647 h 204"/>
                <a:gd name="T46" fmla="*/ 2147483647 w 279"/>
                <a:gd name="T47" fmla="*/ 2147483647 h 204"/>
                <a:gd name="T48" fmla="*/ 2147483647 w 279"/>
                <a:gd name="T49" fmla="*/ 2147483647 h 204"/>
                <a:gd name="T50" fmla="*/ 2147483647 w 279"/>
                <a:gd name="T51" fmla="*/ 2147483647 h 204"/>
                <a:gd name="T52" fmla="*/ 2147483647 w 279"/>
                <a:gd name="T53" fmla="*/ 2147483647 h 204"/>
                <a:gd name="T54" fmla="*/ 2147483647 w 279"/>
                <a:gd name="T55" fmla="*/ 2147483647 h 204"/>
                <a:gd name="T56" fmla="*/ 2147483647 w 279"/>
                <a:gd name="T57" fmla="*/ 2147483647 h 204"/>
                <a:gd name="T58" fmla="*/ 2147483647 w 279"/>
                <a:gd name="T59" fmla="*/ 2147483647 h 204"/>
                <a:gd name="T60" fmla="*/ 2147483647 w 279"/>
                <a:gd name="T61" fmla="*/ 2147483647 h 204"/>
                <a:gd name="T62" fmla="*/ 2147483647 w 279"/>
                <a:gd name="T63" fmla="*/ 2147483647 h 204"/>
                <a:gd name="T64" fmla="*/ 0 w 279"/>
                <a:gd name="T65" fmla="*/ 2147483647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9"/>
                <a:gd name="T100" fmla="*/ 0 h 204"/>
                <a:gd name="T101" fmla="*/ 279 w 279"/>
                <a:gd name="T102" fmla="*/ 204 h 20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76" name="Freeform 443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4506913" y="1897063"/>
              <a:ext cx="209550" cy="150812"/>
            </a:xfrm>
            <a:custGeom>
              <a:avLst/>
              <a:gdLst>
                <a:gd name="T0" fmla="*/ 2147483647 w 485"/>
                <a:gd name="T1" fmla="*/ 2147483647 h 291"/>
                <a:gd name="T2" fmla="*/ 2147483647 w 485"/>
                <a:gd name="T3" fmla="*/ 2147483647 h 291"/>
                <a:gd name="T4" fmla="*/ 2147483647 w 485"/>
                <a:gd name="T5" fmla="*/ 2147483647 h 291"/>
                <a:gd name="T6" fmla="*/ 2147483647 w 485"/>
                <a:gd name="T7" fmla="*/ 2147483647 h 291"/>
                <a:gd name="T8" fmla="*/ 2147483647 w 485"/>
                <a:gd name="T9" fmla="*/ 2147483647 h 291"/>
                <a:gd name="T10" fmla="*/ 2147483647 w 485"/>
                <a:gd name="T11" fmla="*/ 2147483647 h 291"/>
                <a:gd name="T12" fmla="*/ 2147483647 w 485"/>
                <a:gd name="T13" fmla="*/ 2147483647 h 291"/>
                <a:gd name="T14" fmla="*/ 2147483647 w 485"/>
                <a:gd name="T15" fmla="*/ 2147483647 h 291"/>
                <a:gd name="T16" fmla="*/ 2147483647 w 485"/>
                <a:gd name="T17" fmla="*/ 2147483647 h 291"/>
                <a:gd name="T18" fmla="*/ 2147483647 w 485"/>
                <a:gd name="T19" fmla="*/ 2147483647 h 291"/>
                <a:gd name="T20" fmla="*/ 2147483647 w 485"/>
                <a:gd name="T21" fmla="*/ 2147483647 h 291"/>
                <a:gd name="T22" fmla="*/ 2147483647 w 485"/>
                <a:gd name="T23" fmla="*/ 2147483647 h 291"/>
                <a:gd name="T24" fmla="*/ 2147483647 w 485"/>
                <a:gd name="T25" fmla="*/ 2147483647 h 291"/>
                <a:gd name="T26" fmla="*/ 2147483647 w 485"/>
                <a:gd name="T27" fmla="*/ 2147483647 h 291"/>
                <a:gd name="T28" fmla="*/ 2147483647 w 485"/>
                <a:gd name="T29" fmla="*/ 2147483647 h 291"/>
                <a:gd name="T30" fmla="*/ 0 w 485"/>
                <a:gd name="T31" fmla="*/ 2147483647 h 291"/>
                <a:gd name="T32" fmla="*/ 2147483647 w 485"/>
                <a:gd name="T33" fmla="*/ 2147483647 h 291"/>
                <a:gd name="T34" fmla="*/ 2147483647 w 485"/>
                <a:gd name="T35" fmla="*/ 2147483647 h 291"/>
                <a:gd name="T36" fmla="*/ 2147483647 w 485"/>
                <a:gd name="T37" fmla="*/ 2147483647 h 291"/>
                <a:gd name="T38" fmla="*/ 2147483647 w 485"/>
                <a:gd name="T39" fmla="*/ 2147483647 h 291"/>
                <a:gd name="T40" fmla="*/ 2147483647 w 485"/>
                <a:gd name="T41" fmla="*/ 2147483647 h 291"/>
                <a:gd name="T42" fmla="*/ 2147483647 w 485"/>
                <a:gd name="T43" fmla="*/ 2147483647 h 291"/>
                <a:gd name="T44" fmla="*/ 2147483647 w 485"/>
                <a:gd name="T45" fmla="*/ 2147483647 h 291"/>
                <a:gd name="T46" fmla="*/ 2147483647 w 485"/>
                <a:gd name="T47" fmla="*/ 2147483647 h 291"/>
                <a:gd name="T48" fmla="*/ 2147483647 w 485"/>
                <a:gd name="T49" fmla="*/ 2147483647 h 291"/>
                <a:gd name="T50" fmla="*/ 2147483647 w 485"/>
                <a:gd name="T51" fmla="*/ 2147483647 h 291"/>
                <a:gd name="T52" fmla="*/ 2147483647 w 485"/>
                <a:gd name="T53" fmla="*/ 2147483647 h 291"/>
                <a:gd name="T54" fmla="*/ 2147483647 w 485"/>
                <a:gd name="T55" fmla="*/ 2147483647 h 291"/>
                <a:gd name="T56" fmla="*/ 2147483647 w 485"/>
                <a:gd name="T57" fmla="*/ 2147483647 h 291"/>
                <a:gd name="T58" fmla="*/ 2147483647 w 485"/>
                <a:gd name="T59" fmla="*/ 2147483647 h 291"/>
                <a:gd name="T60" fmla="*/ 2147483647 w 485"/>
                <a:gd name="T61" fmla="*/ 2147483647 h 291"/>
                <a:gd name="T62" fmla="*/ 2147483647 w 485"/>
                <a:gd name="T63" fmla="*/ 2147483647 h 291"/>
                <a:gd name="T64" fmla="*/ 2147483647 w 485"/>
                <a:gd name="T65" fmla="*/ 2147483647 h 291"/>
                <a:gd name="T66" fmla="*/ 2147483647 w 485"/>
                <a:gd name="T67" fmla="*/ 2147483647 h 291"/>
                <a:gd name="T68" fmla="*/ 2147483647 w 485"/>
                <a:gd name="T69" fmla="*/ 2147483647 h 291"/>
                <a:gd name="T70" fmla="*/ 2147483647 w 485"/>
                <a:gd name="T71" fmla="*/ 2147483647 h 291"/>
                <a:gd name="T72" fmla="*/ 2147483647 w 485"/>
                <a:gd name="T73" fmla="*/ 2147483647 h 291"/>
                <a:gd name="T74" fmla="*/ 2147483647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85"/>
                <a:gd name="T115" fmla="*/ 0 h 291"/>
                <a:gd name="T116" fmla="*/ 485 w 485"/>
                <a:gd name="T117" fmla="*/ 291 h 291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77" name="Freeform 444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4364038" y="2228850"/>
              <a:ext cx="82550" cy="87313"/>
            </a:xfrm>
            <a:custGeom>
              <a:avLst/>
              <a:gdLst>
                <a:gd name="T0" fmla="*/ 2147483647 w 186"/>
                <a:gd name="T1" fmla="*/ 2147483647 h 166"/>
                <a:gd name="T2" fmla="*/ 2147483647 w 186"/>
                <a:gd name="T3" fmla="*/ 2147483647 h 166"/>
                <a:gd name="T4" fmla="*/ 2147483647 w 186"/>
                <a:gd name="T5" fmla="*/ 2147483647 h 166"/>
                <a:gd name="T6" fmla="*/ 2147483647 w 186"/>
                <a:gd name="T7" fmla="*/ 2147483647 h 166"/>
                <a:gd name="T8" fmla="*/ 2147483647 w 186"/>
                <a:gd name="T9" fmla="*/ 2147483647 h 166"/>
                <a:gd name="T10" fmla="*/ 2147483647 w 186"/>
                <a:gd name="T11" fmla="*/ 2147483647 h 166"/>
                <a:gd name="T12" fmla="*/ 2147483647 w 186"/>
                <a:gd name="T13" fmla="*/ 2147483647 h 166"/>
                <a:gd name="T14" fmla="*/ 2147483647 w 186"/>
                <a:gd name="T15" fmla="*/ 2147483647 h 166"/>
                <a:gd name="T16" fmla="*/ 2147483647 w 186"/>
                <a:gd name="T17" fmla="*/ 2147483647 h 166"/>
                <a:gd name="T18" fmla="*/ 2147483647 w 186"/>
                <a:gd name="T19" fmla="*/ 2147483647 h 166"/>
                <a:gd name="T20" fmla="*/ 0 w 186"/>
                <a:gd name="T21" fmla="*/ 2147483647 h 166"/>
                <a:gd name="T22" fmla="*/ 0 w 186"/>
                <a:gd name="T23" fmla="*/ 0 h 166"/>
                <a:gd name="T24" fmla="*/ 2147483647 w 186"/>
                <a:gd name="T25" fmla="*/ 2147483647 h 166"/>
                <a:gd name="T26" fmla="*/ 2147483647 w 186"/>
                <a:gd name="T27" fmla="*/ 2147483647 h 166"/>
                <a:gd name="T28" fmla="*/ 2147483647 w 186"/>
                <a:gd name="T29" fmla="*/ 2147483647 h 166"/>
                <a:gd name="T30" fmla="*/ 2147483647 w 186"/>
                <a:gd name="T31" fmla="*/ 2147483647 h 166"/>
                <a:gd name="T32" fmla="*/ 2147483647 w 186"/>
                <a:gd name="T33" fmla="*/ 2147483647 h 166"/>
                <a:gd name="T34" fmla="*/ 2147483647 w 186"/>
                <a:gd name="T35" fmla="*/ 2147483647 h 166"/>
                <a:gd name="T36" fmla="*/ 2147483647 w 186"/>
                <a:gd name="T37" fmla="*/ 2147483647 h 166"/>
                <a:gd name="T38" fmla="*/ 2147483647 w 186"/>
                <a:gd name="T39" fmla="*/ 0 h 166"/>
                <a:gd name="T40" fmla="*/ 2147483647 w 186"/>
                <a:gd name="T41" fmla="*/ 2147483647 h 166"/>
                <a:gd name="T42" fmla="*/ 2147483647 w 186"/>
                <a:gd name="T43" fmla="*/ 2147483647 h 166"/>
                <a:gd name="T44" fmla="*/ 2147483647 w 186"/>
                <a:gd name="T45" fmla="*/ 2147483647 h 166"/>
                <a:gd name="T46" fmla="*/ 2147483647 w 186"/>
                <a:gd name="T47" fmla="*/ 2147483647 h 166"/>
                <a:gd name="T48" fmla="*/ 2147483647 w 186"/>
                <a:gd name="T49" fmla="*/ 2147483647 h 166"/>
                <a:gd name="T50" fmla="*/ 2147483647 w 186"/>
                <a:gd name="T51" fmla="*/ 2147483647 h 166"/>
                <a:gd name="T52" fmla="*/ 2147483647 w 186"/>
                <a:gd name="T53" fmla="*/ 2147483647 h 166"/>
                <a:gd name="T54" fmla="*/ 2147483647 w 186"/>
                <a:gd name="T55" fmla="*/ 2147483647 h 166"/>
                <a:gd name="T56" fmla="*/ 2147483647 w 186"/>
                <a:gd name="T57" fmla="*/ 2147483647 h 166"/>
                <a:gd name="T58" fmla="*/ 2147483647 w 186"/>
                <a:gd name="T59" fmla="*/ 2147483647 h 166"/>
                <a:gd name="T60" fmla="*/ 2147483647 w 186"/>
                <a:gd name="T61" fmla="*/ 2147483647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86"/>
                <a:gd name="T94" fmla="*/ 0 h 166"/>
                <a:gd name="T95" fmla="*/ 186 w 186"/>
                <a:gd name="T96" fmla="*/ 166 h 16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78" name="Freeform 445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2728913" y="3665538"/>
              <a:ext cx="82550" cy="57150"/>
            </a:xfrm>
            <a:custGeom>
              <a:avLst/>
              <a:gdLst>
                <a:gd name="T0" fmla="*/ 2147483647 w 186"/>
                <a:gd name="T1" fmla="*/ 2147483647 h 104"/>
                <a:gd name="T2" fmla="*/ 2147483647 w 186"/>
                <a:gd name="T3" fmla="*/ 2147483647 h 104"/>
                <a:gd name="T4" fmla="*/ 2147483647 w 186"/>
                <a:gd name="T5" fmla="*/ 2147483647 h 104"/>
                <a:gd name="T6" fmla="*/ 2147483647 w 186"/>
                <a:gd name="T7" fmla="*/ 2147483647 h 104"/>
                <a:gd name="T8" fmla="*/ 2147483647 w 186"/>
                <a:gd name="T9" fmla="*/ 2147483647 h 104"/>
                <a:gd name="T10" fmla="*/ 2147483647 w 186"/>
                <a:gd name="T11" fmla="*/ 2147483647 h 104"/>
                <a:gd name="T12" fmla="*/ 2147483647 w 186"/>
                <a:gd name="T13" fmla="*/ 2147483647 h 104"/>
                <a:gd name="T14" fmla="*/ 2147483647 w 186"/>
                <a:gd name="T15" fmla="*/ 2147483647 h 104"/>
                <a:gd name="T16" fmla="*/ 2147483647 w 186"/>
                <a:gd name="T17" fmla="*/ 2147483647 h 104"/>
                <a:gd name="T18" fmla="*/ 2147483647 w 186"/>
                <a:gd name="T19" fmla="*/ 2147483647 h 104"/>
                <a:gd name="T20" fmla="*/ 2147483647 w 186"/>
                <a:gd name="T21" fmla="*/ 2147483647 h 104"/>
                <a:gd name="T22" fmla="*/ 2147483647 w 186"/>
                <a:gd name="T23" fmla="*/ 2147483647 h 104"/>
                <a:gd name="T24" fmla="*/ 2147483647 w 186"/>
                <a:gd name="T25" fmla="*/ 2147483647 h 104"/>
                <a:gd name="T26" fmla="*/ 2147483647 w 186"/>
                <a:gd name="T27" fmla="*/ 0 h 104"/>
                <a:gd name="T28" fmla="*/ 2147483647 w 186"/>
                <a:gd name="T29" fmla="*/ 0 h 104"/>
                <a:gd name="T30" fmla="*/ 2147483647 w 186"/>
                <a:gd name="T31" fmla="*/ 2147483647 h 104"/>
                <a:gd name="T32" fmla="*/ 2147483647 w 186"/>
                <a:gd name="T33" fmla="*/ 2147483647 h 104"/>
                <a:gd name="T34" fmla="*/ 2147483647 w 186"/>
                <a:gd name="T35" fmla="*/ 2147483647 h 104"/>
                <a:gd name="T36" fmla="*/ 2147483647 w 186"/>
                <a:gd name="T37" fmla="*/ 2147483647 h 104"/>
                <a:gd name="T38" fmla="*/ 2147483647 w 186"/>
                <a:gd name="T39" fmla="*/ 2147483647 h 104"/>
                <a:gd name="T40" fmla="*/ 2147483647 w 186"/>
                <a:gd name="T41" fmla="*/ 2147483647 h 104"/>
                <a:gd name="T42" fmla="*/ 2147483647 w 186"/>
                <a:gd name="T43" fmla="*/ 2147483647 h 104"/>
                <a:gd name="T44" fmla="*/ 2147483647 w 186"/>
                <a:gd name="T45" fmla="*/ 2147483647 h 104"/>
                <a:gd name="T46" fmla="*/ 2147483647 w 186"/>
                <a:gd name="T47" fmla="*/ 2147483647 h 104"/>
                <a:gd name="T48" fmla="*/ 0 w 186"/>
                <a:gd name="T49" fmla="*/ 2147483647 h 104"/>
                <a:gd name="T50" fmla="*/ 2147483647 w 186"/>
                <a:gd name="T51" fmla="*/ 2147483647 h 104"/>
                <a:gd name="T52" fmla="*/ 2147483647 w 186"/>
                <a:gd name="T53" fmla="*/ 2147483647 h 104"/>
                <a:gd name="T54" fmla="*/ 2147483647 w 186"/>
                <a:gd name="T55" fmla="*/ 2147483647 h 104"/>
                <a:gd name="T56" fmla="*/ 2147483647 w 186"/>
                <a:gd name="T57" fmla="*/ 2147483647 h 104"/>
                <a:gd name="T58" fmla="*/ 2147483647 w 186"/>
                <a:gd name="T59" fmla="*/ 2147483647 h 104"/>
                <a:gd name="T60" fmla="*/ 2147483647 w 186"/>
                <a:gd name="T61" fmla="*/ 2147483647 h 104"/>
                <a:gd name="T62" fmla="*/ 2147483647 w 186"/>
                <a:gd name="T63" fmla="*/ 2147483647 h 104"/>
                <a:gd name="T64" fmla="*/ 2147483647 w 186"/>
                <a:gd name="T65" fmla="*/ 2147483647 h 104"/>
                <a:gd name="T66" fmla="*/ 2147483647 w 186"/>
                <a:gd name="T67" fmla="*/ 2147483647 h 104"/>
                <a:gd name="T68" fmla="*/ 2147483647 w 186"/>
                <a:gd name="T69" fmla="*/ 2147483647 h 104"/>
                <a:gd name="T70" fmla="*/ 2147483647 w 186"/>
                <a:gd name="T71" fmla="*/ 2147483647 h 104"/>
                <a:gd name="T72" fmla="*/ 2147483647 w 186"/>
                <a:gd name="T73" fmla="*/ 2147483647 h 104"/>
                <a:gd name="T74" fmla="*/ 2147483647 w 186"/>
                <a:gd name="T75" fmla="*/ 2147483647 h 104"/>
                <a:gd name="T76" fmla="*/ 2147483647 w 186"/>
                <a:gd name="T77" fmla="*/ 2147483647 h 104"/>
                <a:gd name="T78" fmla="*/ 2147483647 w 186"/>
                <a:gd name="T79" fmla="*/ 2147483647 h 104"/>
                <a:gd name="T80" fmla="*/ 2147483647 w 186"/>
                <a:gd name="T81" fmla="*/ 2147483647 h 104"/>
                <a:gd name="T82" fmla="*/ 2147483647 w 186"/>
                <a:gd name="T83" fmla="*/ 2147483647 h 104"/>
                <a:gd name="T84" fmla="*/ 2147483647 w 186"/>
                <a:gd name="T85" fmla="*/ 2147483647 h 104"/>
                <a:gd name="T86" fmla="*/ 2147483647 w 186"/>
                <a:gd name="T87" fmla="*/ 2147483647 h 104"/>
                <a:gd name="T88" fmla="*/ 2147483647 w 186"/>
                <a:gd name="T89" fmla="*/ 2147483647 h 104"/>
                <a:gd name="T90" fmla="*/ 2147483647 w 186"/>
                <a:gd name="T91" fmla="*/ 2147483647 h 104"/>
                <a:gd name="T92" fmla="*/ 2147483647 w 186"/>
                <a:gd name="T93" fmla="*/ 2147483647 h 104"/>
                <a:gd name="T94" fmla="*/ 2147483647 w 186"/>
                <a:gd name="T95" fmla="*/ 2147483647 h 104"/>
                <a:gd name="T96" fmla="*/ 2147483647 w 186"/>
                <a:gd name="T97" fmla="*/ 2147483647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86"/>
                <a:gd name="T148" fmla="*/ 0 h 104"/>
                <a:gd name="T149" fmla="*/ 186 w 186"/>
                <a:gd name="T150" fmla="*/ 104 h 10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79" name="Freeform 446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4522788" y="2263775"/>
              <a:ext cx="133350" cy="96838"/>
            </a:xfrm>
            <a:custGeom>
              <a:avLst/>
              <a:gdLst>
                <a:gd name="T0" fmla="*/ 2147483647 w 311"/>
                <a:gd name="T1" fmla="*/ 2147483647 h 179"/>
                <a:gd name="T2" fmla="*/ 2147483647 w 311"/>
                <a:gd name="T3" fmla="*/ 2147483647 h 179"/>
                <a:gd name="T4" fmla="*/ 2147483647 w 311"/>
                <a:gd name="T5" fmla="*/ 2147483647 h 179"/>
                <a:gd name="T6" fmla="*/ 2147483647 w 311"/>
                <a:gd name="T7" fmla="*/ 2147483647 h 179"/>
                <a:gd name="T8" fmla="*/ 2147483647 w 311"/>
                <a:gd name="T9" fmla="*/ 0 h 179"/>
                <a:gd name="T10" fmla="*/ 2147483647 w 311"/>
                <a:gd name="T11" fmla="*/ 2147483647 h 179"/>
                <a:gd name="T12" fmla="*/ 2147483647 w 311"/>
                <a:gd name="T13" fmla="*/ 2147483647 h 179"/>
                <a:gd name="T14" fmla="*/ 2147483647 w 311"/>
                <a:gd name="T15" fmla="*/ 2147483647 h 179"/>
                <a:gd name="T16" fmla="*/ 2147483647 w 311"/>
                <a:gd name="T17" fmla="*/ 2147483647 h 179"/>
                <a:gd name="T18" fmla="*/ 2147483647 w 311"/>
                <a:gd name="T19" fmla="*/ 2147483647 h 179"/>
                <a:gd name="T20" fmla="*/ 2147483647 w 311"/>
                <a:gd name="T21" fmla="*/ 2147483647 h 179"/>
                <a:gd name="T22" fmla="*/ 2147483647 w 311"/>
                <a:gd name="T23" fmla="*/ 2147483647 h 179"/>
                <a:gd name="T24" fmla="*/ 2147483647 w 311"/>
                <a:gd name="T25" fmla="*/ 2147483647 h 179"/>
                <a:gd name="T26" fmla="*/ 2147483647 w 311"/>
                <a:gd name="T27" fmla="*/ 2147483647 h 179"/>
                <a:gd name="T28" fmla="*/ 2147483647 w 311"/>
                <a:gd name="T29" fmla="*/ 2147483647 h 179"/>
                <a:gd name="T30" fmla="*/ 2147483647 w 311"/>
                <a:gd name="T31" fmla="*/ 2147483647 h 179"/>
                <a:gd name="T32" fmla="*/ 2147483647 w 311"/>
                <a:gd name="T33" fmla="*/ 2147483647 h 179"/>
                <a:gd name="T34" fmla="*/ 2147483647 w 311"/>
                <a:gd name="T35" fmla="*/ 2147483647 h 179"/>
                <a:gd name="T36" fmla="*/ 2147483647 w 311"/>
                <a:gd name="T37" fmla="*/ 2147483647 h 179"/>
                <a:gd name="T38" fmla="*/ 2147483647 w 311"/>
                <a:gd name="T39" fmla="*/ 2147483647 h 179"/>
                <a:gd name="T40" fmla="*/ 2147483647 w 311"/>
                <a:gd name="T41" fmla="*/ 2147483647 h 179"/>
                <a:gd name="T42" fmla="*/ 2147483647 w 311"/>
                <a:gd name="T43" fmla="*/ 2147483647 h 179"/>
                <a:gd name="T44" fmla="*/ 2147483647 w 311"/>
                <a:gd name="T45" fmla="*/ 2147483647 h 179"/>
                <a:gd name="T46" fmla="*/ 2147483647 w 311"/>
                <a:gd name="T47" fmla="*/ 2147483647 h 179"/>
                <a:gd name="T48" fmla="*/ 2147483647 w 311"/>
                <a:gd name="T49" fmla="*/ 2147483647 h 179"/>
                <a:gd name="T50" fmla="*/ 2147483647 w 311"/>
                <a:gd name="T51" fmla="*/ 2147483647 h 179"/>
                <a:gd name="T52" fmla="*/ 2147483647 w 311"/>
                <a:gd name="T53" fmla="*/ 2147483647 h 179"/>
                <a:gd name="T54" fmla="*/ 2147483647 w 311"/>
                <a:gd name="T55" fmla="*/ 2147483647 h 179"/>
                <a:gd name="T56" fmla="*/ 2147483647 w 311"/>
                <a:gd name="T57" fmla="*/ 2147483647 h 179"/>
                <a:gd name="T58" fmla="*/ 2147483647 w 311"/>
                <a:gd name="T59" fmla="*/ 2147483647 h 179"/>
                <a:gd name="T60" fmla="*/ 2147483647 w 311"/>
                <a:gd name="T61" fmla="*/ 2147483647 h 179"/>
                <a:gd name="T62" fmla="*/ 2147483647 w 311"/>
                <a:gd name="T63" fmla="*/ 2147483647 h 179"/>
                <a:gd name="T64" fmla="*/ 2147483647 w 311"/>
                <a:gd name="T65" fmla="*/ 2147483647 h 179"/>
                <a:gd name="T66" fmla="*/ 2147483647 w 311"/>
                <a:gd name="T67" fmla="*/ 2147483647 h 179"/>
                <a:gd name="T68" fmla="*/ 2147483647 w 311"/>
                <a:gd name="T69" fmla="*/ 2147483647 h 179"/>
                <a:gd name="T70" fmla="*/ 2147483647 w 311"/>
                <a:gd name="T71" fmla="*/ 2147483647 h 179"/>
                <a:gd name="T72" fmla="*/ 2147483647 w 311"/>
                <a:gd name="T73" fmla="*/ 2147483647 h 179"/>
                <a:gd name="T74" fmla="*/ 0 w 311"/>
                <a:gd name="T75" fmla="*/ 2147483647 h 179"/>
                <a:gd name="T76" fmla="*/ 0 w 311"/>
                <a:gd name="T77" fmla="*/ 2147483647 h 179"/>
                <a:gd name="T78" fmla="*/ 2147483647 w 311"/>
                <a:gd name="T79" fmla="*/ 2147483647 h 179"/>
                <a:gd name="T80" fmla="*/ 2147483647 w 311"/>
                <a:gd name="T81" fmla="*/ 2147483647 h 179"/>
                <a:gd name="T82" fmla="*/ 2147483647 w 311"/>
                <a:gd name="T83" fmla="*/ 2147483647 h 179"/>
                <a:gd name="T84" fmla="*/ 2147483647 w 311"/>
                <a:gd name="T85" fmla="*/ 2147483647 h 179"/>
                <a:gd name="T86" fmla="*/ 2147483647 w 311"/>
                <a:gd name="T87" fmla="*/ 2147483647 h 179"/>
                <a:gd name="T88" fmla="*/ 2147483647 w 311"/>
                <a:gd name="T89" fmla="*/ 2147483647 h 179"/>
                <a:gd name="T90" fmla="*/ 2147483647 w 311"/>
                <a:gd name="T91" fmla="*/ 2147483647 h 179"/>
                <a:gd name="T92" fmla="*/ 2147483647 w 311"/>
                <a:gd name="T93" fmla="*/ 2147483647 h 179"/>
                <a:gd name="T94" fmla="*/ 2147483647 w 311"/>
                <a:gd name="T95" fmla="*/ 2147483647 h 179"/>
                <a:gd name="T96" fmla="*/ 2147483647 w 311"/>
                <a:gd name="T97" fmla="*/ 2147483647 h 179"/>
                <a:gd name="T98" fmla="*/ 2147483647 w 311"/>
                <a:gd name="T99" fmla="*/ 2147483647 h 179"/>
                <a:gd name="T100" fmla="*/ 0 w 311"/>
                <a:gd name="T101" fmla="*/ 2147483647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11"/>
                <a:gd name="T154" fmla="*/ 0 h 179"/>
                <a:gd name="T155" fmla="*/ 311 w 311"/>
                <a:gd name="T156" fmla="*/ 179 h 17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80" name="Freeform 447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3878263" y="3190875"/>
              <a:ext cx="177800" cy="165100"/>
            </a:xfrm>
            <a:custGeom>
              <a:avLst/>
              <a:gdLst>
                <a:gd name="T0" fmla="*/ 2147483647 w 405"/>
                <a:gd name="T1" fmla="*/ 2147483647 h 314"/>
                <a:gd name="T2" fmla="*/ 2147483647 w 405"/>
                <a:gd name="T3" fmla="*/ 2147483647 h 314"/>
                <a:gd name="T4" fmla="*/ 2147483647 w 405"/>
                <a:gd name="T5" fmla="*/ 2147483647 h 314"/>
                <a:gd name="T6" fmla="*/ 2147483647 w 405"/>
                <a:gd name="T7" fmla="*/ 2147483647 h 314"/>
                <a:gd name="T8" fmla="*/ 2147483647 w 405"/>
                <a:gd name="T9" fmla="*/ 2147483647 h 314"/>
                <a:gd name="T10" fmla="*/ 2147483647 w 405"/>
                <a:gd name="T11" fmla="*/ 2147483647 h 314"/>
                <a:gd name="T12" fmla="*/ 2147483647 w 405"/>
                <a:gd name="T13" fmla="*/ 2147483647 h 314"/>
                <a:gd name="T14" fmla="*/ 2147483647 w 405"/>
                <a:gd name="T15" fmla="*/ 2147483647 h 314"/>
                <a:gd name="T16" fmla="*/ 2147483647 w 405"/>
                <a:gd name="T17" fmla="*/ 2147483647 h 314"/>
                <a:gd name="T18" fmla="*/ 2147483647 w 405"/>
                <a:gd name="T19" fmla="*/ 2147483647 h 314"/>
                <a:gd name="T20" fmla="*/ 2147483647 w 405"/>
                <a:gd name="T21" fmla="*/ 2147483647 h 314"/>
                <a:gd name="T22" fmla="*/ 2147483647 w 405"/>
                <a:gd name="T23" fmla="*/ 2147483647 h 314"/>
                <a:gd name="T24" fmla="*/ 2147483647 w 405"/>
                <a:gd name="T25" fmla="*/ 2147483647 h 314"/>
                <a:gd name="T26" fmla="*/ 2147483647 w 405"/>
                <a:gd name="T27" fmla="*/ 2147483647 h 314"/>
                <a:gd name="T28" fmla="*/ 2147483647 w 405"/>
                <a:gd name="T29" fmla="*/ 2147483647 h 314"/>
                <a:gd name="T30" fmla="*/ 2147483647 w 405"/>
                <a:gd name="T31" fmla="*/ 2147483647 h 314"/>
                <a:gd name="T32" fmla="*/ 2147483647 w 405"/>
                <a:gd name="T33" fmla="*/ 2147483647 h 314"/>
                <a:gd name="T34" fmla="*/ 2147483647 w 405"/>
                <a:gd name="T35" fmla="*/ 2147483647 h 314"/>
                <a:gd name="T36" fmla="*/ 2147483647 w 405"/>
                <a:gd name="T37" fmla="*/ 2147483647 h 314"/>
                <a:gd name="T38" fmla="*/ 2147483647 w 405"/>
                <a:gd name="T39" fmla="*/ 2147483647 h 314"/>
                <a:gd name="T40" fmla="*/ 2147483647 w 405"/>
                <a:gd name="T41" fmla="*/ 0 h 314"/>
                <a:gd name="T42" fmla="*/ 2147483647 w 405"/>
                <a:gd name="T43" fmla="*/ 2147483647 h 314"/>
                <a:gd name="T44" fmla="*/ 2147483647 w 405"/>
                <a:gd name="T45" fmla="*/ 2147483647 h 314"/>
                <a:gd name="T46" fmla="*/ 2147483647 w 405"/>
                <a:gd name="T47" fmla="*/ 2147483647 h 314"/>
                <a:gd name="T48" fmla="*/ 2147483647 w 405"/>
                <a:gd name="T49" fmla="*/ 2147483647 h 314"/>
                <a:gd name="T50" fmla="*/ 2147483647 w 405"/>
                <a:gd name="T51" fmla="*/ 2147483647 h 314"/>
                <a:gd name="T52" fmla="*/ 2147483647 w 405"/>
                <a:gd name="T53" fmla="*/ 2147483647 h 314"/>
                <a:gd name="T54" fmla="*/ 2147483647 w 405"/>
                <a:gd name="T55" fmla="*/ 2147483647 h 314"/>
                <a:gd name="T56" fmla="*/ 2147483647 w 405"/>
                <a:gd name="T57" fmla="*/ 2147483647 h 314"/>
                <a:gd name="T58" fmla="*/ 2147483647 w 405"/>
                <a:gd name="T59" fmla="*/ 2147483647 h 314"/>
                <a:gd name="T60" fmla="*/ 2147483647 w 405"/>
                <a:gd name="T61" fmla="*/ 2147483647 h 314"/>
                <a:gd name="T62" fmla="*/ 2147483647 w 405"/>
                <a:gd name="T63" fmla="*/ 2147483647 h 314"/>
                <a:gd name="T64" fmla="*/ 2147483647 w 405"/>
                <a:gd name="T65" fmla="*/ 2147483647 h 314"/>
                <a:gd name="T66" fmla="*/ 2147483647 w 405"/>
                <a:gd name="T67" fmla="*/ 2147483647 h 314"/>
                <a:gd name="T68" fmla="*/ 2147483647 w 405"/>
                <a:gd name="T69" fmla="*/ 2147483647 h 314"/>
                <a:gd name="T70" fmla="*/ 2147483647 w 405"/>
                <a:gd name="T71" fmla="*/ 2147483647 h 314"/>
                <a:gd name="T72" fmla="*/ 2147483647 w 405"/>
                <a:gd name="T73" fmla="*/ 2147483647 h 314"/>
                <a:gd name="T74" fmla="*/ 2147483647 w 405"/>
                <a:gd name="T75" fmla="*/ 2147483647 h 314"/>
                <a:gd name="T76" fmla="*/ 2147483647 w 405"/>
                <a:gd name="T77" fmla="*/ 2147483647 h 314"/>
                <a:gd name="T78" fmla="*/ 2147483647 w 405"/>
                <a:gd name="T79" fmla="*/ 2147483647 h 314"/>
                <a:gd name="T80" fmla="*/ 2147483647 w 405"/>
                <a:gd name="T81" fmla="*/ 2147483647 h 314"/>
                <a:gd name="T82" fmla="*/ 2147483647 w 405"/>
                <a:gd name="T83" fmla="*/ 2147483647 h 314"/>
                <a:gd name="T84" fmla="*/ 2147483647 w 405"/>
                <a:gd name="T85" fmla="*/ 2147483647 h 314"/>
                <a:gd name="T86" fmla="*/ 2147483647 w 405"/>
                <a:gd name="T87" fmla="*/ 2147483647 h 314"/>
                <a:gd name="T88" fmla="*/ 2147483647 w 405"/>
                <a:gd name="T89" fmla="*/ 2147483647 h 314"/>
                <a:gd name="T90" fmla="*/ 2147483647 w 405"/>
                <a:gd name="T91" fmla="*/ 2147483647 h 314"/>
                <a:gd name="T92" fmla="*/ 2147483647 w 405"/>
                <a:gd name="T93" fmla="*/ 2147483647 h 314"/>
                <a:gd name="T94" fmla="*/ 2147483647 w 405"/>
                <a:gd name="T95" fmla="*/ 2147483647 h 314"/>
                <a:gd name="T96" fmla="*/ 2147483647 w 405"/>
                <a:gd name="T97" fmla="*/ 2147483647 h 314"/>
                <a:gd name="T98" fmla="*/ 2147483647 w 405"/>
                <a:gd name="T99" fmla="*/ 2147483647 h 314"/>
                <a:gd name="T100" fmla="*/ 2147483647 w 405"/>
                <a:gd name="T101" fmla="*/ 2147483647 h 314"/>
                <a:gd name="T102" fmla="*/ 2147483647 w 405"/>
                <a:gd name="T103" fmla="*/ 2147483647 h 314"/>
                <a:gd name="T104" fmla="*/ 0 w 405"/>
                <a:gd name="T105" fmla="*/ 2147483647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05"/>
                <a:gd name="T160" fmla="*/ 0 h 314"/>
                <a:gd name="T161" fmla="*/ 405 w 405"/>
                <a:gd name="T162" fmla="*/ 314 h 31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81" name="Freeform 448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4225925" y="3259138"/>
              <a:ext cx="193675" cy="349250"/>
            </a:xfrm>
            <a:custGeom>
              <a:avLst/>
              <a:gdLst>
                <a:gd name="T0" fmla="*/ 2147483647 w 453"/>
                <a:gd name="T1" fmla="*/ 2147483647 h 661"/>
                <a:gd name="T2" fmla="*/ 2147483647 w 453"/>
                <a:gd name="T3" fmla="*/ 2147483647 h 661"/>
                <a:gd name="T4" fmla="*/ 2147483647 w 453"/>
                <a:gd name="T5" fmla="*/ 2147483647 h 661"/>
                <a:gd name="T6" fmla="*/ 2147483647 w 453"/>
                <a:gd name="T7" fmla="*/ 2147483647 h 661"/>
                <a:gd name="T8" fmla="*/ 2147483647 w 453"/>
                <a:gd name="T9" fmla="*/ 2147483647 h 661"/>
                <a:gd name="T10" fmla="*/ 2147483647 w 453"/>
                <a:gd name="T11" fmla="*/ 2147483647 h 661"/>
                <a:gd name="T12" fmla="*/ 2147483647 w 453"/>
                <a:gd name="T13" fmla="*/ 2147483647 h 661"/>
                <a:gd name="T14" fmla="*/ 2147483647 w 453"/>
                <a:gd name="T15" fmla="*/ 2147483647 h 661"/>
                <a:gd name="T16" fmla="*/ 2147483647 w 453"/>
                <a:gd name="T17" fmla="*/ 2147483647 h 661"/>
                <a:gd name="T18" fmla="*/ 2147483647 w 453"/>
                <a:gd name="T19" fmla="*/ 2147483647 h 661"/>
                <a:gd name="T20" fmla="*/ 2147483647 w 453"/>
                <a:gd name="T21" fmla="*/ 2147483647 h 661"/>
                <a:gd name="T22" fmla="*/ 2147483647 w 453"/>
                <a:gd name="T23" fmla="*/ 2147483647 h 661"/>
                <a:gd name="T24" fmla="*/ 2147483647 w 453"/>
                <a:gd name="T25" fmla="*/ 2147483647 h 661"/>
                <a:gd name="T26" fmla="*/ 2147483647 w 453"/>
                <a:gd name="T27" fmla="*/ 2147483647 h 661"/>
                <a:gd name="T28" fmla="*/ 2147483647 w 453"/>
                <a:gd name="T29" fmla="*/ 2147483647 h 661"/>
                <a:gd name="T30" fmla="*/ 2147483647 w 453"/>
                <a:gd name="T31" fmla="*/ 2147483647 h 661"/>
                <a:gd name="T32" fmla="*/ 2147483647 w 453"/>
                <a:gd name="T33" fmla="*/ 2147483647 h 661"/>
                <a:gd name="T34" fmla="*/ 2147483647 w 453"/>
                <a:gd name="T35" fmla="*/ 2147483647 h 661"/>
                <a:gd name="T36" fmla="*/ 2147483647 w 453"/>
                <a:gd name="T37" fmla="*/ 2147483647 h 661"/>
                <a:gd name="T38" fmla="*/ 2147483647 w 453"/>
                <a:gd name="T39" fmla="*/ 2147483647 h 661"/>
                <a:gd name="T40" fmla="*/ 2147483647 w 453"/>
                <a:gd name="T41" fmla="*/ 2147483647 h 661"/>
                <a:gd name="T42" fmla="*/ 2147483647 w 453"/>
                <a:gd name="T43" fmla="*/ 2147483647 h 661"/>
                <a:gd name="T44" fmla="*/ 2147483647 w 453"/>
                <a:gd name="T45" fmla="*/ 2147483647 h 661"/>
                <a:gd name="T46" fmla="*/ 2147483647 w 453"/>
                <a:gd name="T47" fmla="*/ 2147483647 h 661"/>
                <a:gd name="T48" fmla="*/ 2147483647 w 453"/>
                <a:gd name="T49" fmla="*/ 2147483647 h 661"/>
                <a:gd name="T50" fmla="*/ 2147483647 w 453"/>
                <a:gd name="T51" fmla="*/ 2147483647 h 661"/>
                <a:gd name="T52" fmla="*/ 2147483647 w 453"/>
                <a:gd name="T53" fmla="*/ 2147483647 h 661"/>
                <a:gd name="T54" fmla="*/ 2147483647 w 453"/>
                <a:gd name="T55" fmla="*/ 2147483647 h 661"/>
                <a:gd name="T56" fmla="*/ 2147483647 w 453"/>
                <a:gd name="T57" fmla="*/ 2147483647 h 661"/>
                <a:gd name="T58" fmla="*/ 2147483647 w 453"/>
                <a:gd name="T59" fmla="*/ 2147483647 h 661"/>
                <a:gd name="T60" fmla="*/ 2147483647 w 453"/>
                <a:gd name="T61" fmla="*/ 2147483647 h 661"/>
                <a:gd name="T62" fmla="*/ 2147483647 w 453"/>
                <a:gd name="T63" fmla="*/ 2147483647 h 661"/>
                <a:gd name="T64" fmla="*/ 2147483647 w 453"/>
                <a:gd name="T65" fmla="*/ 2147483647 h 661"/>
                <a:gd name="T66" fmla="*/ 2147483647 w 453"/>
                <a:gd name="T67" fmla="*/ 2147483647 h 661"/>
                <a:gd name="T68" fmla="*/ 2147483647 w 453"/>
                <a:gd name="T69" fmla="*/ 2147483647 h 661"/>
                <a:gd name="T70" fmla="*/ 2147483647 w 453"/>
                <a:gd name="T71" fmla="*/ 2147483647 h 661"/>
                <a:gd name="T72" fmla="*/ 2147483647 w 453"/>
                <a:gd name="T73" fmla="*/ 2147483647 h 661"/>
                <a:gd name="T74" fmla="*/ 2147483647 w 453"/>
                <a:gd name="T75" fmla="*/ 2147483647 h 661"/>
                <a:gd name="T76" fmla="*/ 2147483647 w 453"/>
                <a:gd name="T77" fmla="*/ 2147483647 h 661"/>
                <a:gd name="T78" fmla="*/ 2147483647 w 453"/>
                <a:gd name="T79" fmla="*/ 2147483647 h 661"/>
                <a:gd name="T80" fmla="*/ 2147483647 w 453"/>
                <a:gd name="T81" fmla="*/ 2147483647 h 661"/>
                <a:gd name="T82" fmla="*/ 2147483647 w 453"/>
                <a:gd name="T83" fmla="*/ 2147483647 h 661"/>
                <a:gd name="T84" fmla="*/ 2147483647 w 453"/>
                <a:gd name="T85" fmla="*/ 2147483647 h 661"/>
                <a:gd name="T86" fmla="*/ 2147483647 w 453"/>
                <a:gd name="T87" fmla="*/ 2147483647 h 661"/>
                <a:gd name="T88" fmla="*/ 2147483647 w 453"/>
                <a:gd name="T89" fmla="*/ 2147483647 h 661"/>
                <a:gd name="T90" fmla="*/ 2147483647 w 453"/>
                <a:gd name="T91" fmla="*/ 2147483647 h 661"/>
                <a:gd name="T92" fmla="*/ 2147483647 w 453"/>
                <a:gd name="T93" fmla="*/ 2147483647 h 661"/>
                <a:gd name="T94" fmla="*/ 2147483647 w 453"/>
                <a:gd name="T95" fmla="*/ 2147483647 h 661"/>
                <a:gd name="T96" fmla="*/ 2147483647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3"/>
                <a:gd name="T148" fmla="*/ 0 h 661"/>
                <a:gd name="T149" fmla="*/ 453 w 453"/>
                <a:gd name="T150" fmla="*/ 661 h 66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82" name="Freeform 449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6677025" y="3017838"/>
              <a:ext cx="55563" cy="57150"/>
            </a:xfrm>
            <a:custGeom>
              <a:avLst/>
              <a:gdLst>
                <a:gd name="T0" fmla="*/ 0 w 126"/>
                <a:gd name="T1" fmla="*/ 2147483647 h 105"/>
                <a:gd name="T2" fmla="*/ 2147483647 w 126"/>
                <a:gd name="T3" fmla="*/ 2147483647 h 105"/>
                <a:gd name="T4" fmla="*/ 2147483647 w 126"/>
                <a:gd name="T5" fmla="*/ 2147483647 h 105"/>
                <a:gd name="T6" fmla="*/ 2147483647 w 126"/>
                <a:gd name="T7" fmla="*/ 2147483647 h 105"/>
                <a:gd name="T8" fmla="*/ 2147483647 w 126"/>
                <a:gd name="T9" fmla="*/ 2147483647 h 105"/>
                <a:gd name="T10" fmla="*/ 2147483647 w 126"/>
                <a:gd name="T11" fmla="*/ 2147483647 h 105"/>
                <a:gd name="T12" fmla="*/ 2147483647 w 126"/>
                <a:gd name="T13" fmla="*/ 0 h 105"/>
                <a:gd name="T14" fmla="*/ 2147483647 w 126"/>
                <a:gd name="T15" fmla="*/ 0 h 105"/>
                <a:gd name="T16" fmla="*/ 2147483647 w 126"/>
                <a:gd name="T17" fmla="*/ 2147483647 h 105"/>
                <a:gd name="T18" fmla="*/ 2147483647 w 126"/>
                <a:gd name="T19" fmla="*/ 2147483647 h 105"/>
                <a:gd name="T20" fmla="*/ 2147483647 w 126"/>
                <a:gd name="T21" fmla="*/ 2147483647 h 105"/>
                <a:gd name="T22" fmla="*/ 2147483647 w 126"/>
                <a:gd name="T23" fmla="*/ 2147483647 h 105"/>
                <a:gd name="T24" fmla="*/ 2147483647 w 126"/>
                <a:gd name="T25" fmla="*/ 2147483647 h 105"/>
                <a:gd name="T26" fmla="*/ 2147483647 w 126"/>
                <a:gd name="T27" fmla="*/ 2147483647 h 105"/>
                <a:gd name="T28" fmla="*/ 2147483647 w 126"/>
                <a:gd name="T29" fmla="*/ 2147483647 h 105"/>
                <a:gd name="T30" fmla="*/ 2147483647 w 126"/>
                <a:gd name="T31" fmla="*/ 2147483647 h 105"/>
                <a:gd name="T32" fmla="*/ 2147483647 w 126"/>
                <a:gd name="T33" fmla="*/ 2147483647 h 105"/>
                <a:gd name="T34" fmla="*/ 2147483647 w 126"/>
                <a:gd name="T35" fmla="*/ 2147483647 h 105"/>
                <a:gd name="T36" fmla="*/ 2147483647 w 126"/>
                <a:gd name="T37" fmla="*/ 2147483647 h 105"/>
                <a:gd name="T38" fmla="*/ 2147483647 w 126"/>
                <a:gd name="T39" fmla="*/ 2147483647 h 105"/>
                <a:gd name="T40" fmla="*/ 2147483647 w 126"/>
                <a:gd name="T41" fmla="*/ 2147483647 h 105"/>
                <a:gd name="T42" fmla="*/ 2147483647 w 126"/>
                <a:gd name="T43" fmla="*/ 2147483647 h 105"/>
                <a:gd name="T44" fmla="*/ 2147483647 w 126"/>
                <a:gd name="T45" fmla="*/ 2147483647 h 105"/>
                <a:gd name="T46" fmla="*/ 2147483647 w 126"/>
                <a:gd name="T47" fmla="*/ 2147483647 h 105"/>
                <a:gd name="T48" fmla="*/ 2147483647 w 126"/>
                <a:gd name="T49" fmla="*/ 2147483647 h 105"/>
                <a:gd name="T50" fmla="*/ 2147483647 w 126"/>
                <a:gd name="T51" fmla="*/ 2147483647 h 105"/>
                <a:gd name="T52" fmla="*/ 2147483647 w 126"/>
                <a:gd name="T53" fmla="*/ 2147483647 h 105"/>
                <a:gd name="T54" fmla="*/ 2147483647 w 126"/>
                <a:gd name="T55" fmla="*/ 2147483647 h 105"/>
                <a:gd name="T56" fmla="*/ 2147483647 w 126"/>
                <a:gd name="T57" fmla="*/ 2147483647 h 105"/>
                <a:gd name="T58" fmla="*/ 2147483647 w 126"/>
                <a:gd name="T59" fmla="*/ 2147483647 h 105"/>
                <a:gd name="T60" fmla="*/ 2147483647 w 126"/>
                <a:gd name="T61" fmla="*/ 2147483647 h 105"/>
                <a:gd name="T62" fmla="*/ 2147483647 w 126"/>
                <a:gd name="T63" fmla="*/ 2147483647 h 105"/>
                <a:gd name="T64" fmla="*/ 2147483647 w 126"/>
                <a:gd name="T65" fmla="*/ 2147483647 h 105"/>
                <a:gd name="T66" fmla="*/ 2147483647 w 126"/>
                <a:gd name="T67" fmla="*/ 2147483647 h 105"/>
                <a:gd name="T68" fmla="*/ 2147483647 w 126"/>
                <a:gd name="T69" fmla="*/ 2147483647 h 105"/>
                <a:gd name="T70" fmla="*/ 2147483647 w 126"/>
                <a:gd name="T71" fmla="*/ 2147483647 h 105"/>
                <a:gd name="T72" fmla="*/ 2147483647 w 126"/>
                <a:gd name="T73" fmla="*/ 2147483647 h 105"/>
                <a:gd name="T74" fmla="*/ 2147483647 w 126"/>
                <a:gd name="T75" fmla="*/ 2147483647 h 105"/>
                <a:gd name="T76" fmla="*/ 0 w 126"/>
                <a:gd name="T77" fmla="*/ 2147483647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26"/>
                <a:gd name="T118" fmla="*/ 0 h 105"/>
                <a:gd name="T119" fmla="*/ 126 w 126"/>
                <a:gd name="T120" fmla="*/ 105 h 10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83" name="Freeform 450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2032000" y="3281363"/>
              <a:ext cx="298450" cy="523875"/>
            </a:xfrm>
            <a:custGeom>
              <a:avLst/>
              <a:gdLst>
                <a:gd name="T0" fmla="*/ 2147483647 w 684"/>
                <a:gd name="T1" fmla="*/ 2147483647 h 998"/>
                <a:gd name="T2" fmla="*/ 2147483647 w 684"/>
                <a:gd name="T3" fmla="*/ 2147483647 h 998"/>
                <a:gd name="T4" fmla="*/ 2147483647 w 684"/>
                <a:gd name="T5" fmla="*/ 2147483647 h 998"/>
                <a:gd name="T6" fmla="*/ 2147483647 w 684"/>
                <a:gd name="T7" fmla="*/ 2147483647 h 998"/>
                <a:gd name="T8" fmla="*/ 2147483647 w 684"/>
                <a:gd name="T9" fmla="*/ 2147483647 h 998"/>
                <a:gd name="T10" fmla="*/ 2147483647 w 684"/>
                <a:gd name="T11" fmla="*/ 2147483647 h 998"/>
                <a:gd name="T12" fmla="*/ 2147483647 w 684"/>
                <a:gd name="T13" fmla="*/ 2147483647 h 998"/>
                <a:gd name="T14" fmla="*/ 2147483647 w 684"/>
                <a:gd name="T15" fmla="*/ 2147483647 h 998"/>
                <a:gd name="T16" fmla="*/ 2147483647 w 684"/>
                <a:gd name="T17" fmla="*/ 2147483647 h 998"/>
                <a:gd name="T18" fmla="*/ 2147483647 w 684"/>
                <a:gd name="T19" fmla="*/ 2147483647 h 998"/>
                <a:gd name="T20" fmla="*/ 2147483647 w 684"/>
                <a:gd name="T21" fmla="*/ 2147483647 h 998"/>
                <a:gd name="T22" fmla="*/ 2147483647 w 684"/>
                <a:gd name="T23" fmla="*/ 2147483647 h 998"/>
                <a:gd name="T24" fmla="*/ 2147483647 w 684"/>
                <a:gd name="T25" fmla="*/ 2147483647 h 998"/>
                <a:gd name="T26" fmla="*/ 2147483647 w 684"/>
                <a:gd name="T27" fmla="*/ 2147483647 h 998"/>
                <a:gd name="T28" fmla="*/ 2147483647 w 684"/>
                <a:gd name="T29" fmla="*/ 2147483647 h 998"/>
                <a:gd name="T30" fmla="*/ 2147483647 w 684"/>
                <a:gd name="T31" fmla="*/ 2147483647 h 998"/>
                <a:gd name="T32" fmla="*/ 2147483647 w 684"/>
                <a:gd name="T33" fmla="*/ 2147483647 h 998"/>
                <a:gd name="T34" fmla="*/ 2147483647 w 684"/>
                <a:gd name="T35" fmla="*/ 2147483647 h 998"/>
                <a:gd name="T36" fmla="*/ 2147483647 w 684"/>
                <a:gd name="T37" fmla="*/ 2147483647 h 998"/>
                <a:gd name="T38" fmla="*/ 2147483647 w 684"/>
                <a:gd name="T39" fmla="*/ 2147483647 h 998"/>
                <a:gd name="T40" fmla="*/ 2147483647 w 684"/>
                <a:gd name="T41" fmla="*/ 2147483647 h 998"/>
                <a:gd name="T42" fmla="*/ 2147483647 w 684"/>
                <a:gd name="T43" fmla="*/ 2147483647 h 998"/>
                <a:gd name="T44" fmla="*/ 2147483647 w 684"/>
                <a:gd name="T45" fmla="*/ 2147483647 h 998"/>
                <a:gd name="T46" fmla="*/ 2147483647 w 684"/>
                <a:gd name="T47" fmla="*/ 2147483647 h 998"/>
                <a:gd name="T48" fmla="*/ 2147483647 w 684"/>
                <a:gd name="T49" fmla="*/ 2147483647 h 998"/>
                <a:gd name="T50" fmla="*/ 2147483647 w 684"/>
                <a:gd name="T51" fmla="*/ 2147483647 h 998"/>
                <a:gd name="T52" fmla="*/ 2147483647 w 684"/>
                <a:gd name="T53" fmla="*/ 2147483647 h 998"/>
                <a:gd name="T54" fmla="*/ 2147483647 w 684"/>
                <a:gd name="T55" fmla="*/ 2147483647 h 998"/>
                <a:gd name="T56" fmla="*/ 2147483647 w 684"/>
                <a:gd name="T57" fmla="*/ 2147483647 h 998"/>
                <a:gd name="T58" fmla="*/ 2147483647 w 684"/>
                <a:gd name="T59" fmla="*/ 2147483647 h 998"/>
                <a:gd name="T60" fmla="*/ 2147483647 w 684"/>
                <a:gd name="T61" fmla="*/ 2147483647 h 998"/>
                <a:gd name="T62" fmla="*/ 2147483647 w 684"/>
                <a:gd name="T63" fmla="*/ 2147483647 h 998"/>
                <a:gd name="T64" fmla="*/ 2147483647 w 684"/>
                <a:gd name="T65" fmla="*/ 2147483647 h 998"/>
                <a:gd name="T66" fmla="*/ 2147483647 w 684"/>
                <a:gd name="T67" fmla="*/ 2147483647 h 998"/>
                <a:gd name="T68" fmla="*/ 2147483647 w 684"/>
                <a:gd name="T69" fmla="*/ 2147483647 h 998"/>
                <a:gd name="T70" fmla="*/ 2147483647 w 684"/>
                <a:gd name="T71" fmla="*/ 2147483647 h 998"/>
                <a:gd name="T72" fmla="*/ 2147483647 w 684"/>
                <a:gd name="T73" fmla="*/ 2147483647 h 998"/>
                <a:gd name="T74" fmla="*/ 2147483647 w 684"/>
                <a:gd name="T75" fmla="*/ 2147483647 h 998"/>
                <a:gd name="T76" fmla="*/ 2147483647 w 684"/>
                <a:gd name="T77" fmla="*/ 2147483647 h 998"/>
                <a:gd name="T78" fmla="*/ 2147483647 w 684"/>
                <a:gd name="T79" fmla="*/ 2147483647 h 998"/>
                <a:gd name="T80" fmla="*/ 2147483647 w 684"/>
                <a:gd name="T81" fmla="*/ 2147483647 h 998"/>
                <a:gd name="T82" fmla="*/ 2147483647 w 684"/>
                <a:gd name="T83" fmla="*/ 2147483647 h 998"/>
                <a:gd name="T84" fmla="*/ 2147483647 w 684"/>
                <a:gd name="T85" fmla="*/ 2147483647 h 998"/>
                <a:gd name="T86" fmla="*/ 2147483647 w 684"/>
                <a:gd name="T87" fmla="*/ 2147483647 h 998"/>
                <a:gd name="T88" fmla="*/ 2147483647 w 684"/>
                <a:gd name="T89" fmla="*/ 2147483647 h 998"/>
                <a:gd name="T90" fmla="*/ 2147483647 w 684"/>
                <a:gd name="T91" fmla="*/ 2147483647 h 998"/>
                <a:gd name="T92" fmla="*/ 2147483647 w 684"/>
                <a:gd name="T93" fmla="*/ 2147483647 h 998"/>
                <a:gd name="T94" fmla="*/ 2147483647 w 684"/>
                <a:gd name="T95" fmla="*/ 2147483647 h 998"/>
                <a:gd name="T96" fmla="*/ 2147483647 w 684"/>
                <a:gd name="T97" fmla="*/ 2147483647 h 998"/>
                <a:gd name="T98" fmla="*/ 2147483647 w 684"/>
                <a:gd name="T99" fmla="*/ 2147483647 h 998"/>
                <a:gd name="T100" fmla="*/ 2147483647 w 684"/>
                <a:gd name="T101" fmla="*/ 2147483647 h 998"/>
                <a:gd name="T102" fmla="*/ 2147483647 w 684"/>
                <a:gd name="T103" fmla="*/ 2147483647 h 998"/>
                <a:gd name="T104" fmla="*/ 2147483647 w 684"/>
                <a:gd name="T105" fmla="*/ 2147483647 h 998"/>
                <a:gd name="T106" fmla="*/ 2147483647 w 684"/>
                <a:gd name="T107" fmla="*/ 2147483647 h 998"/>
                <a:gd name="T108" fmla="*/ 2147483647 w 684"/>
                <a:gd name="T109" fmla="*/ 2147483647 h 998"/>
                <a:gd name="T110" fmla="*/ 2147483647 w 684"/>
                <a:gd name="T111" fmla="*/ 2147483647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84"/>
                <a:gd name="T169" fmla="*/ 0 h 998"/>
                <a:gd name="T170" fmla="*/ 684 w 684"/>
                <a:gd name="T171" fmla="*/ 998 h 99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84" name="Freeform 451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4284663" y="3549650"/>
              <a:ext cx="187325" cy="274638"/>
            </a:xfrm>
            <a:custGeom>
              <a:avLst/>
              <a:gdLst>
                <a:gd name="T0" fmla="*/ 2147483647 w 429"/>
                <a:gd name="T1" fmla="*/ 2147483647 h 524"/>
                <a:gd name="T2" fmla="*/ 2147483647 w 429"/>
                <a:gd name="T3" fmla="*/ 2147483647 h 524"/>
                <a:gd name="T4" fmla="*/ 2147483647 w 429"/>
                <a:gd name="T5" fmla="*/ 2147483647 h 524"/>
                <a:gd name="T6" fmla="*/ 2147483647 w 429"/>
                <a:gd name="T7" fmla="*/ 2147483647 h 524"/>
                <a:gd name="T8" fmla="*/ 2147483647 w 429"/>
                <a:gd name="T9" fmla="*/ 2147483647 h 524"/>
                <a:gd name="T10" fmla="*/ 2147483647 w 429"/>
                <a:gd name="T11" fmla="*/ 2147483647 h 524"/>
                <a:gd name="T12" fmla="*/ 2147483647 w 429"/>
                <a:gd name="T13" fmla="*/ 2147483647 h 524"/>
                <a:gd name="T14" fmla="*/ 2147483647 w 429"/>
                <a:gd name="T15" fmla="*/ 2147483647 h 524"/>
                <a:gd name="T16" fmla="*/ 2147483647 w 429"/>
                <a:gd name="T17" fmla="*/ 2147483647 h 524"/>
                <a:gd name="T18" fmla="*/ 2147483647 w 429"/>
                <a:gd name="T19" fmla="*/ 2147483647 h 524"/>
                <a:gd name="T20" fmla="*/ 2147483647 w 429"/>
                <a:gd name="T21" fmla="*/ 2147483647 h 524"/>
                <a:gd name="T22" fmla="*/ 2147483647 w 429"/>
                <a:gd name="T23" fmla="*/ 2147483647 h 524"/>
                <a:gd name="T24" fmla="*/ 2147483647 w 429"/>
                <a:gd name="T25" fmla="*/ 2147483647 h 524"/>
                <a:gd name="T26" fmla="*/ 2147483647 w 429"/>
                <a:gd name="T27" fmla="*/ 2147483647 h 524"/>
                <a:gd name="T28" fmla="*/ 2147483647 w 429"/>
                <a:gd name="T29" fmla="*/ 2147483647 h 524"/>
                <a:gd name="T30" fmla="*/ 2147483647 w 429"/>
                <a:gd name="T31" fmla="*/ 2147483647 h 524"/>
                <a:gd name="T32" fmla="*/ 2147483647 w 429"/>
                <a:gd name="T33" fmla="*/ 2147483647 h 524"/>
                <a:gd name="T34" fmla="*/ 2147483647 w 429"/>
                <a:gd name="T35" fmla="*/ 2147483647 h 524"/>
                <a:gd name="T36" fmla="*/ 2147483647 w 429"/>
                <a:gd name="T37" fmla="*/ 2147483647 h 524"/>
                <a:gd name="T38" fmla="*/ 2147483647 w 429"/>
                <a:gd name="T39" fmla="*/ 2147483647 h 524"/>
                <a:gd name="T40" fmla="*/ 2147483647 w 429"/>
                <a:gd name="T41" fmla="*/ 2147483647 h 524"/>
                <a:gd name="T42" fmla="*/ 2147483647 w 429"/>
                <a:gd name="T43" fmla="*/ 2147483647 h 524"/>
                <a:gd name="T44" fmla="*/ 2147483647 w 429"/>
                <a:gd name="T45" fmla="*/ 2147483647 h 524"/>
                <a:gd name="T46" fmla="*/ 2147483647 w 429"/>
                <a:gd name="T47" fmla="*/ 2147483647 h 524"/>
                <a:gd name="T48" fmla="*/ 2147483647 w 429"/>
                <a:gd name="T49" fmla="*/ 2147483647 h 524"/>
                <a:gd name="T50" fmla="*/ 2147483647 w 429"/>
                <a:gd name="T51" fmla="*/ 2147483647 h 524"/>
                <a:gd name="T52" fmla="*/ 2147483647 w 429"/>
                <a:gd name="T53" fmla="*/ 2147483647 h 524"/>
                <a:gd name="T54" fmla="*/ 2147483647 w 429"/>
                <a:gd name="T55" fmla="*/ 2147483647 h 524"/>
                <a:gd name="T56" fmla="*/ 2147483647 w 429"/>
                <a:gd name="T57" fmla="*/ 2147483647 h 524"/>
                <a:gd name="T58" fmla="*/ 2147483647 w 429"/>
                <a:gd name="T59" fmla="*/ 2147483647 h 524"/>
                <a:gd name="T60" fmla="*/ 2147483647 w 429"/>
                <a:gd name="T61" fmla="*/ 2147483647 h 524"/>
                <a:gd name="T62" fmla="*/ 2147483647 w 429"/>
                <a:gd name="T63" fmla="*/ 2147483647 h 524"/>
                <a:gd name="T64" fmla="*/ 2147483647 w 429"/>
                <a:gd name="T65" fmla="*/ 2147483647 h 524"/>
                <a:gd name="T66" fmla="*/ 2147483647 w 429"/>
                <a:gd name="T67" fmla="*/ 2147483647 h 524"/>
                <a:gd name="T68" fmla="*/ 2147483647 w 429"/>
                <a:gd name="T69" fmla="*/ 2147483647 h 524"/>
                <a:gd name="T70" fmla="*/ 2147483647 w 429"/>
                <a:gd name="T71" fmla="*/ 2147483647 h 524"/>
                <a:gd name="T72" fmla="*/ 2147483647 w 429"/>
                <a:gd name="T73" fmla="*/ 2147483647 h 524"/>
                <a:gd name="T74" fmla="*/ 2147483647 w 429"/>
                <a:gd name="T75" fmla="*/ 2147483647 h 524"/>
                <a:gd name="T76" fmla="*/ 2147483647 w 429"/>
                <a:gd name="T77" fmla="*/ 2147483647 h 524"/>
                <a:gd name="T78" fmla="*/ 2147483647 w 429"/>
                <a:gd name="T79" fmla="*/ 2147483647 h 524"/>
                <a:gd name="T80" fmla="*/ 2147483647 w 429"/>
                <a:gd name="T81" fmla="*/ 2147483647 h 524"/>
                <a:gd name="T82" fmla="*/ 2147483647 w 429"/>
                <a:gd name="T83" fmla="*/ 2147483647 h 524"/>
                <a:gd name="T84" fmla="*/ 2147483647 w 429"/>
                <a:gd name="T85" fmla="*/ 2147483647 h 524"/>
                <a:gd name="T86" fmla="*/ 2147483647 w 429"/>
                <a:gd name="T87" fmla="*/ 2147483647 h 524"/>
                <a:gd name="T88" fmla="*/ 2147483647 w 429"/>
                <a:gd name="T89" fmla="*/ 2147483647 h 524"/>
                <a:gd name="T90" fmla="*/ 2147483647 w 429"/>
                <a:gd name="T91" fmla="*/ 2147483647 h 524"/>
                <a:gd name="T92" fmla="*/ 2147483647 w 429"/>
                <a:gd name="T93" fmla="*/ 2147483647 h 524"/>
                <a:gd name="T94" fmla="*/ 2147483647 w 429"/>
                <a:gd name="T95" fmla="*/ 2147483647 h 524"/>
                <a:gd name="T96" fmla="*/ 2147483647 w 429"/>
                <a:gd name="T97" fmla="*/ 2147483647 h 524"/>
                <a:gd name="T98" fmla="*/ 2147483647 w 429"/>
                <a:gd name="T99" fmla="*/ 2147483647 h 524"/>
                <a:gd name="T100" fmla="*/ 2147483647 w 429"/>
                <a:gd name="T101" fmla="*/ 2147483647 h 524"/>
                <a:gd name="T102" fmla="*/ 2147483647 w 429"/>
                <a:gd name="T103" fmla="*/ 2147483647 h 524"/>
                <a:gd name="T104" fmla="*/ 2147483647 w 429"/>
                <a:gd name="T105" fmla="*/ 2147483647 h 524"/>
                <a:gd name="T106" fmla="*/ 2147483647 w 429"/>
                <a:gd name="T107" fmla="*/ 2147483647 h 524"/>
                <a:gd name="T108" fmla="*/ 2147483647 w 429"/>
                <a:gd name="T109" fmla="*/ 2147483647 h 524"/>
                <a:gd name="T110" fmla="*/ 2147483647 w 429"/>
                <a:gd name="T111" fmla="*/ 2147483647 h 524"/>
                <a:gd name="T112" fmla="*/ 2147483647 w 429"/>
                <a:gd name="T113" fmla="*/ 2147483647 h 524"/>
                <a:gd name="T114" fmla="*/ 2147483647 w 429"/>
                <a:gd name="T115" fmla="*/ 2147483647 h 524"/>
                <a:gd name="T116" fmla="*/ 2147483647 w 429"/>
                <a:gd name="T117" fmla="*/ 2147483647 h 524"/>
                <a:gd name="T118" fmla="*/ 2147483647 w 429"/>
                <a:gd name="T119" fmla="*/ 2147483647 h 524"/>
                <a:gd name="T120" fmla="*/ 2147483647 w 429"/>
                <a:gd name="T121" fmla="*/ 2147483647 h 524"/>
                <a:gd name="T122" fmla="*/ 2147483647 w 429"/>
                <a:gd name="T123" fmla="*/ 2147483647 h 524"/>
                <a:gd name="T124" fmla="*/ 2147483647 w 429"/>
                <a:gd name="T125" fmla="*/ 2147483647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29"/>
                <a:gd name="T190" fmla="*/ 0 h 524"/>
                <a:gd name="T191" fmla="*/ 429 w 429"/>
                <a:gd name="T192" fmla="*/ 524 h 52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85" name="Freeform 452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4316413" y="2192338"/>
              <a:ext cx="127000" cy="114300"/>
            </a:xfrm>
            <a:custGeom>
              <a:avLst/>
              <a:gdLst>
                <a:gd name="T0" fmla="*/ 2147483647 w 292"/>
                <a:gd name="T1" fmla="*/ 2147483647 h 223"/>
                <a:gd name="T2" fmla="*/ 2147483647 w 292"/>
                <a:gd name="T3" fmla="*/ 2147483647 h 223"/>
                <a:gd name="T4" fmla="*/ 2147483647 w 292"/>
                <a:gd name="T5" fmla="*/ 2147483647 h 223"/>
                <a:gd name="T6" fmla="*/ 2147483647 w 292"/>
                <a:gd name="T7" fmla="*/ 2147483647 h 223"/>
                <a:gd name="T8" fmla="*/ 2147483647 w 292"/>
                <a:gd name="T9" fmla="*/ 2147483647 h 223"/>
                <a:gd name="T10" fmla="*/ 2147483647 w 292"/>
                <a:gd name="T11" fmla="*/ 2147483647 h 223"/>
                <a:gd name="T12" fmla="*/ 2147483647 w 292"/>
                <a:gd name="T13" fmla="*/ 2147483647 h 223"/>
                <a:gd name="T14" fmla="*/ 2147483647 w 292"/>
                <a:gd name="T15" fmla="*/ 2147483647 h 223"/>
                <a:gd name="T16" fmla="*/ 2147483647 w 292"/>
                <a:gd name="T17" fmla="*/ 2147483647 h 223"/>
                <a:gd name="T18" fmla="*/ 2147483647 w 292"/>
                <a:gd name="T19" fmla="*/ 2147483647 h 223"/>
                <a:gd name="T20" fmla="*/ 2147483647 w 292"/>
                <a:gd name="T21" fmla="*/ 2147483647 h 223"/>
                <a:gd name="T22" fmla="*/ 2147483647 w 292"/>
                <a:gd name="T23" fmla="*/ 2147483647 h 223"/>
                <a:gd name="T24" fmla="*/ 2147483647 w 292"/>
                <a:gd name="T25" fmla="*/ 2147483647 h 223"/>
                <a:gd name="T26" fmla="*/ 2147483647 w 292"/>
                <a:gd name="T27" fmla="*/ 2147483647 h 223"/>
                <a:gd name="T28" fmla="*/ 2147483647 w 292"/>
                <a:gd name="T29" fmla="*/ 2147483647 h 223"/>
                <a:gd name="T30" fmla="*/ 2147483647 w 292"/>
                <a:gd name="T31" fmla="*/ 2147483647 h 223"/>
                <a:gd name="T32" fmla="*/ 2147483647 w 292"/>
                <a:gd name="T33" fmla="*/ 2147483647 h 223"/>
                <a:gd name="T34" fmla="*/ 2147483647 w 292"/>
                <a:gd name="T35" fmla="*/ 2147483647 h 223"/>
                <a:gd name="T36" fmla="*/ 2147483647 w 292"/>
                <a:gd name="T37" fmla="*/ 2147483647 h 223"/>
                <a:gd name="T38" fmla="*/ 2147483647 w 292"/>
                <a:gd name="T39" fmla="*/ 2147483647 h 223"/>
                <a:gd name="T40" fmla="*/ 2147483647 w 292"/>
                <a:gd name="T41" fmla="*/ 2147483647 h 223"/>
                <a:gd name="T42" fmla="*/ 2147483647 w 292"/>
                <a:gd name="T43" fmla="*/ 2147483647 h 223"/>
                <a:gd name="T44" fmla="*/ 2147483647 w 292"/>
                <a:gd name="T45" fmla="*/ 2147483647 h 223"/>
                <a:gd name="T46" fmla="*/ 2147483647 w 292"/>
                <a:gd name="T47" fmla="*/ 2147483647 h 223"/>
                <a:gd name="T48" fmla="*/ 2147483647 w 292"/>
                <a:gd name="T49" fmla="*/ 2147483647 h 223"/>
                <a:gd name="T50" fmla="*/ 2147483647 w 292"/>
                <a:gd name="T51" fmla="*/ 2147483647 h 223"/>
                <a:gd name="T52" fmla="*/ 0 w 292"/>
                <a:gd name="T53" fmla="*/ 2147483647 h 223"/>
                <a:gd name="T54" fmla="*/ 2147483647 w 292"/>
                <a:gd name="T55" fmla="*/ 2147483647 h 223"/>
                <a:gd name="T56" fmla="*/ 2147483647 w 292"/>
                <a:gd name="T57" fmla="*/ 2147483647 h 223"/>
                <a:gd name="T58" fmla="*/ 2147483647 w 292"/>
                <a:gd name="T59" fmla="*/ 2147483647 h 223"/>
                <a:gd name="T60" fmla="*/ 2147483647 w 292"/>
                <a:gd name="T61" fmla="*/ 2147483647 h 223"/>
                <a:gd name="T62" fmla="*/ 2147483647 w 292"/>
                <a:gd name="T63" fmla="*/ 2147483647 h 223"/>
                <a:gd name="T64" fmla="*/ 2147483647 w 292"/>
                <a:gd name="T65" fmla="*/ 2147483647 h 223"/>
                <a:gd name="T66" fmla="*/ 2147483647 w 292"/>
                <a:gd name="T67" fmla="*/ 0 h 223"/>
                <a:gd name="T68" fmla="*/ 2147483647 w 292"/>
                <a:gd name="T69" fmla="*/ 2147483647 h 223"/>
                <a:gd name="T70" fmla="*/ 2147483647 w 292"/>
                <a:gd name="T71" fmla="*/ 2147483647 h 223"/>
                <a:gd name="T72" fmla="*/ 2147483647 w 292"/>
                <a:gd name="T73" fmla="*/ 2147483647 h 223"/>
                <a:gd name="T74" fmla="*/ 2147483647 w 292"/>
                <a:gd name="T75" fmla="*/ 2147483647 h 223"/>
                <a:gd name="T76" fmla="*/ 2147483647 w 292"/>
                <a:gd name="T77" fmla="*/ 2147483647 h 223"/>
                <a:gd name="T78" fmla="*/ 2147483647 w 292"/>
                <a:gd name="T79" fmla="*/ 2147483647 h 223"/>
                <a:gd name="T80" fmla="*/ 2147483647 w 292"/>
                <a:gd name="T81" fmla="*/ 2147483647 h 223"/>
                <a:gd name="T82" fmla="*/ 2147483647 w 292"/>
                <a:gd name="T83" fmla="*/ 2147483647 h 223"/>
                <a:gd name="T84" fmla="*/ 2147483647 w 292"/>
                <a:gd name="T85" fmla="*/ 2147483647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92"/>
                <a:gd name="T130" fmla="*/ 0 h 223"/>
                <a:gd name="T131" fmla="*/ 292 w 292"/>
                <a:gd name="T132" fmla="*/ 223 h 22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86" name="Freeform 453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4267200" y="2051050"/>
              <a:ext cx="168275" cy="77788"/>
            </a:xfrm>
            <a:custGeom>
              <a:avLst/>
              <a:gdLst>
                <a:gd name="T0" fmla="*/ 2147483647 w 379"/>
                <a:gd name="T1" fmla="*/ 2147483647 h 147"/>
                <a:gd name="T2" fmla="*/ 2147483647 w 379"/>
                <a:gd name="T3" fmla="*/ 2147483647 h 147"/>
                <a:gd name="T4" fmla="*/ 2147483647 w 379"/>
                <a:gd name="T5" fmla="*/ 2147483647 h 147"/>
                <a:gd name="T6" fmla="*/ 2147483647 w 379"/>
                <a:gd name="T7" fmla="*/ 2147483647 h 147"/>
                <a:gd name="T8" fmla="*/ 2147483647 w 379"/>
                <a:gd name="T9" fmla="*/ 2147483647 h 147"/>
                <a:gd name="T10" fmla="*/ 2147483647 w 379"/>
                <a:gd name="T11" fmla="*/ 2147483647 h 147"/>
                <a:gd name="T12" fmla="*/ 2147483647 w 379"/>
                <a:gd name="T13" fmla="*/ 2147483647 h 147"/>
                <a:gd name="T14" fmla="*/ 2147483647 w 379"/>
                <a:gd name="T15" fmla="*/ 2147483647 h 147"/>
                <a:gd name="T16" fmla="*/ 2147483647 w 379"/>
                <a:gd name="T17" fmla="*/ 2147483647 h 147"/>
                <a:gd name="T18" fmla="*/ 2147483647 w 379"/>
                <a:gd name="T19" fmla="*/ 2147483647 h 147"/>
                <a:gd name="T20" fmla="*/ 2147483647 w 379"/>
                <a:gd name="T21" fmla="*/ 2147483647 h 147"/>
                <a:gd name="T22" fmla="*/ 2147483647 w 379"/>
                <a:gd name="T23" fmla="*/ 2147483647 h 147"/>
                <a:gd name="T24" fmla="*/ 2147483647 w 379"/>
                <a:gd name="T25" fmla="*/ 2147483647 h 147"/>
                <a:gd name="T26" fmla="*/ 2147483647 w 379"/>
                <a:gd name="T27" fmla="*/ 2147483647 h 147"/>
                <a:gd name="T28" fmla="*/ 2147483647 w 379"/>
                <a:gd name="T29" fmla="*/ 2147483647 h 147"/>
                <a:gd name="T30" fmla="*/ 2147483647 w 379"/>
                <a:gd name="T31" fmla="*/ 2147483647 h 147"/>
                <a:gd name="T32" fmla="*/ 2147483647 w 379"/>
                <a:gd name="T33" fmla="*/ 2147483647 h 147"/>
                <a:gd name="T34" fmla="*/ 2147483647 w 379"/>
                <a:gd name="T35" fmla="*/ 2147483647 h 147"/>
                <a:gd name="T36" fmla="*/ 2147483647 w 379"/>
                <a:gd name="T37" fmla="*/ 2147483647 h 147"/>
                <a:gd name="T38" fmla="*/ 2147483647 w 379"/>
                <a:gd name="T39" fmla="*/ 2147483647 h 147"/>
                <a:gd name="T40" fmla="*/ 2147483647 w 379"/>
                <a:gd name="T41" fmla="*/ 2147483647 h 147"/>
                <a:gd name="T42" fmla="*/ 2147483647 w 379"/>
                <a:gd name="T43" fmla="*/ 2147483647 h 147"/>
                <a:gd name="T44" fmla="*/ 2147483647 w 379"/>
                <a:gd name="T45" fmla="*/ 2147483647 h 147"/>
                <a:gd name="T46" fmla="*/ 2147483647 w 379"/>
                <a:gd name="T47" fmla="*/ 2147483647 h 147"/>
                <a:gd name="T48" fmla="*/ 0 w 379"/>
                <a:gd name="T49" fmla="*/ 2147483647 h 147"/>
                <a:gd name="T50" fmla="*/ 2147483647 w 379"/>
                <a:gd name="T51" fmla="*/ 2147483647 h 147"/>
                <a:gd name="T52" fmla="*/ 2147483647 w 379"/>
                <a:gd name="T53" fmla="*/ 2147483647 h 147"/>
                <a:gd name="T54" fmla="*/ 2147483647 w 379"/>
                <a:gd name="T55" fmla="*/ 2147483647 h 147"/>
                <a:gd name="T56" fmla="*/ 2147483647 w 379"/>
                <a:gd name="T57" fmla="*/ 2147483647 h 147"/>
                <a:gd name="T58" fmla="*/ 2147483647 w 379"/>
                <a:gd name="T59" fmla="*/ 2147483647 h 147"/>
                <a:gd name="T60" fmla="*/ 2147483647 w 379"/>
                <a:gd name="T61" fmla="*/ 2147483647 h 147"/>
                <a:gd name="T62" fmla="*/ 2147483647 w 379"/>
                <a:gd name="T63" fmla="*/ 0 h 147"/>
                <a:gd name="T64" fmla="*/ 2147483647 w 379"/>
                <a:gd name="T65" fmla="*/ 2147483647 h 147"/>
                <a:gd name="T66" fmla="*/ 2147483647 w 379"/>
                <a:gd name="T67" fmla="*/ 2147483647 h 147"/>
                <a:gd name="T68" fmla="*/ 2147483647 w 379"/>
                <a:gd name="T69" fmla="*/ 2147483647 h 147"/>
                <a:gd name="T70" fmla="*/ 2147483647 w 379"/>
                <a:gd name="T71" fmla="*/ 2147483647 h 147"/>
                <a:gd name="T72" fmla="*/ 2147483647 w 379"/>
                <a:gd name="T73" fmla="*/ 2147483647 h 147"/>
                <a:gd name="T74" fmla="*/ 2147483647 w 379"/>
                <a:gd name="T75" fmla="*/ 2147483647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79"/>
                <a:gd name="T115" fmla="*/ 0 h 147"/>
                <a:gd name="T116" fmla="*/ 379 w 379"/>
                <a:gd name="T117" fmla="*/ 147 h 14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87" name="Freeform 454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4230688" y="1906588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2147483647 h 67"/>
                <a:gd name="T4" fmla="*/ 0 w 61"/>
                <a:gd name="T5" fmla="*/ 2147483647 h 67"/>
                <a:gd name="T6" fmla="*/ 2147483647 w 61"/>
                <a:gd name="T7" fmla="*/ 2147483647 h 67"/>
                <a:gd name="T8" fmla="*/ 2147483647 w 61"/>
                <a:gd name="T9" fmla="*/ 2147483647 h 67"/>
                <a:gd name="T10" fmla="*/ 2147483647 w 61"/>
                <a:gd name="T11" fmla="*/ 2147483647 h 67"/>
                <a:gd name="T12" fmla="*/ 2147483647 w 61"/>
                <a:gd name="T13" fmla="*/ 2147483647 h 67"/>
                <a:gd name="T14" fmla="*/ 2147483647 w 61"/>
                <a:gd name="T15" fmla="*/ 2147483647 h 67"/>
                <a:gd name="T16" fmla="*/ 2147483647 w 61"/>
                <a:gd name="T17" fmla="*/ 2147483647 h 67"/>
                <a:gd name="T18" fmla="*/ 2147483647 w 61"/>
                <a:gd name="T19" fmla="*/ 2147483647 h 67"/>
                <a:gd name="T20" fmla="*/ 2147483647 w 61"/>
                <a:gd name="T21" fmla="*/ 2147483647 h 67"/>
                <a:gd name="T22" fmla="*/ 2147483647 w 61"/>
                <a:gd name="T23" fmla="*/ 2147483647 h 67"/>
                <a:gd name="T24" fmla="*/ 2147483647 w 61"/>
                <a:gd name="T25" fmla="*/ 2147483647 h 67"/>
                <a:gd name="T26" fmla="*/ 2147483647 w 61"/>
                <a:gd name="T27" fmla="*/ 2147483647 h 67"/>
                <a:gd name="T28" fmla="*/ 2147483647 w 61"/>
                <a:gd name="T29" fmla="*/ 2147483647 h 67"/>
                <a:gd name="T30" fmla="*/ 2147483647 w 61"/>
                <a:gd name="T31" fmla="*/ 2147483647 h 67"/>
                <a:gd name="T32" fmla="*/ 2147483647 w 61"/>
                <a:gd name="T33" fmla="*/ 2147483647 h 67"/>
                <a:gd name="T34" fmla="*/ 2147483647 w 61"/>
                <a:gd name="T35" fmla="*/ 2147483647 h 67"/>
                <a:gd name="T36" fmla="*/ 2147483647 w 61"/>
                <a:gd name="T37" fmla="*/ 0 h 67"/>
                <a:gd name="T38" fmla="*/ 2147483647 w 61"/>
                <a:gd name="T39" fmla="*/ 2147483647 h 67"/>
                <a:gd name="T40" fmla="*/ 2147483647 w 61"/>
                <a:gd name="T41" fmla="*/ 2147483647 h 67"/>
                <a:gd name="T42" fmla="*/ 2147483647 w 61"/>
                <a:gd name="T43" fmla="*/ 2147483647 h 67"/>
                <a:gd name="T44" fmla="*/ 2147483647 w 61"/>
                <a:gd name="T45" fmla="*/ 2147483647 h 67"/>
                <a:gd name="T46" fmla="*/ 2147483647 w 61"/>
                <a:gd name="T47" fmla="*/ 2147483647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1"/>
                <a:gd name="T76" fmla="*/ 0 h 67"/>
                <a:gd name="T77" fmla="*/ 61 w 61"/>
                <a:gd name="T78" fmla="*/ 67 h 6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88" name="Freeform 455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4202113" y="1911350"/>
              <a:ext cx="25400" cy="58738"/>
            </a:xfrm>
            <a:custGeom>
              <a:avLst/>
              <a:gdLst>
                <a:gd name="T0" fmla="*/ 0 w 60"/>
                <a:gd name="T1" fmla="*/ 2147483647 h 55"/>
                <a:gd name="T2" fmla="*/ 0 w 60"/>
                <a:gd name="T3" fmla="*/ 2147483647 h 55"/>
                <a:gd name="T4" fmla="*/ 2147483647 w 60"/>
                <a:gd name="T5" fmla="*/ 2147483647 h 55"/>
                <a:gd name="T6" fmla="*/ 2147483647 w 60"/>
                <a:gd name="T7" fmla="*/ 2147483647 h 55"/>
                <a:gd name="T8" fmla="*/ 2147483647 w 60"/>
                <a:gd name="T9" fmla="*/ 2147483647 h 55"/>
                <a:gd name="T10" fmla="*/ 2147483647 w 60"/>
                <a:gd name="T11" fmla="*/ 2147483647 h 55"/>
                <a:gd name="T12" fmla="*/ 2147483647 w 60"/>
                <a:gd name="T13" fmla="*/ 2147483647 h 55"/>
                <a:gd name="T14" fmla="*/ 2147483647 w 60"/>
                <a:gd name="T15" fmla="*/ 2147483647 h 55"/>
                <a:gd name="T16" fmla="*/ 2147483647 w 60"/>
                <a:gd name="T17" fmla="*/ 2147483647 h 55"/>
                <a:gd name="T18" fmla="*/ 2147483647 w 60"/>
                <a:gd name="T19" fmla="*/ 2147483647 h 55"/>
                <a:gd name="T20" fmla="*/ 2147483647 w 60"/>
                <a:gd name="T21" fmla="*/ 2147483647 h 55"/>
                <a:gd name="T22" fmla="*/ 2147483647 w 60"/>
                <a:gd name="T23" fmla="*/ 2147483647 h 55"/>
                <a:gd name="T24" fmla="*/ 2147483647 w 60"/>
                <a:gd name="T25" fmla="*/ 2147483647 h 55"/>
                <a:gd name="T26" fmla="*/ 2147483647 w 60"/>
                <a:gd name="T27" fmla="*/ 2147483647 h 55"/>
                <a:gd name="T28" fmla="*/ 2147483647 w 60"/>
                <a:gd name="T29" fmla="*/ 2147483647 h 55"/>
                <a:gd name="T30" fmla="*/ 2147483647 w 60"/>
                <a:gd name="T31" fmla="*/ 2147483647 h 55"/>
                <a:gd name="T32" fmla="*/ 2147483647 w 60"/>
                <a:gd name="T33" fmla="*/ 2147483647 h 55"/>
                <a:gd name="T34" fmla="*/ 2147483647 w 60"/>
                <a:gd name="T35" fmla="*/ 0 h 55"/>
                <a:gd name="T36" fmla="*/ 2147483647 w 60"/>
                <a:gd name="T37" fmla="*/ 2147483647 h 55"/>
                <a:gd name="T38" fmla="*/ 2147483647 w 60"/>
                <a:gd name="T39" fmla="*/ 2147483647 h 55"/>
                <a:gd name="T40" fmla="*/ 2147483647 w 60"/>
                <a:gd name="T41" fmla="*/ 2147483647 h 55"/>
                <a:gd name="T42" fmla="*/ 0 w 60"/>
                <a:gd name="T43" fmla="*/ 2147483647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60"/>
                <a:gd name="T67" fmla="*/ 0 h 55"/>
                <a:gd name="T68" fmla="*/ 60 w 60"/>
                <a:gd name="T69" fmla="*/ 55 h 55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89" name="Freeform 456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4171950" y="1857375"/>
              <a:ext cx="52388" cy="77788"/>
            </a:xfrm>
            <a:custGeom>
              <a:avLst/>
              <a:gdLst>
                <a:gd name="T0" fmla="*/ 2147483647 w 120"/>
                <a:gd name="T1" fmla="*/ 2147483647 h 148"/>
                <a:gd name="T2" fmla="*/ 2147483647 w 120"/>
                <a:gd name="T3" fmla="*/ 2147483647 h 148"/>
                <a:gd name="T4" fmla="*/ 2147483647 w 120"/>
                <a:gd name="T5" fmla="*/ 2147483647 h 148"/>
                <a:gd name="T6" fmla="*/ 2147483647 w 120"/>
                <a:gd name="T7" fmla="*/ 2147483647 h 148"/>
                <a:gd name="T8" fmla="*/ 2147483647 w 120"/>
                <a:gd name="T9" fmla="*/ 2147483647 h 148"/>
                <a:gd name="T10" fmla="*/ 2147483647 w 120"/>
                <a:gd name="T11" fmla="*/ 2147483647 h 148"/>
                <a:gd name="T12" fmla="*/ 2147483647 w 120"/>
                <a:gd name="T13" fmla="*/ 2147483647 h 148"/>
                <a:gd name="T14" fmla="*/ 2147483647 w 120"/>
                <a:gd name="T15" fmla="*/ 2147483647 h 148"/>
                <a:gd name="T16" fmla="*/ 2147483647 w 120"/>
                <a:gd name="T17" fmla="*/ 2147483647 h 148"/>
                <a:gd name="T18" fmla="*/ 2147483647 w 120"/>
                <a:gd name="T19" fmla="*/ 2147483647 h 148"/>
                <a:gd name="T20" fmla="*/ 2147483647 w 120"/>
                <a:gd name="T21" fmla="*/ 2147483647 h 148"/>
                <a:gd name="T22" fmla="*/ 2147483647 w 120"/>
                <a:gd name="T23" fmla="*/ 2147483647 h 148"/>
                <a:gd name="T24" fmla="*/ 2147483647 w 120"/>
                <a:gd name="T25" fmla="*/ 2147483647 h 148"/>
                <a:gd name="T26" fmla="*/ 2147483647 w 120"/>
                <a:gd name="T27" fmla="*/ 2147483647 h 148"/>
                <a:gd name="T28" fmla="*/ 2147483647 w 120"/>
                <a:gd name="T29" fmla="*/ 2147483647 h 148"/>
                <a:gd name="T30" fmla="*/ 2147483647 w 120"/>
                <a:gd name="T31" fmla="*/ 2147483647 h 148"/>
                <a:gd name="T32" fmla="*/ 2147483647 w 120"/>
                <a:gd name="T33" fmla="*/ 2147483647 h 148"/>
                <a:gd name="T34" fmla="*/ 2147483647 w 120"/>
                <a:gd name="T35" fmla="*/ 2147483647 h 148"/>
                <a:gd name="T36" fmla="*/ 0 w 120"/>
                <a:gd name="T37" fmla="*/ 2147483647 h 148"/>
                <a:gd name="T38" fmla="*/ 2147483647 w 120"/>
                <a:gd name="T39" fmla="*/ 2147483647 h 148"/>
                <a:gd name="T40" fmla="*/ 2147483647 w 120"/>
                <a:gd name="T41" fmla="*/ 2147483647 h 148"/>
                <a:gd name="T42" fmla="*/ 2147483647 w 120"/>
                <a:gd name="T43" fmla="*/ 2147483647 h 148"/>
                <a:gd name="T44" fmla="*/ 2147483647 w 120"/>
                <a:gd name="T45" fmla="*/ 2147483647 h 148"/>
                <a:gd name="T46" fmla="*/ 2147483647 w 120"/>
                <a:gd name="T47" fmla="*/ 2147483647 h 148"/>
                <a:gd name="T48" fmla="*/ 2147483647 w 120"/>
                <a:gd name="T49" fmla="*/ 2147483647 h 148"/>
                <a:gd name="T50" fmla="*/ 2147483647 w 120"/>
                <a:gd name="T51" fmla="*/ 2147483647 h 148"/>
                <a:gd name="T52" fmla="*/ 2147483647 w 120"/>
                <a:gd name="T53" fmla="*/ 2147483647 h 148"/>
                <a:gd name="T54" fmla="*/ 2147483647 w 120"/>
                <a:gd name="T55" fmla="*/ 2147483647 h 148"/>
                <a:gd name="T56" fmla="*/ 2147483647 w 120"/>
                <a:gd name="T57" fmla="*/ 0 h 148"/>
                <a:gd name="T58" fmla="*/ 2147483647 w 120"/>
                <a:gd name="T59" fmla="*/ 2147483647 h 148"/>
                <a:gd name="T60" fmla="*/ 2147483647 w 120"/>
                <a:gd name="T61" fmla="*/ 2147483647 h 148"/>
                <a:gd name="T62" fmla="*/ 2147483647 w 120"/>
                <a:gd name="T63" fmla="*/ 2147483647 h 148"/>
                <a:gd name="T64" fmla="*/ 2147483647 w 120"/>
                <a:gd name="T65" fmla="*/ 2147483647 h 148"/>
                <a:gd name="T66" fmla="*/ 2147483647 w 120"/>
                <a:gd name="T67" fmla="*/ 2147483647 h 148"/>
                <a:gd name="T68" fmla="*/ 2147483647 w 120"/>
                <a:gd name="T69" fmla="*/ 2147483647 h 148"/>
                <a:gd name="T70" fmla="*/ 2147483647 w 120"/>
                <a:gd name="T71" fmla="*/ 2147483647 h 148"/>
                <a:gd name="T72" fmla="*/ 2147483647 w 120"/>
                <a:gd name="T73" fmla="*/ 2147483647 h 148"/>
                <a:gd name="T74" fmla="*/ 2147483647 w 120"/>
                <a:gd name="T75" fmla="*/ 2147483647 h 148"/>
                <a:gd name="T76" fmla="*/ 2147483647 w 120"/>
                <a:gd name="T77" fmla="*/ 2147483647 h 148"/>
                <a:gd name="T78" fmla="*/ 2147483647 w 120"/>
                <a:gd name="T79" fmla="*/ 2147483647 h 148"/>
                <a:gd name="T80" fmla="*/ 2147483647 w 120"/>
                <a:gd name="T81" fmla="*/ 2147483647 h 148"/>
                <a:gd name="T82" fmla="*/ 2147483647 w 120"/>
                <a:gd name="T83" fmla="*/ 2147483647 h 148"/>
                <a:gd name="T84" fmla="*/ 2147483647 w 120"/>
                <a:gd name="T85" fmla="*/ 2147483647 h 148"/>
                <a:gd name="T86" fmla="*/ 2147483647 w 120"/>
                <a:gd name="T87" fmla="*/ 2147483647 h 148"/>
                <a:gd name="T88" fmla="*/ 2147483647 w 120"/>
                <a:gd name="T89" fmla="*/ 2147483647 h 148"/>
                <a:gd name="T90" fmla="*/ 2147483647 w 120"/>
                <a:gd name="T91" fmla="*/ 2147483647 h 148"/>
                <a:gd name="T92" fmla="*/ 2147483647 w 120"/>
                <a:gd name="T93" fmla="*/ 2147483647 h 148"/>
                <a:gd name="T94" fmla="*/ 2147483647 w 120"/>
                <a:gd name="T95" fmla="*/ 2147483647 h 148"/>
                <a:gd name="T96" fmla="*/ 2147483647 w 120"/>
                <a:gd name="T97" fmla="*/ 2147483647 h 148"/>
                <a:gd name="T98" fmla="*/ 2147483647 w 120"/>
                <a:gd name="T99" fmla="*/ 2147483647 h 148"/>
                <a:gd name="T100" fmla="*/ 2147483647 w 120"/>
                <a:gd name="T101" fmla="*/ 2147483647 h 148"/>
                <a:gd name="T102" fmla="*/ 2147483647 w 120"/>
                <a:gd name="T103" fmla="*/ 2147483647 h 148"/>
                <a:gd name="T104" fmla="*/ 2147483647 w 120"/>
                <a:gd name="T105" fmla="*/ 2147483647 h 148"/>
                <a:gd name="T106" fmla="*/ 2147483647 w 120"/>
                <a:gd name="T107" fmla="*/ 2147483647 h 148"/>
                <a:gd name="T108" fmla="*/ 2147483647 w 120"/>
                <a:gd name="T109" fmla="*/ 2147483647 h 148"/>
                <a:gd name="T110" fmla="*/ 2147483647 w 120"/>
                <a:gd name="T111" fmla="*/ 2147483647 h 148"/>
                <a:gd name="T112" fmla="*/ 2147483647 w 120"/>
                <a:gd name="T113" fmla="*/ 2147483647 h 148"/>
                <a:gd name="T114" fmla="*/ 2147483647 w 120"/>
                <a:gd name="T115" fmla="*/ 2147483647 h 148"/>
                <a:gd name="T116" fmla="*/ 2147483647 w 120"/>
                <a:gd name="T117" fmla="*/ 2147483647 h 148"/>
                <a:gd name="T118" fmla="*/ 2147483647 w 120"/>
                <a:gd name="T119" fmla="*/ 2147483647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20"/>
                <a:gd name="T181" fmla="*/ 0 h 148"/>
                <a:gd name="T182" fmla="*/ 120 w 120"/>
                <a:gd name="T183" fmla="*/ 148 h 14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90" name="Freeform 457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4603750" y="2662238"/>
              <a:ext cx="273050" cy="307975"/>
            </a:xfrm>
            <a:custGeom>
              <a:avLst/>
              <a:gdLst>
                <a:gd name="T0" fmla="*/ 2147483647 w 631"/>
                <a:gd name="T1" fmla="*/ 2147483647 h 592"/>
                <a:gd name="T2" fmla="*/ 2147483647 w 631"/>
                <a:gd name="T3" fmla="*/ 2147483647 h 592"/>
                <a:gd name="T4" fmla="*/ 2147483647 w 631"/>
                <a:gd name="T5" fmla="*/ 2147483647 h 592"/>
                <a:gd name="T6" fmla="*/ 2147483647 w 631"/>
                <a:gd name="T7" fmla="*/ 2147483647 h 592"/>
                <a:gd name="T8" fmla="*/ 2147483647 w 631"/>
                <a:gd name="T9" fmla="*/ 2147483647 h 592"/>
                <a:gd name="T10" fmla="*/ 2147483647 w 631"/>
                <a:gd name="T11" fmla="*/ 2147483647 h 592"/>
                <a:gd name="T12" fmla="*/ 2147483647 w 631"/>
                <a:gd name="T13" fmla="*/ 2147483647 h 592"/>
                <a:gd name="T14" fmla="*/ 2147483647 w 631"/>
                <a:gd name="T15" fmla="*/ 2147483647 h 592"/>
                <a:gd name="T16" fmla="*/ 2147483647 w 631"/>
                <a:gd name="T17" fmla="*/ 2147483647 h 592"/>
                <a:gd name="T18" fmla="*/ 2147483647 w 631"/>
                <a:gd name="T19" fmla="*/ 2147483647 h 592"/>
                <a:gd name="T20" fmla="*/ 2147483647 w 631"/>
                <a:gd name="T21" fmla="*/ 2147483647 h 592"/>
                <a:gd name="T22" fmla="*/ 2147483647 w 631"/>
                <a:gd name="T23" fmla="*/ 2147483647 h 592"/>
                <a:gd name="T24" fmla="*/ 2147483647 w 631"/>
                <a:gd name="T25" fmla="*/ 2147483647 h 592"/>
                <a:gd name="T26" fmla="*/ 2147483647 w 631"/>
                <a:gd name="T27" fmla="*/ 2147483647 h 592"/>
                <a:gd name="T28" fmla="*/ 2147483647 w 631"/>
                <a:gd name="T29" fmla="*/ 2147483647 h 592"/>
                <a:gd name="T30" fmla="*/ 2147483647 w 631"/>
                <a:gd name="T31" fmla="*/ 2147483647 h 592"/>
                <a:gd name="T32" fmla="*/ 2147483647 w 631"/>
                <a:gd name="T33" fmla="*/ 2147483647 h 592"/>
                <a:gd name="T34" fmla="*/ 2147483647 w 631"/>
                <a:gd name="T35" fmla="*/ 2147483647 h 592"/>
                <a:gd name="T36" fmla="*/ 2147483647 w 631"/>
                <a:gd name="T37" fmla="*/ 2147483647 h 592"/>
                <a:gd name="T38" fmla="*/ 2147483647 w 631"/>
                <a:gd name="T39" fmla="*/ 2147483647 h 592"/>
                <a:gd name="T40" fmla="*/ 2147483647 w 631"/>
                <a:gd name="T41" fmla="*/ 2147483647 h 592"/>
                <a:gd name="T42" fmla="*/ 2147483647 w 631"/>
                <a:gd name="T43" fmla="*/ 2147483647 h 592"/>
                <a:gd name="T44" fmla="*/ 2147483647 w 631"/>
                <a:gd name="T45" fmla="*/ 2147483647 h 592"/>
                <a:gd name="T46" fmla="*/ 2147483647 w 631"/>
                <a:gd name="T47" fmla="*/ 2147483647 h 592"/>
                <a:gd name="T48" fmla="*/ 2147483647 w 631"/>
                <a:gd name="T49" fmla="*/ 2147483647 h 592"/>
                <a:gd name="T50" fmla="*/ 2147483647 w 631"/>
                <a:gd name="T51" fmla="*/ 2147483647 h 592"/>
                <a:gd name="T52" fmla="*/ 2147483647 w 631"/>
                <a:gd name="T53" fmla="*/ 2147483647 h 592"/>
                <a:gd name="T54" fmla="*/ 2147483647 w 631"/>
                <a:gd name="T55" fmla="*/ 2147483647 h 592"/>
                <a:gd name="T56" fmla="*/ 2147483647 w 631"/>
                <a:gd name="T57" fmla="*/ 2147483647 h 592"/>
                <a:gd name="T58" fmla="*/ 2147483647 w 631"/>
                <a:gd name="T59" fmla="*/ 2147483647 h 592"/>
                <a:gd name="T60" fmla="*/ 2147483647 w 631"/>
                <a:gd name="T61" fmla="*/ 2147483647 h 592"/>
                <a:gd name="T62" fmla="*/ 2147483647 w 631"/>
                <a:gd name="T63" fmla="*/ 2147483647 h 592"/>
                <a:gd name="T64" fmla="*/ 2147483647 w 631"/>
                <a:gd name="T65" fmla="*/ 2147483647 h 592"/>
                <a:gd name="T66" fmla="*/ 2147483647 w 631"/>
                <a:gd name="T67" fmla="*/ 2147483647 h 592"/>
                <a:gd name="T68" fmla="*/ 2147483647 w 631"/>
                <a:gd name="T69" fmla="*/ 2147483647 h 592"/>
                <a:gd name="T70" fmla="*/ 2147483647 w 631"/>
                <a:gd name="T71" fmla="*/ 2147483647 h 592"/>
                <a:gd name="T72" fmla="*/ 2147483647 w 631"/>
                <a:gd name="T73" fmla="*/ 2147483647 h 592"/>
                <a:gd name="T74" fmla="*/ 2147483647 w 631"/>
                <a:gd name="T75" fmla="*/ 2147483647 h 592"/>
                <a:gd name="T76" fmla="*/ 2147483647 w 631"/>
                <a:gd name="T77" fmla="*/ 2147483647 h 592"/>
                <a:gd name="T78" fmla="*/ 2147483647 w 631"/>
                <a:gd name="T79" fmla="*/ 2147483647 h 592"/>
                <a:gd name="T80" fmla="*/ 2147483647 w 631"/>
                <a:gd name="T81" fmla="*/ 2147483647 h 592"/>
                <a:gd name="T82" fmla="*/ 2147483647 w 631"/>
                <a:gd name="T83" fmla="*/ 2147483647 h 592"/>
                <a:gd name="T84" fmla="*/ 2147483647 w 631"/>
                <a:gd name="T85" fmla="*/ 2147483647 h 592"/>
                <a:gd name="T86" fmla="*/ 2147483647 w 631"/>
                <a:gd name="T87" fmla="*/ 2147483647 h 592"/>
                <a:gd name="T88" fmla="*/ 2147483647 w 631"/>
                <a:gd name="T89" fmla="*/ 2147483647 h 592"/>
                <a:gd name="T90" fmla="*/ 2147483647 w 631"/>
                <a:gd name="T91" fmla="*/ 2147483647 h 592"/>
                <a:gd name="T92" fmla="*/ 0 w 631"/>
                <a:gd name="T93" fmla="*/ 2147483647 h 592"/>
                <a:gd name="T94" fmla="*/ 2147483647 w 631"/>
                <a:gd name="T95" fmla="*/ 2147483647 h 592"/>
                <a:gd name="T96" fmla="*/ 2147483647 w 631"/>
                <a:gd name="T97" fmla="*/ 2147483647 h 592"/>
                <a:gd name="T98" fmla="*/ 2147483647 w 631"/>
                <a:gd name="T99" fmla="*/ 2147483647 h 592"/>
                <a:gd name="T100" fmla="*/ 2147483647 w 631"/>
                <a:gd name="T101" fmla="*/ 2147483647 h 592"/>
                <a:gd name="T102" fmla="*/ 2147483647 w 631"/>
                <a:gd name="T103" fmla="*/ 2147483647 h 592"/>
                <a:gd name="T104" fmla="*/ 2147483647 w 631"/>
                <a:gd name="T105" fmla="*/ 2147483647 h 592"/>
                <a:gd name="T106" fmla="*/ 2147483647 w 631"/>
                <a:gd name="T107" fmla="*/ 2147483647 h 592"/>
                <a:gd name="T108" fmla="*/ 2147483647 w 631"/>
                <a:gd name="T109" fmla="*/ 2147483647 h 592"/>
                <a:gd name="T110" fmla="*/ 2147483647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31"/>
                <a:gd name="T169" fmla="*/ 0 h 592"/>
                <a:gd name="T170" fmla="*/ 631 w 631"/>
                <a:gd name="T171" fmla="*/ 592 h 59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91" name="Freeform 458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4198938" y="2297113"/>
              <a:ext cx="17462" cy="57150"/>
            </a:xfrm>
            <a:custGeom>
              <a:avLst/>
              <a:gdLst>
                <a:gd name="T0" fmla="*/ 2147483647 w 40"/>
                <a:gd name="T1" fmla="*/ 2147483647 h 93"/>
                <a:gd name="T2" fmla="*/ 2147483647 w 40"/>
                <a:gd name="T3" fmla="*/ 2147483647 h 93"/>
                <a:gd name="T4" fmla="*/ 2147483647 w 40"/>
                <a:gd name="T5" fmla="*/ 2147483647 h 93"/>
                <a:gd name="T6" fmla="*/ 2147483647 w 40"/>
                <a:gd name="T7" fmla="*/ 2147483647 h 93"/>
                <a:gd name="T8" fmla="*/ 2147483647 w 40"/>
                <a:gd name="T9" fmla="*/ 2147483647 h 93"/>
                <a:gd name="T10" fmla="*/ 2147483647 w 40"/>
                <a:gd name="T11" fmla="*/ 2147483647 h 93"/>
                <a:gd name="T12" fmla="*/ 2147483647 w 40"/>
                <a:gd name="T13" fmla="*/ 0 h 93"/>
                <a:gd name="T14" fmla="*/ 2147483647 w 40"/>
                <a:gd name="T15" fmla="*/ 2147483647 h 93"/>
                <a:gd name="T16" fmla="*/ 2147483647 w 40"/>
                <a:gd name="T17" fmla="*/ 2147483647 h 93"/>
                <a:gd name="T18" fmla="*/ 2147483647 w 40"/>
                <a:gd name="T19" fmla="*/ 2147483647 h 93"/>
                <a:gd name="T20" fmla="*/ 2147483647 w 40"/>
                <a:gd name="T21" fmla="*/ 2147483647 h 93"/>
                <a:gd name="T22" fmla="*/ 2147483647 w 40"/>
                <a:gd name="T23" fmla="*/ 2147483647 h 93"/>
                <a:gd name="T24" fmla="*/ 2147483647 w 40"/>
                <a:gd name="T25" fmla="*/ 2147483647 h 93"/>
                <a:gd name="T26" fmla="*/ 2147483647 w 40"/>
                <a:gd name="T27" fmla="*/ 2147483647 h 93"/>
                <a:gd name="T28" fmla="*/ 2147483647 w 40"/>
                <a:gd name="T29" fmla="*/ 2147483647 h 93"/>
                <a:gd name="T30" fmla="*/ 2147483647 w 40"/>
                <a:gd name="T31" fmla="*/ 2147483647 h 93"/>
                <a:gd name="T32" fmla="*/ 2147483647 w 40"/>
                <a:gd name="T33" fmla="*/ 2147483647 h 93"/>
                <a:gd name="T34" fmla="*/ 2147483647 w 40"/>
                <a:gd name="T35" fmla="*/ 2147483647 h 93"/>
                <a:gd name="T36" fmla="*/ 2147483647 w 40"/>
                <a:gd name="T37" fmla="*/ 2147483647 h 93"/>
                <a:gd name="T38" fmla="*/ 2147483647 w 40"/>
                <a:gd name="T39" fmla="*/ 2147483647 h 93"/>
                <a:gd name="T40" fmla="*/ 2147483647 w 40"/>
                <a:gd name="T41" fmla="*/ 2147483647 h 93"/>
                <a:gd name="T42" fmla="*/ 2147483647 w 40"/>
                <a:gd name="T43" fmla="*/ 2147483647 h 93"/>
                <a:gd name="T44" fmla="*/ 0 w 40"/>
                <a:gd name="T45" fmla="*/ 2147483647 h 93"/>
                <a:gd name="T46" fmla="*/ 2147483647 w 40"/>
                <a:gd name="T47" fmla="*/ 2147483647 h 93"/>
                <a:gd name="T48" fmla="*/ 2147483647 w 40"/>
                <a:gd name="T49" fmla="*/ 2147483647 h 93"/>
                <a:gd name="T50" fmla="*/ 2147483647 w 40"/>
                <a:gd name="T51" fmla="*/ 2147483647 h 93"/>
                <a:gd name="T52" fmla="*/ 2147483647 w 40"/>
                <a:gd name="T53" fmla="*/ 2147483647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40"/>
                <a:gd name="T82" fmla="*/ 0 h 93"/>
                <a:gd name="T83" fmla="*/ 40 w 40"/>
                <a:gd name="T84" fmla="*/ 93 h 93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92" name="Freeform 459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3881438" y="2047875"/>
              <a:ext cx="295275" cy="273050"/>
            </a:xfrm>
            <a:custGeom>
              <a:avLst/>
              <a:gdLst>
                <a:gd name="T0" fmla="*/ 2147483647 w 664"/>
                <a:gd name="T1" fmla="*/ 2147483647 h 518"/>
                <a:gd name="T2" fmla="*/ 2147483647 w 664"/>
                <a:gd name="T3" fmla="*/ 2147483647 h 518"/>
                <a:gd name="T4" fmla="*/ 2147483647 w 664"/>
                <a:gd name="T5" fmla="*/ 2147483647 h 518"/>
                <a:gd name="T6" fmla="*/ 2147483647 w 664"/>
                <a:gd name="T7" fmla="*/ 2147483647 h 518"/>
                <a:gd name="T8" fmla="*/ 2147483647 w 664"/>
                <a:gd name="T9" fmla="*/ 2147483647 h 518"/>
                <a:gd name="T10" fmla="*/ 2147483647 w 664"/>
                <a:gd name="T11" fmla="*/ 2147483647 h 518"/>
                <a:gd name="T12" fmla="*/ 2147483647 w 664"/>
                <a:gd name="T13" fmla="*/ 2147483647 h 518"/>
                <a:gd name="T14" fmla="*/ 2147483647 w 664"/>
                <a:gd name="T15" fmla="*/ 2147483647 h 518"/>
                <a:gd name="T16" fmla="*/ 2147483647 w 664"/>
                <a:gd name="T17" fmla="*/ 2147483647 h 518"/>
                <a:gd name="T18" fmla="*/ 2147483647 w 664"/>
                <a:gd name="T19" fmla="*/ 2147483647 h 518"/>
                <a:gd name="T20" fmla="*/ 2147483647 w 664"/>
                <a:gd name="T21" fmla="*/ 2147483647 h 518"/>
                <a:gd name="T22" fmla="*/ 2147483647 w 664"/>
                <a:gd name="T23" fmla="*/ 2147483647 h 518"/>
                <a:gd name="T24" fmla="*/ 2147483647 w 664"/>
                <a:gd name="T25" fmla="*/ 2147483647 h 518"/>
                <a:gd name="T26" fmla="*/ 2147483647 w 664"/>
                <a:gd name="T27" fmla="*/ 2147483647 h 518"/>
                <a:gd name="T28" fmla="*/ 2147483647 w 664"/>
                <a:gd name="T29" fmla="*/ 2147483647 h 518"/>
                <a:gd name="T30" fmla="*/ 2147483647 w 664"/>
                <a:gd name="T31" fmla="*/ 2147483647 h 518"/>
                <a:gd name="T32" fmla="*/ 2147483647 w 664"/>
                <a:gd name="T33" fmla="*/ 2147483647 h 518"/>
                <a:gd name="T34" fmla="*/ 2147483647 w 664"/>
                <a:gd name="T35" fmla="*/ 2147483647 h 518"/>
                <a:gd name="T36" fmla="*/ 2147483647 w 664"/>
                <a:gd name="T37" fmla="*/ 2147483647 h 518"/>
                <a:gd name="T38" fmla="*/ 2147483647 w 664"/>
                <a:gd name="T39" fmla="*/ 2147483647 h 518"/>
                <a:gd name="T40" fmla="*/ 2147483647 w 664"/>
                <a:gd name="T41" fmla="*/ 2147483647 h 518"/>
                <a:gd name="T42" fmla="*/ 2147483647 w 664"/>
                <a:gd name="T43" fmla="*/ 2147483647 h 518"/>
                <a:gd name="T44" fmla="*/ 2147483647 w 664"/>
                <a:gd name="T45" fmla="*/ 2147483647 h 518"/>
                <a:gd name="T46" fmla="*/ 2147483647 w 664"/>
                <a:gd name="T47" fmla="*/ 2147483647 h 518"/>
                <a:gd name="T48" fmla="*/ 2147483647 w 664"/>
                <a:gd name="T49" fmla="*/ 2147483647 h 518"/>
                <a:gd name="T50" fmla="*/ 2147483647 w 664"/>
                <a:gd name="T51" fmla="*/ 2147483647 h 518"/>
                <a:gd name="T52" fmla="*/ 2147483647 w 664"/>
                <a:gd name="T53" fmla="*/ 2147483647 h 518"/>
                <a:gd name="T54" fmla="*/ 2147483647 w 664"/>
                <a:gd name="T55" fmla="*/ 2147483647 h 518"/>
                <a:gd name="T56" fmla="*/ 2147483647 w 664"/>
                <a:gd name="T57" fmla="*/ 2147483647 h 518"/>
                <a:gd name="T58" fmla="*/ 2147483647 w 664"/>
                <a:gd name="T59" fmla="*/ 2147483647 h 518"/>
                <a:gd name="T60" fmla="*/ 2147483647 w 664"/>
                <a:gd name="T61" fmla="*/ 2147483647 h 518"/>
                <a:gd name="T62" fmla="*/ 2147483647 w 664"/>
                <a:gd name="T63" fmla="*/ 2147483647 h 518"/>
                <a:gd name="T64" fmla="*/ 2147483647 w 664"/>
                <a:gd name="T65" fmla="*/ 2147483647 h 518"/>
                <a:gd name="T66" fmla="*/ 2147483647 w 664"/>
                <a:gd name="T67" fmla="*/ 2147483647 h 518"/>
                <a:gd name="T68" fmla="*/ 2147483647 w 664"/>
                <a:gd name="T69" fmla="*/ 2147483647 h 518"/>
                <a:gd name="T70" fmla="*/ 2147483647 w 664"/>
                <a:gd name="T71" fmla="*/ 2147483647 h 518"/>
                <a:gd name="T72" fmla="*/ 2147483647 w 664"/>
                <a:gd name="T73" fmla="*/ 2147483647 h 518"/>
                <a:gd name="T74" fmla="*/ 2147483647 w 664"/>
                <a:gd name="T75" fmla="*/ 2147483647 h 518"/>
                <a:gd name="T76" fmla="*/ 2147483647 w 664"/>
                <a:gd name="T77" fmla="*/ 2147483647 h 518"/>
                <a:gd name="T78" fmla="*/ 2147483647 w 664"/>
                <a:gd name="T79" fmla="*/ 2147483647 h 518"/>
                <a:gd name="T80" fmla="*/ 2147483647 w 664"/>
                <a:gd name="T81" fmla="*/ 2147483647 h 518"/>
                <a:gd name="T82" fmla="*/ 2147483647 w 664"/>
                <a:gd name="T83" fmla="*/ 2147483647 h 518"/>
                <a:gd name="T84" fmla="*/ 2147483647 w 664"/>
                <a:gd name="T85" fmla="*/ 2147483647 h 518"/>
                <a:gd name="T86" fmla="*/ 2147483647 w 664"/>
                <a:gd name="T87" fmla="*/ 2147483647 h 518"/>
                <a:gd name="T88" fmla="*/ 2147483647 w 664"/>
                <a:gd name="T89" fmla="*/ 2147483647 h 518"/>
                <a:gd name="T90" fmla="*/ 2147483647 w 664"/>
                <a:gd name="T91" fmla="*/ 2147483647 h 518"/>
                <a:gd name="T92" fmla="*/ 2147483647 w 664"/>
                <a:gd name="T93" fmla="*/ 2147483647 h 518"/>
                <a:gd name="T94" fmla="*/ 2147483647 w 664"/>
                <a:gd name="T95" fmla="*/ 2147483647 h 518"/>
                <a:gd name="T96" fmla="*/ 2147483647 w 664"/>
                <a:gd name="T97" fmla="*/ 2147483647 h 518"/>
                <a:gd name="T98" fmla="*/ 2147483647 w 664"/>
                <a:gd name="T99" fmla="*/ 2147483647 h 518"/>
                <a:gd name="T100" fmla="*/ 2147483647 w 664"/>
                <a:gd name="T101" fmla="*/ 2147483647 h 518"/>
                <a:gd name="T102" fmla="*/ 2147483647 w 664"/>
                <a:gd name="T103" fmla="*/ 2147483647 h 518"/>
                <a:gd name="T104" fmla="*/ 2147483647 w 664"/>
                <a:gd name="T105" fmla="*/ 2147483647 h 518"/>
                <a:gd name="T106" fmla="*/ 2147483647 w 664"/>
                <a:gd name="T107" fmla="*/ 2147483647 h 518"/>
                <a:gd name="T108" fmla="*/ 2147483647 w 664"/>
                <a:gd name="T109" fmla="*/ 2147483647 h 518"/>
                <a:gd name="T110" fmla="*/ 2147483647 w 664"/>
                <a:gd name="T111" fmla="*/ 2147483647 h 518"/>
                <a:gd name="T112" fmla="*/ 2147483647 w 664"/>
                <a:gd name="T113" fmla="*/ 2147483647 h 518"/>
                <a:gd name="T114" fmla="*/ 2147483647 w 664"/>
                <a:gd name="T115" fmla="*/ 2147483647 h 518"/>
                <a:gd name="T116" fmla="*/ 2147483647 w 664"/>
                <a:gd name="T117" fmla="*/ 2147483647 h 518"/>
                <a:gd name="T118" fmla="*/ 2147483647 w 664"/>
                <a:gd name="T119" fmla="*/ 2147483647 h 518"/>
                <a:gd name="T120" fmla="*/ 2147483647 w 664"/>
                <a:gd name="T121" fmla="*/ 2147483647 h 518"/>
                <a:gd name="T122" fmla="*/ 2147483647 w 664"/>
                <a:gd name="T123" fmla="*/ 2147483647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64"/>
                <a:gd name="T187" fmla="*/ 0 h 518"/>
                <a:gd name="T188" fmla="*/ 664 w 664"/>
                <a:gd name="T189" fmla="*/ 518 h 51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93" name="Freeform 460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4919663" y="2282825"/>
              <a:ext cx="150812" cy="82550"/>
            </a:xfrm>
            <a:custGeom>
              <a:avLst/>
              <a:gdLst>
                <a:gd name="T0" fmla="*/ 2147483647 w 352"/>
                <a:gd name="T1" fmla="*/ 2147483647 h 153"/>
                <a:gd name="T2" fmla="*/ 2147483647 w 352"/>
                <a:gd name="T3" fmla="*/ 2147483647 h 153"/>
                <a:gd name="T4" fmla="*/ 2147483647 w 352"/>
                <a:gd name="T5" fmla="*/ 2147483647 h 153"/>
                <a:gd name="T6" fmla="*/ 2147483647 w 352"/>
                <a:gd name="T7" fmla="*/ 2147483647 h 153"/>
                <a:gd name="T8" fmla="*/ 2147483647 w 352"/>
                <a:gd name="T9" fmla="*/ 2147483647 h 153"/>
                <a:gd name="T10" fmla="*/ 2147483647 w 352"/>
                <a:gd name="T11" fmla="*/ 2147483647 h 153"/>
                <a:gd name="T12" fmla="*/ 2147483647 w 352"/>
                <a:gd name="T13" fmla="*/ 2147483647 h 153"/>
                <a:gd name="T14" fmla="*/ 2147483647 w 352"/>
                <a:gd name="T15" fmla="*/ 2147483647 h 153"/>
                <a:gd name="T16" fmla="*/ 2147483647 w 352"/>
                <a:gd name="T17" fmla="*/ 2147483647 h 153"/>
                <a:gd name="T18" fmla="*/ 2147483647 w 352"/>
                <a:gd name="T19" fmla="*/ 2147483647 h 153"/>
                <a:gd name="T20" fmla="*/ 2147483647 w 352"/>
                <a:gd name="T21" fmla="*/ 2147483647 h 153"/>
                <a:gd name="T22" fmla="*/ 2147483647 w 352"/>
                <a:gd name="T23" fmla="*/ 2147483647 h 153"/>
                <a:gd name="T24" fmla="*/ 2147483647 w 352"/>
                <a:gd name="T25" fmla="*/ 2147483647 h 153"/>
                <a:gd name="T26" fmla="*/ 2147483647 w 352"/>
                <a:gd name="T27" fmla="*/ 2147483647 h 153"/>
                <a:gd name="T28" fmla="*/ 2147483647 w 352"/>
                <a:gd name="T29" fmla="*/ 2147483647 h 153"/>
                <a:gd name="T30" fmla="*/ 2147483647 w 352"/>
                <a:gd name="T31" fmla="*/ 2147483647 h 153"/>
                <a:gd name="T32" fmla="*/ 2147483647 w 352"/>
                <a:gd name="T33" fmla="*/ 2147483647 h 153"/>
                <a:gd name="T34" fmla="*/ 2147483647 w 352"/>
                <a:gd name="T35" fmla="*/ 2147483647 h 153"/>
                <a:gd name="T36" fmla="*/ 2147483647 w 352"/>
                <a:gd name="T37" fmla="*/ 2147483647 h 153"/>
                <a:gd name="T38" fmla="*/ 2147483647 w 352"/>
                <a:gd name="T39" fmla="*/ 2147483647 h 153"/>
                <a:gd name="T40" fmla="*/ 2147483647 w 352"/>
                <a:gd name="T41" fmla="*/ 2147483647 h 153"/>
                <a:gd name="T42" fmla="*/ 2147483647 w 352"/>
                <a:gd name="T43" fmla="*/ 2147483647 h 153"/>
                <a:gd name="T44" fmla="*/ 2147483647 w 352"/>
                <a:gd name="T45" fmla="*/ 2147483647 h 153"/>
                <a:gd name="T46" fmla="*/ 2147483647 w 352"/>
                <a:gd name="T47" fmla="*/ 2147483647 h 153"/>
                <a:gd name="T48" fmla="*/ 2147483647 w 352"/>
                <a:gd name="T49" fmla="*/ 2147483647 h 153"/>
                <a:gd name="T50" fmla="*/ 2147483647 w 352"/>
                <a:gd name="T51" fmla="*/ 2147483647 h 153"/>
                <a:gd name="T52" fmla="*/ 2147483647 w 352"/>
                <a:gd name="T53" fmla="*/ 2147483647 h 153"/>
                <a:gd name="T54" fmla="*/ 0 w 352"/>
                <a:gd name="T55" fmla="*/ 0 h 153"/>
                <a:gd name="T56" fmla="*/ 2147483647 w 352"/>
                <a:gd name="T57" fmla="*/ 0 h 153"/>
                <a:gd name="T58" fmla="*/ 2147483647 w 352"/>
                <a:gd name="T59" fmla="*/ 2147483647 h 153"/>
                <a:gd name="T60" fmla="*/ 2147483647 w 352"/>
                <a:gd name="T61" fmla="*/ 2147483647 h 153"/>
                <a:gd name="T62" fmla="*/ 2147483647 w 352"/>
                <a:gd name="T63" fmla="*/ 2147483647 h 153"/>
                <a:gd name="T64" fmla="*/ 2147483647 w 352"/>
                <a:gd name="T65" fmla="*/ 2147483647 h 153"/>
                <a:gd name="T66" fmla="*/ 2147483647 w 352"/>
                <a:gd name="T67" fmla="*/ 2147483647 h 153"/>
                <a:gd name="T68" fmla="*/ 2147483647 w 352"/>
                <a:gd name="T69" fmla="*/ 2147483647 h 153"/>
                <a:gd name="T70" fmla="*/ 2147483647 w 352"/>
                <a:gd name="T71" fmla="*/ 2147483647 h 153"/>
                <a:gd name="T72" fmla="*/ 2147483647 w 352"/>
                <a:gd name="T73" fmla="*/ 2147483647 h 153"/>
                <a:gd name="T74" fmla="*/ 2147483647 w 352"/>
                <a:gd name="T75" fmla="*/ 2147483647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52"/>
                <a:gd name="T115" fmla="*/ 0 h 153"/>
                <a:gd name="T116" fmla="*/ 352 w 352"/>
                <a:gd name="T117" fmla="*/ 153 h 15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94" name="Freeform 461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4468813" y="2343150"/>
              <a:ext cx="147637" cy="173038"/>
            </a:xfrm>
            <a:custGeom>
              <a:avLst/>
              <a:gdLst>
                <a:gd name="T0" fmla="*/ 2147483647 w 331"/>
                <a:gd name="T1" fmla="*/ 2147483647 h 327"/>
                <a:gd name="T2" fmla="*/ 2147483647 w 331"/>
                <a:gd name="T3" fmla="*/ 2147483647 h 327"/>
                <a:gd name="T4" fmla="*/ 2147483647 w 331"/>
                <a:gd name="T5" fmla="*/ 2147483647 h 327"/>
                <a:gd name="T6" fmla="*/ 2147483647 w 331"/>
                <a:gd name="T7" fmla="*/ 2147483647 h 327"/>
                <a:gd name="T8" fmla="*/ 2147483647 w 331"/>
                <a:gd name="T9" fmla="*/ 2147483647 h 327"/>
                <a:gd name="T10" fmla="*/ 2147483647 w 331"/>
                <a:gd name="T11" fmla="*/ 2147483647 h 327"/>
                <a:gd name="T12" fmla="*/ 2147483647 w 331"/>
                <a:gd name="T13" fmla="*/ 2147483647 h 327"/>
                <a:gd name="T14" fmla="*/ 2147483647 w 331"/>
                <a:gd name="T15" fmla="*/ 2147483647 h 327"/>
                <a:gd name="T16" fmla="*/ 2147483647 w 331"/>
                <a:gd name="T17" fmla="*/ 2147483647 h 327"/>
                <a:gd name="T18" fmla="*/ 2147483647 w 331"/>
                <a:gd name="T19" fmla="*/ 2147483647 h 327"/>
                <a:gd name="T20" fmla="*/ 2147483647 w 331"/>
                <a:gd name="T21" fmla="*/ 2147483647 h 327"/>
                <a:gd name="T22" fmla="*/ 2147483647 w 331"/>
                <a:gd name="T23" fmla="*/ 2147483647 h 327"/>
                <a:gd name="T24" fmla="*/ 2147483647 w 331"/>
                <a:gd name="T25" fmla="*/ 2147483647 h 327"/>
                <a:gd name="T26" fmla="*/ 2147483647 w 331"/>
                <a:gd name="T27" fmla="*/ 2147483647 h 327"/>
                <a:gd name="T28" fmla="*/ 2147483647 w 331"/>
                <a:gd name="T29" fmla="*/ 2147483647 h 327"/>
                <a:gd name="T30" fmla="*/ 2147483647 w 331"/>
                <a:gd name="T31" fmla="*/ 2147483647 h 327"/>
                <a:gd name="T32" fmla="*/ 2147483647 w 331"/>
                <a:gd name="T33" fmla="*/ 2147483647 h 327"/>
                <a:gd name="T34" fmla="*/ 2147483647 w 331"/>
                <a:gd name="T35" fmla="*/ 2147483647 h 327"/>
                <a:gd name="T36" fmla="*/ 2147483647 w 331"/>
                <a:gd name="T37" fmla="*/ 2147483647 h 327"/>
                <a:gd name="T38" fmla="*/ 2147483647 w 331"/>
                <a:gd name="T39" fmla="*/ 2147483647 h 327"/>
                <a:gd name="T40" fmla="*/ 2147483647 w 331"/>
                <a:gd name="T41" fmla="*/ 2147483647 h 327"/>
                <a:gd name="T42" fmla="*/ 2147483647 w 331"/>
                <a:gd name="T43" fmla="*/ 2147483647 h 327"/>
                <a:gd name="T44" fmla="*/ 2147483647 w 331"/>
                <a:gd name="T45" fmla="*/ 2147483647 h 327"/>
                <a:gd name="T46" fmla="*/ 2147483647 w 331"/>
                <a:gd name="T47" fmla="*/ 2147483647 h 327"/>
                <a:gd name="T48" fmla="*/ 2147483647 w 331"/>
                <a:gd name="T49" fmla="*/ 2147483647 h 327"/>
                <a:gd name="T50" fmla="*/ 2147483647 w 331"/>
                <a:gd name="T51" fmla="*/ 2147483647 h 327"/>
                <a:gd name="T52" fmla="*/ 2147483647 w 331"/>
                <a:gd name="T53" fmla="*/ 2147483647 h 327"/>
                <a:gd name="T54" fmla="*/ 2147483647 w 331"/>
                <a:gd name="T55" fmla="*/ 2147483647 h 327"/>
                <a:gd name="T56" fmla="*/ 2147483647 w 331"/>
                <a:gd name="T57" fmla="*/ 2147483647 h 327"/>
                <a:gd name="T58" fmla="*/ 2147483647 w 331"/>
                <a:gd name="T59" fmla="*/ 2147483647 h 327"/>
                <a:gd name="T60" fmla="*/ 2147483647 w 331"/>
                <a:gd name="T61" fmla="*/ 2147483647 h 327"/>
                <a:gd name="T62" fmla="*/ 2147483647 w 331"/>
                <a:gd name="T63" fmla="*/ 2147483647 h 327"/>
                <a:gd name="T64" fmla="*/ 2147483647 w 331"/>
                <a:gd name="T65" fmla="*/ 2147483647 h 327"/>
                <a:gd name="T66" fmla="*/ 2147483647 w 331"/>
                <a:gd name="T67" fmla="*/ 2147483647 h 327"/>
                <a:gd name="T68" fmla="*/ 2147483647 w 331"/>
                <a:gd name="T69" fmla="*/ 2147483647 h 327"/>
                <a:gd name="T70" fmla="*/ 0 w 331"/>
                <a:gd name="T71" fmla="*/ 2147483647 h 327"/>
                <a:gd name="T72" fmla="*/ 2147483647 w 331"/>
                <a:gd name="T73" fmla="*/ 2147483647 h 327"/>
                <a:gd name="T74" fmla="*/ 2147483647 w 331"/>
                <a:gd name="T75" fmla="*/ 2147483647 h 327"/>
                <a:gd name="T76" fmla="*/ 2147483647 w 331"/>
                <a:gd name="T77" fmla="*/ 2147483647 h 327"/>
                <a:gd name="T78" fmla="*/ 2147483647 w 331"/>
                <a:gd name="T79" fmla="*/ 2147483647 h 327"/>
                <a:gd name="T80" fmla="*/ 2147483647 w 331"/>
                <a:gd name="T81" fmla="*/ 2147483647 h 327"/>
                <a:gd name="T82" fmla="*/ 2147483647 w 331"/>
                <a:gd name="T83" fmla="*/ 2147483647 h 327"/>
                <a:gd name="T84" fmla="*/ 2147483647 w 331"/>
                <a:gd name="T85" fmla="*/ 2147483647 h 327"/>
                <a:gd name="T86" fmla="*/ 2147483647 w 331"/>
                <a:gd name="T87" fmla="*/ 2147483647 h 327"/>
                <a:gd name="T88" fmla="*/ 2147483647 w 331"/>
                <a:gd name="T89" fmla="*/ 2147483647 h 327"/>
                <a:gd name="T90" fmla="*/ 2147483647 w 331"/>
                <a:gd name="T91" fmla="*/ 2147483647 h 327"/>
                <a:gd name="T92" fmla="*/ 2147483647 w 331"/>
                <a:gd name="T93" fmla="*/ 2147483647 h 327"/>
                <a:gd name="T94" fmla="*/ 2147483647 w 331"/>
                <a:gd name="T95" fmla="*/ 2147483647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31"/>
                <a:gd name="T145" fmla="*/ 0 h 327"/>
                <a:gd name="T146" fmla="*/ 331 w 331"/>
                <a:gd name="T147" fmla="*/ 327 h 32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95" name="Freeform 462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4552950" y="2535238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2147483647 w 153"/>
                <a:gd name="T3" fmla="*/ 2147483647 h 49"/>
                <a:gd name="T4" fmla="*/ 2147483647 w 153"/>
                <a:gd name="T5" fmla="*/ 2147483647 h 49"/>
                <a:gd name="T6" fmla="*/ 2147483647 w 153"/>
                <a:gd name="T7" fmla="*/ 2147483647 h 49"/>
                <a:gd name="T8" fmla="*/ 2147483647 w 153"/>
                <a:gd name="T9" fmla="*/ 2147483647 h 49"/>
                <a:gd name="T10" fmla="*/ 2147483647 w 153"/>
                <a:gd name="T11" fmla="*/ 2147483647 h 49"/>
                <a:gd name="T12" fmla="*/ 2147483647 w 153"/>
                <a:gd name="T13" fmla="*/ 2147483647 h 49"/>
                <a:gd name="T14" fmla="*/ 2147483647 w 153"/>
                <a:gd name="T15" fmla="*/ 2147483647 h 49"/>
                <a:gd name="T16" fmla="*/ 2147483647 w 153"/>
                <a:gd name="T17" fmla="*/ 0 h 49"/>
                <a:gd name="T18" fmla="*/ 2147483647 w 153"/>
                <a:gd name="T19" fmla="*/ 2147483647 h 49"/>
                <a:gd name="T20" fmla="*/ 2147483647 w 153"/>
                <a:gd name="T21" fmla="*/ 2147483647 h 49"/>
                <a:gd name="T22" fmla="*/ 2147483647 w 153"/>
                <a:gd name="T23" fmla="*/ 2147483647 h 49"/>
                <a:gd name="T24" fmla="*/ 2147483647 w 153"/>
                <a:gd name="T25" fmla="*/ 2147483647 h 49"/>
                <a:gd name="T26" fmla="*/ 2147483647 w 153"/>
                <a:gd name="T27" fmla="*/ 2147483647 h 49"/>
                <a:gd name="T28" fmla="*/ 2147483647 w 153"/>
                <a:gd name="T29" fmla="*/ 2147483647 h 49"/>
                <a:gd name="T30" fmla="*/ 2147483647 w 153"/>
                <a:gd name="T31" fmla="*/ 2147483647 h 49"/>
                <a:gd name="T32" fmla="*/ 2147483647 w 153"/>
                <a:gd name="T33" fmla="*/ 2147483647 h 49"/>
                <a:gd name="T34" fmla="*/ 2147483647 w 153"/>
                <a:gd name="T35" fmla="*/ 2147483647 h 49"/>
                <a:gd name="T36" fmla="*/ 2147483647 w 153"/>
                <a:gd name="T37" fmla="*/ 2147483647 h 49"/>
                <a:gd name="T38" fmla="*/ 2147483647 w 153"/>
                <a:gd name="T39" fmla="*/ 2147483647 h 49"/>
                <a:gd name="T40" fmla="*/ 2147483647 w 153"/>
                <a:gd name="T41" fmla="*/ 2147483647 h 49"/>
                <a:gd name="T42" fmla="*/ 2147483647 w 153"/>
                <a:gd name="T43" fmla="*/ 2147483647 h 49"/>
                <a:gd name="T44" fmla="*/ 2147483647 w 153"/>
                <a:gd name="T45" fmla="*/ 2147483647 h 49"/>
                <a:gd name="T46" fmla="*/ 2147483647 w 153"/>
                <a:gd name="T47" fmla="*/ 2147483647 h 49"/>
                <a:gd name="T48" fmla="*/ 0 w 153"/>
                <a:gd name="T49" fmla="*/ 2147483647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53"/>
                <a:gd name="T79" fmla="*/ 0 h 49"/>
                <a:gd name="T80" fmla="*/ 153 w 153"/>
                <a:gd name="T81" fmla="*/ 49 h 4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96" name="Freeform 463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3632200" y="3267075"/>
              <a:ext cx="187325" cy="158750"/>
            </a:xfrm>
            <a:custGeom>
              <a:avLst/>
              <a:gdLst>
                <a:gd name="T0" fmla="*/ 2147483647 w 426"/>
                <a:gd name="T1" fmla="*/ 2147483647 h 299"/>
                <a:gd name="T2" fmla="*/ 2147483647 w 426"/>
                <a:gd name="T3" fmla="*/ 2147483647 h 299"/>
                <a:gd name="T4" fmla="*/ 2147483647 w 426"/>
                <a:gd name="T5" fmla="*/ 2147483647 h 299"/>
                <a:gd name="T6" fmla="*/ 2147483647 w 426"/>
                <a:gd name="T7" fmla="*/ 2147483647 h 299"/>
                <a:gd name="T8" fmla="*/ 2147483647 w 426"/>
                <a:gd name="T9" fmla="*/ 2147483647 h 299"/>
                <a:gd name="T10" fmla="*/ 2147483647 w 426"/>
                <a:gd name="T11" fmla="*/ 2147483647 h 299"/>
                <a:gd name="T12" fmla="*/ 2147483647 w 426"/>
                <a:gd name="T13" fmla="*/ 2147483647 h 299"/>
                <a:gd name="T14" fmla="*/ 2147483647 w 426"/>
                <a:gd name="T15" fmla="*/ 2147483647 h 299"/>
                <a:gd name="T16" fmla="*/ 2147483647 w 426"/>
                <a:gd name="T17" fmla="*/ 2147483647 h 299"/>
                <a:gd name="T18" fmla="*/ 2147483647 w 426"/>
                <a:gd name="T19" fmla="*/ 2147483647 h 299"/>
                <a:gd name="T20" fmla="*/ 2147483647 w 426"/>
                <a:gd name="T21" fmla="*/ 2147483647 h 299"/>
                <a:gd name="T22" fmla="*/ 2147483647 w 426"/>
                <a:gd name="T23" fmla="*/ 2147483647 h 299"/>
                <a:gd name="T24" fmla="*/ 2147483647 w 426"/>
                <a:gd name="T25" fmla="*/ 2147483647 h 299"/>
                <a:gd name="T26" fmla="*/ 2147483647 w 426"/>
                <a:gd name="T27" fmla="*/ 2147483647 h 299"/>
                <a:gd name="T28" fmla="*/ 2147483647 w 426"/>
                <a:gd name="T29" fmla="*/ 2147483647 h 299"/>
                <a:gd name="T30" fmla="*/ 2147483647 w 426"/>
                <a:gd name="T31" fmla="*/ 2147483647 h 299"/>
                <a:gd name="T32" fmla="*/ 2147483647 w 426"/>
                <a:gd name="T33" fmla="*/ 2147483647 h 299"/>
                <a:gd name="T34" fmla="*/ 2147483647 w 426"/>
                <a:gd name="T35" fmla="*/ 2147483647 h 299"/>
                <a:gd name="T36" fmla="*/ 2147483647 w 426"/>
                <a:gd name="T37" fmla="*/ 2147483647 h 299"/>
                <a:gd name="T38" fmla="*/ 2147483647 w 426"/>
                <a:gd name="T39" fmla="*/ 2147483647 h 299"/>
                <a:gd name="T40" fmla="*/ 2147483647 w 426"/>
                <a:gd name="T41" fmla="*/ 2147483647 h 299"/>
                <a:gd name="T42" fmla="*/ 2147483647 w 426"/>
                <a:gd name="T43" fmla="*/ 2147483647 h 299"/>
                <a:gd name="T44" fmla="*/ 2147483647 w 426"/>
                <a:gd name="T45" fmla="*/ 2147483647 h 299"/>
                <a:gd name="T46" fmla="*/ 2147483647 w 426"/>
                <a:gd name="T47" fmla="*/ 2147483647 h 299"/>
                <a:gd name="T48" fmla="*/ 2147483647 w 426"/>
                <a:gd name="T49" fmla="*/ 2147483647 h 299"/>
                <a:gd name="T50" fmla="*/ 2147483647 w 426"/>
                <a:gd name="T51" fmla="*/ 2147483647 h 299"/>
                <a:gd name="T52" fmla="*/ 2147483647 w 426"/>
                <a:gd name="T53" fmla="*/ 2147483647 h 299"/>
                <a:gd name="T54" fmla="*/ 2147483647 w 426"/>
                <a:gd name="T55" fmla="*/ 2147483647 h 299"/>
                <a:gd name="T56" fmla="*/ 2147483647 w 426"/>
                <a:gd name="T57" fmla="*/ 2147483647 h 299"/>
                <a:gd name="T58" fmla="*/ 2147483647 w 426"/>
                <a:gd name="T59" fmla="*/ 2147483647 h 299"/>
                <a:gd name="T60" fmla="*/ 2147483647 w 426"/>
                <a:gd name="T61" fmla="*/ 2147483647 h 299"/>
                <a:gd name="T62" fmla="*/ 2147483647 w 426"/>
                <a:gd name="T63" fmla="*/ 2147483647 h 299"/>
                <a:gd name="T64" fmla="*/ 2147483647 w 426"/>
                <a:gd name="T65" fmla="*/ 2147483647 h 299"/>
                <a:gd name="T66" fmla="*/ 2147483647 w 426"/>
                <a:gd name="T67" fmla="*/ 2147483647 h 299"/>
                <a:gd name="T68" fmla="*/ 2147483647 w 426"/>
                <a:gd name="T69" fmla="*/ 2147483647 h 299"/>
                <a:gd name="T70" fmla="*/ 2147483647 w 426"/>
                <a:gd name="T71" fmla="*/ 2147483647 h 299"/>
                <a:gd name="T72" fmla="*/ 2147483647 w 426"/>
                <a:gd name="T73" fmla="*/ 2147483647 h 299"/>
                <a:gd name="T74" fmla="*/ 2147483647 w 426"/>
                <a:gd name="T75" fmla="*/ 2147483647 h 299"/>
                <a:gd name="T76" fmla="*/ 2147483647 w 426"/>
                <a:gd name="T77" fmla="*/ 2147483647 h 299"/>
                <a:gd name="T78" fmla="*/ 2147483647 w 426"/>
                <a:gd name="T79" fmla="*/ 2147483647 h 299"/>
                <a:gd name="T80" fmla="*/ 2147483647 w 426"/>
                <a:gd name="T81" fmla="*/ 2147483647 h 299"/>
                <a:gd name="T82" fmla="*/ 2147483647 w 426"/>
                <a:gd name="T83" fmla="*/ 2147483647 h 299"/>
                <a:gd name="T84" fmla="*/ 2147483647 w 426"/>
                <a:gd name="T85" fmla="*/ 2147483647 h 299"/>
                <a:gd name="T86" fmla="*/ 2147483647 w 426"/>
                <a:gd name="T87" fmla="*/ 2147483647 h 299"/>
                <a:gd name="T88" fmla="*/ 2147483647 w 426"/>
                <a:gd name="T89" fmla="*/ 2147483647 h 299"/>
                <a:gd name="T90" fmla="*/ 2147483647 w 426"/>
                <a:gd name="T91" fmla="*/ 2147483647 h 299"/>
                <a:gd name="T92" fmla="*/ 2147483647 w 426"/>
                <a:gd name="T93" fmla="*/ 2147483647 h 299"/>
                <a:gd name="T94" fmla="*/ 2147483647 w 426"/>
                <a:gd name="T95" fmla="*/ 2147483647 h 299"/>
                <a:gd name="T96" fmla="*/ 2147483647 w 426"/>
                <a:gd name="T97" fmla="*/ 2147483647 h 299"/>
                <a:gd name="T98" fmla="*/ 2147483647 w 426"/>
                <a:gd name="T99" fmla="*/ 2147483647 h 299"/>
                <a:gd name="T100" fmla="*/ 2147483647 w 426"/>
                <a:gd name="T101" fmla="*/ 2147483647 h 299"/>
                <a:gd name="T102" fmla="*/ 2147483647 w 426"/>
                <a:gd name="T103" fmla="*/ 2147483647 h 299"/>
                <a:gd name="T104" fmla="*/ 2147483647 w 426"/>
                <a:gd name="T105" fmla="*/ 2147483647 h 299"/>
                <a:gd name="T106" fmla="*/ 2147483647 w 426"/>
                <a:gd name="T107" fmla="*/ 2147483647 h 299"/>
                <a:gd name="T108" fmla="*/ 2147483647 w 426"/>
                <a:gd name="T109" fmla="*/ 2147483647 h 299"/>
                <a:gd name="T110" fmla="*/ 2147483647 w 426"/>
                <a:gd name="T111" fmla="*/ 2147483647 h 299"/>
                <a:gd name="T112" fmla="*/ 2147483647 w 426"/>
                <a:gd name="T113" fmla="*/ 2147483647 h 299"/>
                <a:gd name="T114" fmla="*/ 2147483647 w 426"/>
                <a:gd name="T115" fmla="*/ 2147483647 h 299"/>
                <a:gd name="T116" fmla="*/ 2147483647 w 426"/>
                <a:gd name="T117" fmla="*/ 2147483647 h 299"/>
                <a:gd name="T118" fmla="*/ 2147483647 w 426"/>
                <a:gd name="T119" fmla="*/ 2147483647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26"/>
                <a:gd name="T181" fmla="*/ 0 h 299"/>
                <a:gd name="T182" fmla="*/ 426 w 426"/>
                <a:gd name="T183" fmla="*/ 299 h 29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97" name="Freeform 464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5676900" y="2530475"/>
              <a:ext cx="692150" cy="874713"/>
            </a:xfrm>
            <a:custGeom>
              <a:avLst/>
              <a:gdLst>
                <a:gd name="T0" fmla="*/ 2147483647 w 1594"/>
                <a:gd name="T1" fmla="*/ 2147483647 h 1670"/>
                <a:gd name="T2" fmla="*/ 2147483647 w 1594"/>
                <a:gd name="T3" fmla="*/ 2147483647 h 1670"/>
                <a:gd name="T4" fmla="*/ 2147483647 w 1594"/>
                <a:gd name="T5" fmla="*/ 2147483647 h 1670"/>
                <a:gd name="T6" fmla="*/ 2147483647 w 1594"/>
                <a:gd name="T7" fmla="*/ 2147483647 h 1670"/>
                <a:gd name="T8" fmla="*/ 2147483647 w 1594"/>
                <a:gd name="T9" fmla="*/ 2147483647 h 1670"/>
                <a:gd name="T10" fmla="*/ 2147483647 w 1594"/>
                <a:gd name="T11" fmla="*/ 2147483647 h 1670"/>
                <a:gd name="T12" fmla="*/ 2147483647 w 1594"/>
                <a:gd name="T13" fmla="*/ 2147483647 h 1670"/>
                <a:gd name="T14" fmla="*/ 2147483647 w 1594"/>
                <a:gd name="T15" fmla="*/ 2147483647 h 1670"/>
                <a:gd name="T16" fmla="*/ 2147483647 w 1594"/>
                <a:gd name="T17" fmla="*/ 2147483647 h 1670"/>
                <a:gd name="T18" fmla="*/ 2147483647 w 1594"/>
                <a:gd name="T19" fmla="*/ 2147483647 h 1670"/>
                <a:gd name="T20" fmla="*/ 2147483647 w 1594"/>
                <a:gd name="T21" fmla="*/ 2147483647 h 1670"/>
                <a:gd name="T22" fmla="*/ 2147483647 w 1594"/>
                <a:gd name="T23" fmla="*/ 2147483647 h 1670"/>
                <a:gd name="T24" fmla="*/ 2147483647 w 1594"/>
                <a:gd name="T25" fmla="*/ 2147483647 h 1670"/>
                <a:gd name="T26" fmla="*/ 2147483647 w 1594"/>
                <a:gd name="T27" fmla="*/ 2147483647 h 1670"/>
                <a:gd name="T28" fmla="*/ 2147483647 w 1594"/>
                <a:gd name="T29" fmla="*/ 2147483647 h 1670"/>
                <a:gd name="T30" fmla="*/ 2147483647 w 1594"/>
                <a:gd name="T31" fmla="*/ 2147483647 h 1670"/>
                <a:gd name="T32" fmla="*/ 2147483647 w 1594"/>
                <a:gd name="T33" fmla="*/ 2147483647 h 1670"/>
                <a:gd name="T34" fmla="*/ 2147483647 w 1594"/>
                <a:gd name="T35" fmla="*/ 2147483647 h 1670"/>
                <a:gd name="T36" fmla="*/ 2147483647 w 1594"/>
                <a:gd name="T37" fmla="*/ 2147483647 h 1670"/>
                <a:gd name="T38" fmla="*/ 2147483647 w 1594"/>
                <a:gd name="T39" fmla="*/ 2147483647 h 1670"/>
                <a:gd name="T40" fmla="*/ 2147483647 w 1594"/>
                <a:gd name="T41" fmla="*/ 2147483647 h 1670"/>
                <a:gd name="T42" fmla="*/ 2147483647 w 1594"/>
                <a:gd name="T43" fmla="*/ 2147483647 h 1670"/>
                <a:gd name="T44" fmla="*/ 2147483647 w 1594"/>
                <a:gd name="T45" fmla="*/ 2147483647 h 1670"/>
                <a:gd name="T46" fmla="*/ 2147483647 w 1594"/>
                <a:gd name="T47" fmla="*/ 2147483647 h 1670"/>
                <a:gd name="T48" fmla="*/ 2147483647 w 1594"/>
                <a:gd name="T49" fmla="*/ 2147483647 h 1670"/>
                <a:gd name="T50" fmla="*/ 2147483647 w 1594"/>
                <a:gd name="T51" fmla="*/ 2147483647 h 1670"/>
                <a:gd name="T52" fmla="*/ 2147483647 w 1594"/>
                <a:gd name="T53" fmla="*/ 2147483647 h 1670"/>
                <a:gd name="T54" fmla="*/ 2147483647 w 1594"/>
                <a:gd name="T55" fmla="*/ 2147483647 h 1670"/>
                <a:gd name="T56" fmla="*/ 2147483647 w 1594"/>
                <a:gd name="T57" fmla="*/ 2147483647 h 1670"/>
                <a:gd name="T58" fmla="*/ 2147483647 w 1594"/>
                <a:gd name="T59" fmla="*/ 2147483647 h 1670"/>
                <a:gd name="T60" fmla="*/ 2147483647 w 1594"/>
                <a:gd name="T61" fmla="*/ 2147483647 h 1670"/>
                <a:gd name="T62" fmla="*/ 2147483647 w 1594"/>
                <a:gd name="T63" fmla="*/ 2147483647 h 1670"/>
                <a:gd name="T64" fmla="*/ 2147483647 w 1594"/>
                <a:gd name="T65" fmla="*/ 2147483647 h 1670"/>
                <a:gd name="T66" fmla="*/ 2147483647 w 1594"/>
                <a:gd name="T67" fmla="*/ 2147483647 h 1670"/>
                <a:gd name="T68" fmla="*/ 2147483647 w 1594"/>
                <a:gd name="T69" fmla="*/ 2147483647 h 1670"/>
                <a:gd name="T70" fmla="*/ 2147483647 w 1594"/>
                <a:gd name="T71" fmla="*/ 2147483647 h 1670"/>
                <a:gd name="T72" fmla="*/ 2147483647 w 1594"/>
                <a:gd name="T73" fmla="*/ 2147483647 h 1670"/>
                <a:gd name="T74" fmla="*/ 2147483647 w 1594"/>
                <a:gd name="T75" fmla="*/ 2147483647 h 1670"/>
                <a:gd name="T76" fmla="*/ 2147483647 w 1594"/>
                <a:gd name="T77" fmla="*/ 2147483647 h 1670"/>
                <a:gd name="T78" fmla="*/ 2147483647 w 1594"/>
                <a:gd name="T79" fmla="*/ 2147483647 h 1670"/>
                <a:gd name="T80" fmla="*/ 2147483647 w 1594"/>
                <a:gd name="T81" fmla="*/ 2147483647 h 1670"/>
                <a:gd name="T82" fmla="*/ 2147483647 w 1594"/>
                <a:gd name="T83" fmla="*/ 2147483647 h 1670"/>
                <a:gd name="T84" fmla="*/ 2147483647 w 1594"/>
                <a:gd name="T85" fmla="*/ 2147483647 h 1670"/>
                <a:gd name="T86" fmla="*/ 2147483647 w 1594"/>
                <a:gd name="T87" fmla="*/ 2147483647 h 1670"/>
                <a:gd name="T88" fmla="*/ 2147483647 w 1594"/>
                <a:gd name="T89" fmla="*/ 2147483647 h 1670"/>
                <a:gd name="T90" fmla="*/ 2147483647 w 1594"/>
                <a:gd name="T91" fmla="*/ 2147483647 h 1670"/>
                <a:gd name="T92" fmla="*/ 2147483647 w 1594"/>
                <a:gd name="T93" fmla="*/ 2147483647 h 1670"/>
                <a:gd name="T94" fmla="*/ 2147483647 w 1594"/>
                <a:gd name="T95" fmla="*/ 2147483647 h 1670"/>
                <a:gd name="T96" fmla="*/ 2147483647 w 1594"/>
                <a:gd name="T97" fmla="*/ 2147483647 h 1670"/>
                <a:gd name="T98" fmla="*/ 2147483647 w 1594"/>
                <a:gd name="T99" fmla="*/ 2147483647 h 1670"/>
                <a:gd name="T100" fmla="*/ 2147483647 w 1594"/>
                <a:gd name="T101" fmla="*/ 2147483647 h 1670"/>
                <a:gd name="T102" fmla="*/ 2147483647 w 1594"/>
                <a:gd name="T103" fmla="*/ 2147483647 h 1670"/>
                <a:gd name="T104" fmla="*/ 2147483647 w 1594"/>
                <a:gd name="T105" fmla="*/ 2147483647 h 1670"/>
                <a:gd name="T106" fmla="*/ 2147483647 w 1594"/>
                <a:gd name="T107" fmla="*/ 2147483647 h 1670"/>
                <a:gd name="T108" fmla="*/ 2147483647 w 1594"/>
                <a:gd name="T109" fmla="*/ 2147483647 h 1670"/>
                <a:gd name="T110" fmla="*/ 2147483647 w 1594"/>
                <a:gd name="T111" fmla="*/ 2147483647 h 1670"/>
                <a:gd name="T112" fmla="*/ 2147483647 w 1594"/>
                <a:gd name="T113" fmla="*/ 2147483647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594"/>
                <a:gd name="T172" fmla="*/ 0 h 1670"/>
                <a:gd name="T173" fmla="*/ 1594 w 1594"/>
                <a:gd name="T174" fmla="*/ 1670 h 167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698" name="Freeform 465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3798888" y="3325813"/>
              <a:ext cx="158750" cy="206375"/>
            </a:xfrm>
            <a:custGeom>
              <a:avLst/>
              <a:gdLst>
                <a:gd name="T0" fmla="*/ 2147483647 w 359"/>
                <a:gd name="T1" fmla="*/ 2147483647 h 394"/>
                <a:gd name="T2" fmla="*/ 2147483647 w 359"/>
                <a:gd name="T3" fmla="*/ 2147483647 h 394"/>
                <a:gd name="T4" fmla="*/ 2147483647 w 359"/>
                <a:gd name="T5" fmla="*/ 2147483647 h 394"/>
                <a:gd name="T6" fmla="*/ 2147483647 w 359"/>
                <a:gd name="T7" fmla="*/ 2147483647 h 394"/>
                <a:gd name="T8" fmla="*/ 2147483647 w 359"/>
                <a:gd name="T9" fmla="*/ 2147483647 h 394"/>
                <a:gd name="T10" fmla="*/ 2147483647 w 359"/>
                <a:gd name="T11" fmla="*/ 2147483647 h 394"/>
                <a:gd name="T12" fmla="*/ 2147483647 w 359"/>
                <a:gd name="T13" fmla="*/ 2147483647 h 394"/>
                <a:gd name="T14" fmla="*/ 0 w 359"/>
                <a:gd name="T15" fmla="*/ 2147483647 h 394"/>
                <a:gd name="T16" fmla="*/ 2147483647 w 359"/>
                <a:gd name="T17" fmla="*/ 2147483647 h 394"/>
                <a:gd name="T18" fmla="*/ 2147483647 w 359"/>
                <a:gd name="T19" fmla="*/ 2147483647 h 394"/>
                <a:gd name="T20" fmla="*/ 2147483647 w 359"/>
                <a:gd name="T21" fmla="*/ 2147483647 h 394"/>
                <a:gd name="T22" fmla="*/ 2147483647 w 359"/>
                <a:gd name="T23" fmla="*/ 2147483647 h 394"/>
                <a:gd name="T24" fmla="*/ 2147483647 w 359"/>
                <a:gd name="T25" fmla="*/ 2147483647 h 394"/>
                <a:gd name="T26" fmla="*/ 2147483647 w 359"/>
                <a:gd name="T27" fmla="*/ 2147483647 h 394"/>
                <a:gd name="T28" fmla="*/ 2147483647 w 359"/>
                <a:gd name="T29" fmla="*/ 2147483647 h 394"/>
                <a:gd name="T30" fmla="*/ 2147483647 w 359"/>
                <a:gd name="T31" fmla="*/ 2147483647 h 394"/>
                <a:gd name="T32" fmla="*/ 2147483647 w 359"/>
                <a:gd name="T33" fmla="*/ 2147483647 h 394"/>
                <a:gd name="T34" fmla="*/ 2147483647 w 359"/>
                <a:gd name="T35" fmla="*/ 2147483647 h 394"/>
                <a:gd name="T36" fmla="*/ 2147483647 w 359"/>
                <a:gd name="T37" fmla="*/ 0 h 394"/>
                <a:gd name="T38" fmla="*/ 2147483647 w 359"/>
                <a:gd name="T39" fmla="*/ 2147483647 h 394"/>
                <a:gd name="T40" fmla="*/ 2147483647 w 359"/>
                <a:gd name="T41" fmla="*/ 2147483647 h 394"/>
                <a:gd name="T42" fmla="*/ 2147483647 w 359"/>
                <a:gd name="T43" fmla="*/ 2147483647 h 394"/>
                <a:gd name="T44" fmla="*/ 2147483647 w 359"/>
                <a:gd name="T45" fmla="*/ 2147483647 h 394"/>
                <a:gd name="T46" fmla="*/ 2147483647 w 359"/>
                <a:gd name="T47" fmla="*/ 2147483647 h 394"/>
                <a:gd name="T48" fmla="*/ 2147483647 w 359"/>
                <a:gd name="T49" fmla="*/ 2147483647 h 394"/>
                <a:gd name="T50" fmla="*/ 2147483647 w 359"/>
                <a:gd name="T51" fmla="*/ 2147483647 h 394"/>
                <a:gd name="T52" fmla="*/ 2147483647 w 359"/>
                <a:gd name="T53" fmla="*/ 2147483647 h 394"/>
                <a:gd name="T54" fmla="*/ 2147483647 w 359"/>
                <a:gd name="T55" fmla="*/ 2147483647 h 394"/>
                <a:gd name="T56" fmla="*/ 2147483647 w 359"/>
                <a:gd name="T57" fmla="*/ 2147483647 h 394"/>
                <a:gd name="T58" fmla="*/ 2147483647 w 359"/>
                <a:gd name="T59" fmla="*/ 2147483647 h 394"/>
                <a:gd name="T60" fmla="*/ 2147483647 w 359"/>
                <a:gd name="T61" fmla="*/ 2147483647 h 394"/>
                <a:gd name="T62" fmla="*/ 2147483647 w 359"/>
                <a:gd name="T63" fmla="*/ 2147483647 h 394"/>
                <a:gd name="T64" fmla="*/ 2147483647 w 359"/>
                <a:gd name="T65" fmla="*/ 2147483647 h 394"/>
                <a:gd name="T66" fmla="*/ 2147483647 w 359"/>
                <a:gd name="T67" fmla="*/ 2147483647 h 394"/>
                <a:gd name="T68" fmla="*/ 2147483647 w 359"/>
                <a:gd name="T69" fmla="*/ 2147483647 h 394"/>
                <a:gd name="T70" fmla="*/ 2147483647 w 359"/>
                <a:gd name="T71" fmla="*/ 2147483647 h 394"/>
                <a:gd name="T72" fmla="*/ 2147483647 w 359"/>
                <a:gd name="T73" fmla="*/ 2147483647 h 394"/>
                <a:gd name="T74" fmla="*/ 2147483647 w 359"/>
                <a:gd name="T75" fmla="*/ 2147483647 h 394"/>
                <a:gd name="T76" fmla="*/ 2147483647 w 359"/>
                <a:gd name="T77" fmla="*/ 2147483647 h 394"/>
                <a:gd name="T78" fmla="*/ 2147483647 w 359"/>
                <a:gd name="T79" fmla="*/ 2147483647 h 394"/>
                <a:gd name="T80" fmla="*/ 2147483647 w 359"/>
                <a:gd name="T81" fmla="*/ 2147483647 h 394"/>
                <a:gd name="T82" fmla="*/ 2147483647 w 359"/>
                <a:gd name="T83" fmla="*/ 2147483647 h 394"/>
                <a:gd name="T84" fmla="*/ 2147483647 w 359"/>
                <a:gd name="T85" fmla="*/ 2147483647 h 394"/>
                <a:gd name="T86" fmla="*/ 2147483647 w 359"/>
                <a:gd name="T87" fmla="*/ 2147483647 h 394"/>
                <a:gd name="T88" fmla="*/ 2147483647 w 359"/>
                <a:gd name="T89" fmla="*/ 2147483647 h 394"/>
                <a:gd name="T90" fmla="*/ 2147483647 w 359"/>
                <a:gd name="T91" fmla="*/ 2147483647 h 394"/>
                <a:gd name="T92" fmla="*/ 2147483647 w 359"/>
                <a:gd name="T93" fmla="*/ 2147483647 h 394"/>
                <a:gd name="T94" fmla="*/ 2147483647 w 359"/>
                <a:gd name="T95" fmla="*/ 2147483647 h 394"/>
                <a:gd name="T96" fmla="*/ 2147483647 w 359"/>
                <a:gd name="T97" fmla="*/ 2147483647 h 394"/>
                <a:gd name="T98" fmla="*/ 2147483647 w 359"/>
                <a:gd name="T99" fmla="*/ 2147483647 h 394"/>
                <a:gd name="T100" fmla="*/ 2147483647 w 359"/>
                <a:gd name="T101" fmla="*/ 2147483647 h 394"/>
                <a:gd name="T102" fmla="*/ 2147483647 w 359"/>
                <a:gd name="T103" fmla="*/ 2147483647 h 394"/>
                <a:gd name="T104" fmla="*/ 2147483647 w 359"/>
                <a:gd name="T105" fmla="*/ 2147483647 h 394"/>
                <a:gd name="T106" fmla="*/ 2147483647 w 359"/>
                <a:gd name="T107" fmla="*/ 2147483647 h 394"/>
                <a:gd name="T108" fmla="*/ 2147483647 w 359"/>
                <a:gd name="T109" fmla="*/ 2147483647 h 394"/>
                <a:gd name="T110" fmla="*/ 2147483647 w 359"/>
                <a:gd name="T111" fmla="*/ 2147483647 h 394"/>
                <a:gd name="T112" fmla="*/ 2147483647 w 359"/>
                <a:gd name="T113" fmla="*/ 2147483647 h 394"/>
                <a:gd name="T114" fmla="*/ 2147483647 w 359"/>
                <a:gd name="T115" fmla="*/ 2147483647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59"/>
                <a:gd name="T175" fmla="*/ 0 h 394"/>
                <a:gd name="T176" fmla="*/ 359 w 359"/>
                <a:gd name="T177" fmla="*/ 394 h 39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97" name="Freeform 466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4867713" y="3520953"/>
              <a:ext cx="192219" cy="271512"/>
            </a:xfrm>
            <a:custGeom>
              <a:avLst/>
              <a:gdLst>
                <a:gd name="T0" fmla="*/ 2147483647 w 449"/>
                <a:gd name="T1" fmla="*/ 2147483647 h 523"/>
                <a:gd name="T2" fmla="*/ 2147483647 w 449"/>
                <a:gd name="T3" fmla="*/ 2147483647 h 523"/>
                <a:gd name="T4" fmla="*/ 2147483647 w 449"/>
                <a:gd name="T5" fmla="*/ 2147483647 h 523"/>
                <a:gd name="T6" fmla="*/ 2147483647 w 449"/>
                <a:gd name="T7" fmla="*/ 2147483647 h 523"/>
                <a:gd name="T8" fmla="*/ 2147483647 w 449"/>
                <a:gd name="T9" fmla="*/ 2147483647 h 523"/>
                <a:gd name="T10" fmla="*/ 2147483647 w 449"/>
                <a:gd name="T11" fmla="*/ 2147483647 h 523"/>
                <a:gd name="T12" fmla="*/ 2147483647 w 449"/>
                <a:gd name="T13" fmla="*/ 2147483647 h 523"/>
                <a:gd name="T14" fmla="*/ 2147483647 w 449"/>
                <a:gd name="T15" fmla="*/ 2147483647 h 523"/>
                <a:gd name="T16" fmla="*/ 2147483647 w 449"/>
                <a:gd name="T17" fmla="*/ 2147483647 h 523"/>
                <a:gd name="T18" fmla="*/ 2147483647 w 449"/>
                <a:gd name="T19" fmla="*/ 2147483647 h 523"/>
                <a:gd name="T20" fmla="*/ 2147483647 w 449"/>
                <a:gd name="T21" fmla="*/ 2147483647 h 523"/>
                <a:gd name="T22" fmla="*/ 2147483647 w 449"/>
                <a:gd name="T23" fmla="*/ 2147483647 h 523"/>
                <a:gd name="T24" fmla="*/ 2147483647 w 449"/>
                <a:gd name="T25" fmla="*/ 2147483647 h 523"/>
                <a:gd name="T26" fmla="*/ 2147483647 w 449"/>
                <a:gd name="T27" fmla="*/ 2147483647 h 523"/>
                <a:gd name="T28" fmla="*/ 2147483647 w 449"/>
                <a:gd name="T29" fmla="*/ 2147483647 h 523"/>
                <a:gd name="T30" fmla="*/ 2147483647 w 449"/>
                <a:gd name="T31" fmla="*/ 2147483647 h 523"/>
                <a:gd name="T32" fmla="*/ 2147483647 w 449"/>
                <a:gd name="T33" fmla="*/ 2147483647 h 523"/>
                <a:gd name="T34" fmla="*/ 2147483647 w 449"/>
                <a:gd name="T35" fmla="*/ 2147483647 h 523"/>
                <a:gd name="T36" fmla="*/ 2147483647 w 449"/>
                <a:gd name="T37" fmla="*/ 2147483647 h 523"/>
                <a:gd name="T38" fmla="*/ 2147483647 w 449"/>
                <a:gd name="T39" fmla="*/ 2147483647 h 523"/>
                <a:gd name="T40" fmla="*/ 2147483647 w 449"/>
                <a:gd name="T41" fmla="*/ 2147483647 h 523"/>
                <a:gd name="T42" fmla="*/ 2147483647 w 449"/>
                <a:gd name="T43" fmla="*/ 2147483647 h 523"/>
                <a:gd name="T44" fmla="*/ 2147483647 w 449"/>
                <a:gd name="T45" fmla="*/ 2147483647 h 523"/>
                <a:gd name="T46" fmla="*/ 2147483647 w 449"/>
                <a:gd name="T47" fmla="*/ 2147483647 h 523"/>
                <a:gd name="T48" fmla="*/ 2147483647 w 449"/>
                <a:gd name="T49" fmla="*/ 2147483647 h 523"/>
                <a:gd name="T50" fmla="*/ 2147483647 w 449"/>
                <a:gd name="T51" fmla="*/ 0 h 523"/>
                <a:gd name="T52" fmla="*/ 2147483647 w 449"/>
                <a:gd name="T53" fmla="*/ 0 h 523"/>
                <a:gd name="T54" fmla="*/ 2147483647 w 449"/>
                <a:gd name="T55" fmla="*/ 0 h 523"/>
                <a:gd name="T56" fmla="*/ 2147483647 w 449"/>
                <a:gd name="T57" fmla="*/ 2147483647 h 523"/>
                <a:gd name="T58" fmla="*/ 2147483647 w 449"/>
                <a:gd name="T59" fmla="*/ 2147483647 h 523"/>
                <a:gd name="T60" fmla="*/ 2147483647 w 449"/>
                <a:gd name="T61" fmla="*/ 2147483647 h 523"/>
                <a:gd name="T62" fmla="*/ 2147483647 w 449"/>
                <a:gd name="T63" fmla="*/ 2147483647 h 523"/>
                <a:gd name="T64" fmla="*/ 2147483647 w 449"/>
                <a:gd name="T65" fmla="*/ 2147483647 h 523"/>
                <a:gd name="T66" fmla="*/ 2147483647 w 449"/>
                <a:gd name="T67" fmla="*/ 2147483647 h 523"/>
                <a:gd name="T68" fmla="*/ 2147483647 w 449"/>
                <a:gd name="T69" fmla="*/ 2147483647 h 523"/>
                <a:gd name="T70" fmla="*/ 2147483647 w 449"/>
                <a:gd name="T71" fmla="*/ 2147483647 h 523"/>
                <a:gd name="T72" fmla="*/ 2147483647 w 449"/>
                <a:gd name="T73" fmla="*/ 2147483647 h 523"/>
                <a:gd name="T74" fmla="*/ 2147483647 w 449"/>
                <a:gd name="T75" fmla="*/ 2147483647 h 523"/>
                <a:gd name="T76" fmla="*/ 2147483647 w 449"/>
                <a:gd name="T77" fmla="*/ 2147483647 h 523"/>
                <a:gd name="T78" fmla="*/ 2147483647 w 449"/>
                <a:gd name="T79" fmla="*/ 2147483647 h 523"/>
                <a:gd name="T80" fmla="*/ 2147483647 w 449"/>
                <a:gd name="T81" fmla="*/ 2147483647 h 523"/>
                <a:gd name="T82" fmla="*/ 2147483647 w 449"/>
                <a:gd name="T83" fmla="*/ 2147483647 h 523"/>
                <a:gd name="T84" fmla="*/ 2147483647 w 449"/>
                <a:gd name="T85" fmla="*/ 2147483647 h 523"/>
                <a:gd name="T86" fmla="*/ 2147483647 w 449"/>
                <a:gd name="T87" fmla="*/ 2147483647 h 523"/>
                <a:gd name="T88" fmla="*/ 2147483647 w 449"/>
                <a:gd name="T89" fmla="*/ 2147483647 h 523"/>
                <a:gd name="T90" fmla="*/ 2147483647 w 449"/>
                <a:gd name="T91" fmla="*/ 2147483647 h 523"/>
                <a:gd name="T92" fmla="*/ 2147483647 w 449"/>
                <a:gd name="T93" fmla="*/ 2147483647 h 523"/>
                <a:gd name="T94" fmla="*/ 2147483647 w 449"/>
                <a:gd name="T95" fmla="*/ 2147483647 h 523"/>
                <a:gd name="T96" fmla="*/ 2147483647 w 449"/>
                <a:gd name="T97" fmla="*/ 2147483647 h 523"/>
                <a:gd name="T98" fmla="*/ 2147483647 w 449"/>
                <a:gd name="T99" fmla="*/ 2147483647 h 523"/>
                <a:gd name="T100" fmla="*/ 2147483647 w 449"/>
                <a:gd name="T101" fmla="*/ 2147483647 h 523"/>
                <a:gd name="T102" fmla="*/ 2147483647 w 449"/>
                <a:gd name="T103" fmla="*/ 2147483647 h 523"/>
                <a:gd name="T104" fmla="*/ 2147483647 w 449"/>
                <a:gd name="T105" fmla="*/ 2147483647 h 523"/>
                <a:gd name="T106" fmla="*/ 2147483647 w 449"/>
                <a:gd name="T107" fmla="*/ 2147483647 h 523"/>
                <a:gd name="T108" fmla="*/ 2147483647 w 449"/>
                <a:gd name="T109" fmla="*/ 2147483647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49"/>
                <a:gd name="T166" fmla="*/ 0 h 523"/>
                <a:gd name="T167" fmla="*/ 449 w 449"/>
                <a:gd name="T168" fmla="*/ 523 h 52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chemeClr val="accent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 baseline="-25000" smtClean="0"/>
            </a:p>
          </p:txBody>
        </p:sp>
        <p:sp>
          <p:nvSpPr>
            <p:cNvPr id="15700" name="Freeform 467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4849813" y="2606675"/>
              <a:ext cx="101600" cy="130175"/>
            </a:xfrm>
            <a:custGeom>
              <a:avLst/>
              <a:gdLst>
                <a:gd name="T0" fmla="*/ 2147483647 w 226"/>
                <a:gd name="T1" fmla="*/ 2147483647 h 246"/>
                <a:gd name="T2" fmla="*/ 2147483647 w 226"/>
                <a:gd name="T3" fmla="*/ 2147483647 h 246"/>
                <a:gd name="T4" fmla="*/ 2147483647 w 226"/>
                <a:gd name="T5" fmla="*/ 2147483647 h 246"/>
                <a:gd name="T6" fmla="*/ 2147483647 w 226"/>
                <a:gd name="T7" fmla="*/ 2147483647 h 246"/>
                <a:gd name="T8" fmla="*/ 2147483647 w 226"/>
                <a:gd name="T9" fmla="*/ 2147483647 h 246"/>
                <a:gd name="T10" fmla="*/ 2147483647 w 226"/>
                <a:gd name="T11" fmla="*/ 2147483647 h 246"/>
                <a:gd name="T12" fmla="*/ 2147483647 w 226"/>
                <a:gd name="T13" fmla="*/ 2147483647 h 246"/>
                <a:gd name="T14" fmla="*/ 2147483647 w 226"/>
                <a:gd name="T15" fmla="*/ 2147483647 h 246"/>
                <a:gd name="T16" fmla="*/ 2147483647 w 226"/>
                <a:gd name="T17" fmla="*/ 2147483647 h 246"/>
                <a:gd name="T18" fmla="*/ 2147483647 w 226"/>
                <a:gd name="T19" fmla="*/ 2147483647 h 246"/>
                <a:gd name="T20" fmla="*/ 2147483647 w 226"/>
                <a:gd name="T21" fmla="*/ 2147483647 h 246"/>
                <a:gd name="T22" fmla="*/ 2147483647 w 226"/>
                <a:gd name="T23" fmla="*/ 2147483647 h 246"/>
                <a:gd name="T24" fmla="*/ 2147483647 w 226"/>
                <a:gd name="T25" fmla="*/ 2147483647 h 246"/>
                <a:gd name="T26" fmla="*/ 2147483647 w 226"/>
                <a:gd name="T27" fmla="*/ 2147483647 h 246"/>
                <a:gd name="T28" fmla="*/ 2147483647 w 226"/>
                <a:gd name="T29" fmla="*/ 2147483647 h 246"/>
                <a:gd name="T30" fmla="*/ 2147483647 w 226"/>
                <a:gd name="T31" fmla="*/ 2147483647 h 246"/>
                <a:gd name="T32" fmla="*/ 2147483647 w 226"/>
                <a:gd name="T33" fmla="*/ 2147483647 h 246"/>
                <a:gd name="T34" fmla="*/ 2147483647 w 226"/>
                <a:gd name="T35" fmla="*/ 2147483647 h 246"/>
                <a:gd name="T36" fmla="*/ 2147483647 w 226"/>
                <a:gd name="T37" fmla="*/ 2147483647 h 246"/>
                <a:gd name="T38" fmla="*/ 2147483647 w 226"/>
                <a:gd name="T39" fmla="*/ 2147483647 h 246"/>
                <a:gd name="T40" fmla="*/ 2147483647 w 226"/>
                <a:gd name="T41" fmla="*/ 2147483647 h 246"/>
                <a:gd name="T42" fmla="*/ 2147483647 w 226"/>
                <a:gd name="T43" fmla="*/ 2147483647 h 246"/>
                <a:gd name="T44" fmla="*/ 2147483647 w 226"/>
                <a:gd name="T45" fmla="*/ 2147483647 h 246"/>
                <a:gd name="T46" fmla="*/ 2147483647 w 226"/>
                <a:gd name="T47" fmla="*/ 2147483647 h 246"/>
                <a:gd name="T48" fmla="*/ 2147483647 w 226"/>
                <a:gd name="T49" fmla="*/ 2147483647 h 246"/>
                <a:gd name="T50" fmla="*/ 2147483647 w 226"/>
                <a:gd name="T51" fmla="*/ 2147483647 h 246"/>
                <a:gd name="T52" fmla="*/ 2147483647 w 226"/>
                <a:gd name="T53" fmla="*/ 2147483647 h 246"/>
                <a:gd name="T54" fmla="*/ 2147483647 w 226"/>
                <a:gd name="T55" fmla="*/ 2147483647 h 246"/>
                <a:gd name="T56" fmla="*/ 2147483647 w 226"/>
                <a:gd name="T57" fmla="*/ 2147483647 h 246"/>
                <a:gd name="T58" fmla="*/ 2147483647 w 226"/>
                <a:gd name="T59" fmla="*/ 2147483647 h 246"/>
                <a:gd name="T60" fmla="*/ 2147483647 w 226"/>
                <a:gd name="T61" fmla="*/ 2147483647 h 246"/>
                <a:gd name="T62" fmla="*/ 2147483647 w 226"/>
                <a:gd name="T63" fmla="*/ 2147483647 h 246"/>
                <a:gd name="T64" fmla="*/ 2147483647 w 226"/>
                <a:gd name="T65" fmla="*/ 2147483647 h 246"/>
                <a:gd name="T66" fmla="*/ 2147483647 w 226"/>
                <a:gd name="T67" fmla="*/ 2147483647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26"/>
                <a:gd name="T103" fmla="*/ 0 h 246"/>
                <a:gd name="T104" fmla="*/ 226 w 226"/>
                <a:gd name="T105" fmla="*/ 246 h 24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01" name="Freeform 468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5148263" y="2709863"/>
              <a:ext cx="22225" cy="55562"/>
            </a:xfrm>
            <a:custGeom>
              <a:avLst/>
              <a:gdLst>
                <a:gd name="T0" fmla="*/ 2147483647 w 60"/>
                <a:gd name="T1" fmla="*/ 0 h 81"/>
                <a:gd name="T2" fmla="*/ 2147483647 w 60"/>
                <a:gd name="T3" fmla="*/ 2147483647 h 81"/>
                <a:gd name="T4" fmla="*/ 2147483647 w 60"/>
                <a:gd name="T5" fmla="*/ 2147483647 h 81"/>
                <a:gd name="T6" fmla="*/ 2147483647 w 60"/>
                <a:gd name="T7" fmla="*/ 2147483647 h 81"/>
                <a:gd name="T8" fmla="*/ 2147483647 w 60"/>
                <a:gd name="T9" fmla="*/ 2147483647 h 81"/>
                <a:gd name="T10" fmla="*/ 2147483647 w 60"/>
                <a:gd name="T11" fmla="*/ 2147483647 h 81"/>
                <a:gd name="T12" fmla="*/ 2147483647 w 60"/>
                <a:gd name="T13" fmla="*/ 0 h 81"/>
                <a:gd name="T14" fmla="*/ 2147483647 w 60"/>
                <a:gd name="T15" fmla="*/ 2147483647 h 81"/>
                <a:gd name="T16" fmla="*/ 2147483647 w 60"/>
                <a:gd name="T17" fmla="*/ 2147483647 h 81"/>
                <a:gd name="T18" fmla="*/ 2147483647 w 60"/>
                <a:gd name="T19" fmla="*/ 2147483647 h 81"/>
                <a:gd name="T20" fmla="*/ 2147483647 w 60"/>
                <a:gd name="T21" fmla="*/ 2147483647 h 81"/>
                <a:gd name="T22" fmla="*/ 2147483647 w 60"/>
                <a:gd name="T23" fmla="*/ 2147483647 h 81"/>
                <a:gd name="T24" fmla="*/ 2147483647 w 60"/>
                <a:gd name="T25" fmla="*/ 2147483647 h 81"/>
                <a:gd name="T26" fmla="*/ 2147483647 w 60"/>
                <a:gd name="T27" fmla="*/ 2147483647 h 81"/>
                <a:gd name="T28" fmla="*/ 2147483647 w 60"/>
                <a:gd name="T29" fmla="*/ 2147483647 h 81"/>
                <a:gd name="T30" fmla="*/ 2147483647 w 60"/>
                <a:gd name="T31" fmla="*/ 2147483647 h 81"/>
                <a:gd name="T32" fmla="*/ 2147483647 w 60"/>
                <a:gd name="T33" fmla="*/ 2147483647 h 81"/>
                <a:gd name="T34" fmla="*/ 2147483647 w 60"/>
                <a:gd name="T35" fmla="*/ 2147483647 h 81"/>
                <a:gd name="T36" fmla="*/ 2147483647 w 60"/>
                <a:gd name="T37" fmla="*/ 2147483647 h 81"/>
                <a:gd name="T38" fmla="*/ 0 w 60"/>
                <a:gd name="T39" fmla="*/ 2147483647 h 81"/>
                <a:gd name="T40" fmla="*/ 2147483647 w 60"/>
                <a:gd name="T41" fmla="*/ 2147483647 h 81"/>
                <a:gd name="T42" fmla="*/ 2147483647 w 60"/>
                <a:gd name="T43" fmla="*/ 2147483647 h 81"/>
                <a:gd name="T44" fmla="*/ 2147483647 w 60"/>
                <a:gd name="T45" fmla="*/ 0 h 81"/>
                <a:gd name="T46" fmla="*/ 2147483647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60"/>
                <a:gd name="T73" fmla="*/ 0 h 81"/>
                <a:gd name="T74" fmla="*/ 60 w 60"/>
                <a:gd name="T75" fmla="*/ 81 h 8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02" name="Freeform 469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4435475" y="1844675"/>
              <a:ext cx="161925" cy="66675"/>
            </a:xfrm>
            <a:custGeom>
              <a:avLst/>
              <a:gdLst>
                <a:gd name="T0" fmla="*/ 2147483647 w 370"/>
                <a:gd name="T1" fmla="*/ 2147483647 h 129"/>
                <a:gd name="T2" fmla="*/ 2147483647 w 370"/>
                <a:gd name="T3" fmla="*/ 2147483647 h 129"/>
                <a:gd name="T4" fmla="*/ 2147483647 w 370"/>
                <a:gd name="T5" fmla="*/ 2147483647 h 129"/>
                <a:gd name="T6" fmla="*/ 2147483647 w 370"/>
                <a:gd name="T7" fmla="*/ 2147483647 h 129"/>
                <a:gd name="T8" fmla="*/ 2147483647 w 370"/>
                <a:gd name="T9" fmla="*/ 2147483647 h 129"/>
                <a:gd name="T10" fmla="*/ 2147483647 w 370"/>
                <a:gd name="T11" fmla="*/ 2147483647 h 129"/>
                <a:gd name="T12" fmla="*/ 2147483647 w 370"/>
                <a:gd name="T13" fmla="*/ 2147483647 h 129"/>
                <a:gd name="T14" fmla="*/ 2147483647 w 370"/>
                <a:gd name="T15" fmla="*/ 2147483647 h 129"/>
                <a:gd name="T16" fmla="*/ 2147483647 w 370"/>
                <a:gd name="T17" fmla="*/ 2147483647 h 129"/>
                <a:gd name="T18" fmla="*/ 2147483647 w 370"/>
                <a:gd name="T19" fmla="*/ 2147483647 h 129"/>
                <a:gd name="T20" fmla="*/ 2147483647 w 370"/>
                <a:gd name="T21" fmla="*/ 2147483647 h 129"/>
                <a:gd name="T22" fmla="*/ 2147483647 w 370"/>
                <a:gd name="T23" fmla="*/ 2147483647 h 129"/>
                <a:gd name="T24" fmla="*/ 2147483647 w 370"/>
                <a:gd name="T25" fmla="*/ 2147483647 h 129"/>
                <a:gd name="T26" fmla="*/ 2147483647 w 370"/>
                <a:gd name="T27" fmla="*/ 0 h 129"/>
                <a:gd name="T28" fmla="*/ 2147483647 w 370"/>
                <a:gd name="T29" fmla="*/ 0 h 129"/>
                <a:gd name="T30" fmla="*/ 2147483647 w 370"/>
                <a:gd name="T31" fmla="*/ 2147483647 h 129"/>
                <a:gd name="T32" fmla="*/ 2147483647 w 370"/>
                <a:gd name="T33" fmla="*/ 2147483647 h 129"/>
                <a:gd name="T34" fmla="*/ 2147483647 w 370"/>
                <a:gd name="T35" fmla="*/ 2147483647 h 129"/>
                <a:gd name="T36" fmla="*/ 2147483647 w 370"/>
                <a:gd name="T37" fmla="*/ 2147483647 h 129"/>
                <a:gd name="T38" fmla="*/ 2147483647 w 370"/>
                <a:gd name="T39" fmla="*/ 2147483647 h 129"/>
                <a:gd name="T40" fmla="*/ 2147483647 w 370"/>
                <a:gd name="T41" fmla="*/ 2147483647 h 129"/>
                <a:gd name="T42" fmla="*/ 2147483647 w 370"/>
                <a:gd name="T43" fmla="*/ 2147483647 h 129"/>
                <a:gd name="T44" fmla="*/ 2147483647 w 370"/>
                <a:gd name="T45" fmla="*/ 2147483647 h 129"/>
                <a:gd name="T46" fmla="*/ 2147483647 w 370"/>
                <a:gd name="T47" fmla="*/ 2147483647 h 129"/>
                <a:gd name="T48" fmla="*/ 2147483647 w 370"/>
                <a:gd name="T49" fmla="*/ 2147483647 h 129"/>
                <a:gd name="T50" fmla="*/ 2147483647 w 370"/>
                <a:gd name="T51" fmla="*/ 2147483647 h 129"/>
                <a:gd name="T52" fmla="*/ 2147483647 w 370"/>
                <a:gd name="T53" fmla="*/ 2147483647 h 129"/>
                <a:gd name="T54" fmla="*/ 2147483647 w 370"/>
                <a:gd name="T55" fmla="*/ 2147483647 h 129"/>
                <a:gd name="T56" fmla="*/ 2147483647 w 370"/>
                <a:gd name="T57" fmla="*/ 2147483647 h 129"/>
                <a:gd name="T58" fmla="*/ 2147483647 w 370"/>
                <a:gd name="T59" fmla="*/ 2147483647 h 129"/>
                <a:gd name="T60" fmla="*/ 2147483647 w 370"/>
                <a:gd name="T61" fmla="*/ 2147483647 h 129"/>
                <a:gd name="T62" fmla="*/ 2147483647 w 370"/>
                <a:gd name="T63" fmla="*/ 2147483647 h 129"/>
                <a:gd name="T64" fmla="*/ 2147483647 w 370"/>
                <a:gd name="T65" fmla="*/ 2147483647 h 129"/>
                <a:gd name="T66" fmla="*/ 2147483647 w 370"/>
                <a:gd name="T67" fmla="*/ 2147483647 h 129"/>
                <a:gd name="T68" fmla="*/ 2147483647 w 370"/>
                <a:gd name="T69" fmla="*/ 2147483647 h 129"/>
                <a:gd name="T70" fmla="*/ 2147483647 w 370"/>
                <a:gd name="T71" fmla="*/ 2147483647 h 129"/>
                <a:gd name="T72" fmla="*/ 2147483647 w 370"/>
                <a:gd name="T73" fmla="*/ 2147483647 h 129"/>
                <a:gd name="T74" fmla="*/ 2147483647 w 370"/>
                <a:gd name="T75" fmla="*/ 2147483647 h 129"/>
                <a:gd name="T76" fmla="*/ 0 w 370"/>
                <a:gd name="T77" fmla="*/ 2147483647 h 129"/>
                <a:gd name="T78" fmla="*/ 0 w 370"/>
                <a:gd name="T79" fmla="*/ 2147483647 h 129"/>
                <a:gd name="T80" fmla="*/ 2147483647 w 370"/>
                <a:gd name="T81" fmla="*/ 2147483647 h 129"/>
                <a:gd name="T82" fmla="*/ 2147483647 w 370"/>
                <a:gd name="T83" fmla="*/ 2147483647 h 129"/>
                <a:gd name="T84" fmla="*/ 2147483647 w 370"/>
                <a:gd name="T85" fmla="*/ 2147483647 h 129"/>
                <a:gd name="T86" fmla="*/ 2147483647 w 370"/>
                <a:gd name="T87" fmla="*/ 2147483647 h 129"/>
                <a:gd name="T88" fmla="*/ 2147483647 w 370"/>
                <a:gd name="T89" fmla="*/ 2147483647 h 129"/>
                <a:gd name="T90" fmla="*/ 2147483647 w 370"/>
                <a:gd name="T91" fmla="*/ 2147483647 h 129"/>
                <a:gd name="T92" fmla="*/ 2147483647 w 370"/>
                <a:gd name="T93" fmla="*/ 2147483647 h 129"/>
                <a:gd name="T94" fmla="*/ 2147483647 w 370"/>
                <a:gd name="T95" fmla="*/ 2147483647 h 129"/>
                <a:gd name="T96" fmla="*/ 2147483647 w 370"/>
                <a:gd name="T97" fmla="*/ 2147483647 h 129"/>
                <a:gd name="T98" fmla="*/ 2147483647 w 370"/>
                <a:gd name="T99" fmla="*/ 2147483647 h 129"/>
                <a:gd name="T100" fmla="*/ 2147483647 w 370"/>
                <a:gd name="T101" fmla="*/ 2147483647 h 129"/>
                <a:gd name="T102" fmla="*/ 2147483647 w 370"/>
                <a:gd name="T103" fmla="*/ 2147483647 h 129"/>
                <a:gd name="T104" fmla="*/ 2147483647 w 370"/>
                <a:gd name="T105" fmla="*/ 2147483647 h 129"/>
                <a:gd name="T106" fmla="*/ 2147483647 w 370"/>
                <a:gd name="T107" fmla="*/ 2147483647 h 129"/>
                <a:gd name="T108" fmla="*/ 2147483647 w 370"/>
                <a:gd name="T109" fmla="*/ 2147483647 h 129"/>
                <a:gd name="T110" fmla="*/ 2147483647 w 370"/>
                <a:gd name="T111" fmla="*/ 2147483647 h 129"/>
                <a:gd name="T112" fmla="*/ 2147483647 w 370"/>
                <a:gd name="T113" fmla="*/ 2147483647 h 129"/>
                <a:gd name="T114" fmla="*/ 2147483647 w 370"/>
                <a:gd name="T115" fmla="*/ 2147483647 h 129"/>
                <a:gd name="T116" fmla="*/ 2147483647 w 370"/>
                <a:gd name="T117" fmla="*/ 2147483647 h 129"/>
                <a:gd name="T118" fmla="*/ 2147483647 w 370"/>
                <a:gd name="T119" fmla="*/ 2147483647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70"/>
                <a:gd name="T181" fmla="*/ 0 h 129"/>
                <a:gd name="T182" fmla="*/ 370 w 370"/>
                <a:gd name="T183" fmla="*/ 129 h 12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03" name="Freeform 470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4846638" y="2565400"/>
              <a:ext cx="30162" cy="57150"/>
            </a:xfrm>
            <a:custGeom>
              <a:avLst/>
              <a:gdLst>
                <a:gd name="T0" fmla="*/ 2147483647 w 80"/>
                <a:gd name="T1" fmla="*/ 2147483647 h 94"/>
                <a:gd name="T2" fmla="*/ 2147483647 w 80"/>
                <a:gd name="T3" fmla="*/ 0 h 94"/>
                <a:gd name="T4" fmla="*/ 2147483647 w 80"/>
                <a:gd name="T5" fmla="*/ 0 h 94"/>
                <a:gd name="T6" fmla="*/ 2147483647 w 80"/>
                <a:gd name="T7" fmla="*/ 2147483647 h 94"/>
                <a:gd name="T8" fmla="*/ 2147483647 w 80"/>
                <a:gd name="T9" fmla="*/ 2147483647 h 94"/>
                <a:gd name="T10" fmla="*/ 2147483647 w 80"/>
                <a:gd name="T11" fmla="*/ 2147483647 h 94"/>
                <a:gd name="T12" fmla="*/ 2147483647 w 80"/>
                <a:gd name="T13" fmla="*/ 2147483647 h 94"/>
                <a:gd name="T14" fmla="*/ 2147483647 w 80"/>
                <a:gd name="T15" fmla="*/ 2147483647 h 94"/>
                <a:gd name="T16" fmla="*/ 2147483647 w 80"/>
                <a:gd name="T17" fmla="*/ 2147483647 h 94"/>
                <a:gd name="T18" fmla="*/ 2147483647 w 80"/>
                <a:gd name="T19" fmla="*/ 2147483647 h 94"/>
                <a:gd name="T20" fmla="*/ 2147483647 w 80"/>
                <a:gd name="T21" fmla="*/ 2147483647 h 94"/>
                <a:gd name="T22" fmla="*/ 2147483647 w 80"/>
                <a:gd name="T23" fmla="*/ 2147483647 h 94"/>
                <a:gd name="T24" fmla="*/ 2147483647 w 80"/>
                <a:gd name="T25" fmla="*/ 2147483647 h 94"/>
                <a:gd name="T26" fmla="*/ 2147483647 w 80"/>
                <a:gd name="T27" fmla="*/ 2147483647 h 94"/>
                <a:gd name="T28" fmla="*/ 2147483647 w 80"/>
                <a:gd name="T29" fmla="*/ 2147483647 h 94"/>
                <a:gd name="T30" fmla="*/ 2147483647 w 80"/>
                <a:gd name="T31" fmla="*/ 2147483647 h 94"/>
                <a:gd name="T32" fmla="*/ 2147483647 w 80"/>
                <a:gd name="T33" fmla="*/ 2147483647 h 94"/>
                <a:gd name="T34" fmla="*/ 2147483647 w 80"/>
                <a:gd name="T35" fmla="*/ 2147483647 h 94"/>
                <a:gd name="T36" fmla="*/ 2147483647 w 80"/>
                <a:gd name="T37" fmla="*/ 2147483647 h 94"/>
                <a:gd name="T38" fmla="*/ 2147483647 w 80"/>
                <a:gd name="T39" fmla="*/ 2147483647 h 94"/>
                <a:gd name="T40" fmla="*/ 2147483647 w 80"/>
                <a:gd name="T41" fmla="*/ 2147483647 h 94"/>
                <a:gd name="T42" fmla="*/ 2147483647 w 80"/>
                <a:gd name="T43" fmla="*/ 2147483647 h 94"/>
                <a:gd name="T44" fmla="*/ 2147483647 w 80"/>
                <a:gd name="T45" fmla="*/ 2147483647 h 94"/>
                <a:gd name="T46" fmla="*/ 2147483647 w 80"/>
                <a:gd name="T47" fmla="*/ 2147483647 h 94"/>
                <a:gd name="T48" fmla="*/ 2147483647 w 80"/>
                <a:gd name="T49" fmla="*/ 2147483647 h 94"/>
                <a:gd name="T50" fmla="*/ 0 w 80"/>
                <a:gd name="T51" fmla="*/ 2147483647 h 94"/>
                <a:gd name="T52" fmla="*/ 2147483647 w 80"/>
                <a:gd name="T53" fmla="*/ 2147483647 h 94"/>
                <a:gd name="T54" fmla="*/ 2147483647 w 80"/>
                <a:gd name="T55" fmla="*/ 2147483647 h 94"/>
                <a:gd name="T56" fmla="*/ 2147483647 w 80"/>
                <a:gd name="T57" fmla="*/ 2147483647 h 94"/>
                <a:gd name="T58" fmla="*/ 2147483647 w 80"/>
                <a:gd name="T59" fmla="*/ 2147483647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80"/>
                <a:gd name="T91" fmla="*/ 0 h 94"/>
                <a:gd name="T92" fmla="*/ 80 w 80"/>
                <a:gd name="T93" fmla="*/ 94 h 9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04" name="Freeform 471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4662488" y="4576763"/>
              <a:ext cx="61912" cy="57150"/>
            </a:xfrm>
            <a:custGeom>
              <a:avLst/>
              <a:gdLst>
                <a:gd name="T0" fmla="*/ 2147483647 w 135"/>
                <a:gd name="T1" fmla="*/ 2147483647 h 98"/>
                <a:gd name="T2" fmla="*/ 2147483647 w 135"/>
                <a:gd name="T3" fmla="*/ 2147483647 h 98"/>
                <a:gd name="T4" fmla="*/ 2147483647 w 135"/>
                <a:gd name="T5" fmla="*/ 2147483647 h 98"/>
                <a:gd name="T6" fmla="*/ 2147483647 w 135"/>
                <a:gd name="T7" fmla="*/ 2147483647 h 98"/>
                <a:gd name="T8" fmla="*/ 2147483647 w 135"/>
                <a:gd name="T9" fmla="*/ 2147483647 h 98"/>
                <a:gd name="T10" fmla="*/ 2147483647 w 135"/>
                <a:gd name="T11" fmla="*/ 2147483647 h 98"/>
                <a:gd name="T12" fmla="*/ 2147483647 w 135"/>
                <a:gd name="T13" fmla="*/ 2147483647 h 98"/>
                <a:gd name="T14" fmla="*/ 2147483647 w 135"/>
                <a:gd name="T15" fmla="*/ 2147483647 h 98"/>
                <a:gd name="T16" fmla="*/ 2147483647 w 135"/>
                <a:gd name="T17" fmla="*/ 2147483647 h 98"/>
                <a:gd name="T18" fmla="*/ 2147483647 w 135"/>
                <a:gd name="T19" fmla="*/ 2147483647 h 98"/>
                <a:gd name="T20" fmla="*/ 2147483647 w 135"/>
                <a:gd name="T21" fmla="*/ 2147483647 h 98"/>
                <a:gd name="T22" fmla="*/ 2147483647 w 135"/>
                <a:gd name="T23" fmla="*/ 0 h 98"/>
                <a:gd name="T24" fmla="*/ 2147483647 w 135"/>
                <a:gd name="T25" fmla="*/ 0 h 98"/>
                <a:gd name="T26" fmla="*/ 2147483647 w 135"/>
                <a:gd name="T27" fmla="*/ 0 h 98"/>
                <a:gd name="T28" fmla="*/ 2147483647 w 135"/>
                <a:gd name="T29" fmla="*/ 2147483647 h 98"/>
                <a:gd name="T30" fmla="*/ 2147483647 w 135"/>
                <a:gd name="T31" fmla="*/ 2147483647 h 98"/>
                <a:gd name="T32" fmla="*/ 2147483647 w 135"/>
                <a:gd name="T33" fmla="*/ 2147483647 h 98"/>
                <a:gd name="T34" fmla="*/ 2147483647 w 135"/>
                <a:gd name="T35" fmla="*/ 2147483647 h 98"/>
                <a:gd name="T36" fmla="*/ 2147483647 w 135"/>
                <a:gd name="T37" fmla="*/ 2147483647 h 98"/>
                <a:gd name="T38" fmla="*/ 2147483647 w 135"/>
                <a:gd name="T39" fmla="*/ 2147483647 h 98"/>
                <a:gd name="T40" fmla="*/ 2147483647 w 135"/>
                <a:gd name="T41" fmla="*/ 2147483647 h 98"/>
                <a:gd name="T42" fmla="*/ 2147483647 w 135"/>
                <a:gd name="T43" fmla="*/ 2147483647 h 98"/>
                <a:gd name="T44" fmla="*/ 2147483647 w 135"/>
                <a:gd name="T45" fmla="*/ 2147483647 h 98"/>
                <a:gd name="T46" fmla="*/ 2147483647 w 135"/>
                <a:gd name="T47" fmla="*/ 2147483647 h 98"/>
                <a:gd name="T48" fmla="*/ 2147483647 w 135"/>
                <a:gd name="T49" fmla="*/ 2147483647 h 98"/>
                <a:gd name="T50" fmla="*/ 2147483647 w 135"/>
                <a:gd name="T51" fmla="*/ 2147483647 h 98"/>
                <a:gd name="T52" fmla="*/ 2147483647 w 135"/>
                <a:gd name="T53" fmla="*/ 2147483647 h 98"/>
                <a:gd name="T54" fmla="*/ 2147483647 w 135"/>
                <a:gd name="T55" fmla="*/ 2147483647 h 98"/>
                <a:gd name="T56" fmla="*/ 2147483647 w 135"/>
                <a:gd name="T57" fmla="*/ 2147483647 h 98"/>
                <a:gd name="T58" fmla="*/ 2147483647 w 135"/>
                <a:gd name="T59" fmla="*/ 2147483647 h 98"/>
                <a:gd name="T60" fmla="*/ 2147483647 w 135"/>
                <a:gd name="T61" fmla="*/ 2147483647 h 98"/>
                <a:gd name="T62" fmla="*/ 2147483647 w 135"/>
                <a:gd name="T63" fmla="*/ 2147483647 h 98"/>
                <a:gd name="T64" fmla="*/ 2147483647 w 135"/>
                <a:gd name="T65" fmla="*/ 2147483647 h 98"/>
                <a:gd name="T66" fmla="*/ 2147483647 w 135"/>
                <a:gd name="T67" fmla="*/ 2147483647 h 98"/>
                <a:gd name="T68" fmla="*/ 2147483647 w 135"/>
                <a:gd name="T69" fmla="*/ 2147483647 h 98"/>
                <a:gd name="T70" fmla="*/ 2147483647 w 135"/>
                <a:gd name="T71" fmla="*/ 2147483647 h 98"/>
                <a:gd name="T72" fmla="*/ 2147483647 w 135"/>
                <a:gd name="T73" fmla="*/ 2147483647 h 98"/>
                <a:gd name="T74" fmla="*/ 2147483647 w 135"/>
                <a:gd name="T75" fmla="*/ 2147483647 h 98"/>
                <a:gd name="T76" fmla="*/ 0 w 135"/>
                <a:gd name="T77" fmla="*/ 2147483647 h 98"/>
                <a:gd name="T78" fmla="*/ 0 w 135"/>
                <a:gd name="T79" fmla="*/ 2147483647 h 98"/>
                <a:gd name="T80" fmla="*/ 2147483647 w 135"/>
                <a:gd name="T81" fmla="*/ 2147483647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35"/>
                <a:gd name="T124" fmla="*/ 0 h 98"/>
                <a:gd name="T125" fmla="*/ 135 w 135"/>
                <a:gd name="T126" fmla="*/ 98 h 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05" name="Freeform 472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4433888" y="1892300"/>
              <a:ext cx="131762" cy="84138"/>
            </a:xfrm>
            <a:custGeom>
              <a:avLst/>
              <a:gdLst>
                <a:gd name="T0" fmla="*/ 2147483647 w 312"/>
                <a:gd name="T1" fmla="*/ 2147483647 h 155"/>
                <a:gd name="T2" fmla="*/ 2147483647 w 312"/>
                <a:gd name="T3" fmla="*/ 2147483647 h 155"/>
                <a:gd name="T4" fmla="*/ 2147483647 w 312"/>
                <a:gd name="T5" fmla="*/ 2147483647 h 155"/>
                <a:gd name="T6" fmla="*/ 2147483647 w 312"/>
                <a:gd name="T7" fmla="*/ 2147483647 h 155"/>
                <a:gd name="T8" fmla="*/ 2147483647 w 312"/>
                <a:gd name="T9" fmla="*/ 2147483647 h 155"/>
                <a:gd name="T10" fmla="*/ 2147483647 w 312"/>
                <a:gd name="T11" fmla="*/ 2147483647 h 155"/>
                <a:gd name="T12" fmla="*/ 2147483647 w 312"/>
                <a:gd name="T13" fmla="*/ 2147483647 h 155"/>
                <a:gd name="T14" fmla="*/ 2147483647 w 312"/>
                <a:gd name="T15" fmla="*/ 2147483647 h 155"/>
                <a:gd name="T16" fmla="*/ 2147483647 w 312"/>
                <a:gd name="T17" fmla="*/ 2147483647 h 155"/>
                <a:gd name="T18" fmla="*/ 2147483647 w 312"/>
                <a:gd name="T19" fmla="*/ 2147483647 h 155"/>
                <a:gd name="T20" fmla="*/ 2147483647 w 312"/>
                <a:gd name="T21" fmla="*/ 2147483647 h 155"/>
                <a:gd name="T22" fmla="*/ 2147483647 w 312"/>
                <a:gd name="T23" fmla="*/ 2147483647 h 155"/>
                <a:gd name="T24" fmla="*/ 2147483647 w 312"/>
                <a:gd name="T25" fmla="*/ 2147483647 h 155"/>
                <a:gd name="T26" fmla="*/ 2147483647 w 312"/>
                <a:gd name="T27" fmla="*/ 2147483647 h 155"/>
                <a:gd name="T28" fmla="*/ 2147483647 w 312"/>
                <a:gd name="T29" fmla="*/ 2147483647 h 155"/>
                <a:gd name="T30" fmla="*/ 2147483647 w 312"/>
                <a:gd name="T31" fmla="*/ 2147483647 h 155"/>
                <a:gd name="T32" fmla="*/ 2147483647 w 312"/>
                <a:gd name="T33" fmla="*/ 2147483647 h 155"/>
                <a:gd name="T34" fmla="*/ 2147483647 w 312"/>
                <a:gd name="T35" fmla="*/ 2147483647 h 155"/>
                <a:gd name="T36" fmla="*/ 2147483647 w 312"/>
                <a:gd name="T37" fmla="*/ 2147483647 h 155"/>
                <a:gd name="T38" fmla="*/ 2147483647 w 312"/>
                <a:gd name="T39" fmla="*/ 2147483647 h 155"/>
                <a:gd name="T40" fmla="*/ 2147483647 w 312"/>
                <a:gd name="T41" fmla="*/ 2147483647 h 155"/>
                <a:gd name="T42" fmla="*/ 2147483647 w 312"/>
                <a:gd name="T43" fmla="*/ 2147483647 h 155"/>
                <a:gd name="T44" fmla="*/ 2147483647 w 312"/>
                <a:gd name="T45" fmla="*/ 2147483647 h 155"/>
                <a:gd name="T46" fmla="*/ 2147483647 w 312"/>
                <a:gd name="T47" fmla="*/ 2147483647 h 155"/>
                <a:gd name="T48" fmla="*/ 2147483647 w 312"/>
                <a:gd name="T49" fmla="*/ 2147483647 h 155"/>
                <a:gd name="T50" fmla="*/ 2147483647 w 312"/>
                <a:gd name="T51" fmla="*/ 2147483647 h 155"/>
                <a:gd name="T52" fmla="*/ 2147483647 w 312"/>
                <a:gd name="T53" fmla="*/ 2147483647 h 155"/>
                <a:gd name="T54" fmla="*/ 2147483647 w 312"/>
                <a:gd name="T55" fmla="*/ 2147483647 h 155"/>
                <a:gd name="T56" fmla="*/ 2147483647 w 312"/>
                <a:gd name="T57" fmla="*/ 2147483647 h 155"/>
                <a:gd name="T58" fmla="*/ 2147483647 w 312"/>
                <a:gd name="T59" fmla="*/ 2147483647 h 155"/>
                <a:gd name="T60" fmla="*/ 2147483647 w 312"/>
                <a:gd name="T61" fmla="*/ 2147483647 h 155"/>
                <a:gd name="T62" fmla="*/ 2147483647 w 312"/>
                <a:gd name="T63" fmla="*/ 2147483647 h 155"/>
                <a:gd name="T64" fmla="*/ 2147483647 w 312"/>
                <a:gd name="T65" fmla="*/ 2147483647 h 155"/>
                <a:gd name="T66" fmla="*/ 2147483647 w 312"/>
                <a:gd name="T67" fmla="*/ 2147483647 h 155"/>
                <a:gd name="T68" fmla="*/ 2147483647 w 312"/>
                <a:gd name="T69" fmla="*/ 2147483647 h 155"/>
                <a:gd name="T70" fmla="*/ 2147483647 w 312"/>
                <a:gd name="T71" fmla="*/ 0 h 155"/>
                <a:gd name="T72" fmla="*/ 2147483647 w 312"/>
                <a:gd name="T73" fmla="*/ 2147483647 h 155"/>
                <a:gd name="T74" fmla="*/ 2147483647 w 312"/>
                <a:gd name="T75" fmla="*/ 2147483647 h 155"/>
                <a:gd name="T76" fmla="*/ 2147483647 w 312"/>
                <a:gd name="T77" fmla="*/ 2147483647 h 155"/>
                <a:gd name="T78" fmla="*/ 2147483647 w 312"/>
                <a:gd name="T79" fmla="*/ 2147483647 h 155"/>
                <a:gd name="T80" fmla="*/ 2147483647 w 312"/>
                <a:gd name="T81" fmla="*/ 2147483647 h 155"/>
                <a:gd name="T82" fmla="*/ 2147483647 w 312"/>
                <a:gd name="T83" fmla="*/ 2147483647 h 155"/>
                <a:gd name="T84" fmla="*/ 2147483647 w 312"/>
                <a:gd name="T85" fmla="*/ 2147483647 h 155"/>
                <a:gd name="T86" fmla="*/ 2147483647 w 312"/>
                <a:gd name="T87" fmla="*/ 2147483647 h 155"/>
                <a:gd name="T88" fmla="*/ 2147483647 w 312"/>
                <a:gd name="T89" fmla="*/ 2147483647 h 155"/>
                <a:gd name="T90" fmla="*/ 2147483647 w 312"/>
                <a:gd name="T91" fmla="*/ 2147483647 h 155"/>
                <a:gd name="T92" fmla="*/ 2147483647 w 312"/>
                <a:gd name="T93" fmla="*/ 2147483647 h 155"/>
                <a:gd name="T94" fmla="*/ 2147483647 w 312"/>
                <a:gd name="T95" fmla="*/ 2147483647 h 155"/>
                <a:gd name="T96" fmla="*/ 2147483647 w 312"/>
                <a:gd name="T97" fmla="*/ 2147483647 h 155"/>
                <a:gd name="T98" fmla="*/ 2147483647 w 312"/>
                <a:gd name="T99" fmla="*/ 2147483647 h 155"/>
                <a:gd name="T100" fmla="*/ 2147483647 w 312"/>
                <a:gd name="T101" fmla="*/ 2147483647 h 155"/>
                <a:gd name="T102" fmla="*/ 2147483647 w 312"/>
                <a:gd name="T103" fmla="*/ 2147483647 h 155"/>
                <a:gd name="T104" fmla="*/ 2147483647 w 312"/>
                <a:gd name="T105" fmla="*/ 2147483647 h 155"/>
                <a:gd name="T106" fmla="*/ 2147483647 w 312"/>
                <a:gd name="T107" fmla="*/ 2147483647 h 155"/>
                <a:gd name="T108" fmla="*/ 2147483647 w 312"/>
                <a:gd name="T109" fmla="*/ 2147483647 h 155"/>
                <a:gd name="T110" fmla="*/ 2147483647 w 312"/>
                <a:gd name="T111" fmla="*/ 2147483647 h 155"/>
                <a:gd name="T112" fmla="*/ 2147483647 w 312"/>
                <a:gd name="T113" fmla="*/ 2147483647 h 155"/>
                <a:gd name="T114" fmla="*/ 0 w 312"/>
                <a:gd name="T115" fmla="*/ 2147483647 h 155"/>
                <a:gd name="T116" fmla="*/ 2147483647 w 312"/>
                <a:gd name="T117" fmla="*/ 2147483647 h 155"/>
                <a:gd name="T118" fmla="*/ 2147483647 w 312"/>
                <a:gd name="T119" fmla="*/ 2147483647 h 155"/>
                <a:gd name="T120" fmla="*/ 2147483647 w 312"/>
                <a:gd name="T121" fmla="*/ 2147483647 h 155"/>
                <a:gd name="T122" fmla="*/ 2147483647 w 312"/>
                <a:gd name="T123" fmla="*/ 2147483647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12"/>
                <a:gd name="T187" fmla="*/ 0 h 155"/>
                <a:gd name="T188" fmla="*/ 312 w 312"/>
                <a:gd name="T189" fmla="*/ 155 h 15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06" name="Freeform 473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4140200" y="2078038"/>
              <a:ext cx="19050" cy="60325"/>
            </a:xfrm>
            <a:custGeom>
              <a:avLst/>
              <a:gdLst>
                <a:gd name="T0" fmla="*/ 0 w 46"/>
                <a:gd name="T1" fmla="*/ 2147483647 h 50"/>
                <a:gd name="T2" fmla="*/ 2147483647 w 46"/>
                <a:gd name="T3" fmla="*/ 2147483647 h 50"/>
                <a:gd name="T4" fmla="*/ 2147483647 w 46"/>
                <a:gd name="T5" fmla="*/ 2147483647 h 50"/>
                <a:gd name="T6" fmla="*/ 2147483647 w 46"/>
                <a:gd name="T7" fmla="*/ 2147483647 h 50"/>
                <a:gd name="T8" fmla="*/ 2147483647 w 46"/>
                <a:gd name="T9" fmla="*/ 2147483647 h 50"/>
                <a:gd name="T10" fmla="*/ 2147483647 w 46"/>
                <a:gd name="T11" fmla="*/ 2147483647 h 50"/>
                <a:gd name="T12" fmla="*/ 2147483647 w 46"/>
                <a:gd name="T13" fmla="*/ 2147483647 h 50"/>
                <a:gd name="T14" fmla="*/ 2147483647 w 46"/>
                <a:gd name="T15" fmla="*/ 0 h 50"/>
                <a:gd name="T16" fmla="*/ 2147483647 w 46"/>
                <a:gd name="T17" fmla="*/ 2147483647 h 50"/>
                <a:gd name="T18" fmla="*/ 2147483647 w 46"/>
                <a:gd name="T19" fmla="*/ 2147483647 h 50"/>
                <a:gd name="T20" fmla="*/ 2147483647 w 46"/>
                <a:gd name="T21" fmla="*/ 2147483647 h 50"/>
                <a:gd name="T22" fmla="*/ 2147483647 w 46"/>
                <a:gd name="T23" fmla="*/ 2147483647 h 50"/>
                <a:gd name="T24" fmla="*/ 2147483647 w 46"/>
                <a:gd name="T25" fmla="*/ 2147483647 h 50"/>
                <a:gd name="T26" fmla="*/ 2147483647 w 46"/>
                <a:gd name="T27" fmla="*/ 2147483647 h 50"/>
                <a:gd name="T28" fmla="*/ 0 w 46"/>
                <a:gd name="T29" fmla="*/ 2147483647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6"/>
                <a:gd name="T46" fmla="*/ 0 h 50"/>
                <a:gd name="T47" fmla="*/ 46 w 46"/>
                <a:gd name="T48" fmla="*/ 50 h 5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07" name="Freeform 474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4837113" y="3962400"/>
              <a:ext cx="69850" cy="241300"/>
            </a:xfrm>
            <a:custGeom>
              <a:avLst/>
              <a:gdLst>
                <a:gd name="T0" fmla="*/ 2147483647 w 166"/>
                <a:gd name="T1" fmla="*/ 2147483647 h 456"/>
                <a:gd name="T2" fmla="*/ 2147483647 w 166"/>
                <a:gd name="T3" fmla="*/ 2147483647 h 456"/>
                <a:gd name="T4" fmla="*/ 2147483647 w 166"/>
                <a:gd name="T5" fmla="*/ 2147483647 h 456"/>
                <a:gd name="T6" fmla="*/ 2147483647 w 166"/>
                <a:gd name="T7" fmla="*/ 2147483647 h 456"/>
                <a:gd name="T8" fmla="*/ 2147483647 w 166"/>
                <a:gd name="T9" fmla="*/ 2147483647 h 456"/>
                <a:gd name="T10" fmla="*/ 2147483647 w 166"/>
                <a:gd name="T11" fmla="*/ 2147483647 h 456"/>
                <a:gd name="T12" fmla="*/ 2147483647 w 166"/>
                <a:gd name="T13" fmla="*/ 2147483647 h 456"/>
                <a:gd name="T14" fmla="*/ 2147483647 w 166"/>
                <a:gd name="T15" fmla="*/ 2147483647 h 456"/>
                <a:gd name="T16" fmla="*/ 2147483647 w 166"/>
                <a:gd name="T17" fmla="*/ 2147483647 h 456"/>
                <a:gd name="T18" fmla="*/ 2147483647 w 166"/>
                <a:gd name="T19" fmla="*/ 2147483647 h 456"/>
                <a:gd name="T20" fmla="*/ 2147483647 w 166"/>
                <a:gd name="T21" fmla="*/ 2147483647 h 456"/>
                <a:gd name="T22" fmla="*/ 2147483647 w 166"/>
                <a:gd name="T23" fmla="*/ 2147483647 h 456"/>
                <a:gd name="T24" fmla="*/ 2147483647 w 166"/>
                <a:gd name="T25" fmla="*/ 2147483647 h 456"/>
                <a:gd name="T26" fmla="*/ 2147483647 w 166"/>
                <a:gd name="T27" fmla="*/ 2147483647 h 456"/>
                <a:gd name="T28" fmla="*/ 2147483647 w 166"/>
                <a:gd name="T29" fmla="*/ 2147483647 h 456"/>
                <a:gd name="T30" fmla="*/ 2147483647 w 166"/>
                <a:gd name="T31" fmla="*/ 2147483647 h 456"/>
                <a:gd name="T32" fmla="*/ 2147483647 w 166"/>
                <a:gd name="T33" fmla="*/ 2147483647 h 456"/>
                <a:gd name="T34" fmla="*/ 2147483647 w 166"/>
                <a:gd name="T35" fmla="*/ 2147483647 h 456"/>
                <a:gd name="T36" fmla="*/ 2147483647 w 166"/>
                <a:gd name="T37" fmla="*/ 2147483647 h 456"/>
                <a:gd name="T38" fmla="*/ 2147483647 w 166"/>
                <a:gd name="T39" fmla="*/ 2147483647 h 456"/>
                <a:gd name="T40" fmla="*/ 2147483647 w 166"/>
                <a:gd name="T41" fmla="*/ 2147483647 h 456"/>
                <a:gd name="T42" fmla="*/ 2147483647 w 166"/>
                <a:gd name="T43" fmla="*/ 2147483647 h 456"/>
                <a:gd name="T44" fmla="*/ 2147483647 w 166"/>
                <a:gd name="T45" fmla="*/ 2147483647 h 456"/>
                <a:gd name="T46" fmla="*/ 2147483647 w 166"/>
                <a:gd name="T47" fmla="*/ 2147483647 h 456"/>
                <a:gd name="T48" fmla="*/ 2147483647 w 166"/>
                <a:gd name="T49" fmla="*/ 2147483647 h 456"/>
                <a:gd name="T50" fmla="*/ 2147483647 w 166"/>
                <a:gd name="T51" fmla="*/ 2147483647 h 456"/>
                <a:gd name="T52" fmla="*/ 2147483647 w 166"/>
                <a:gd name="T53" fmla="*/ 2147483647 h 456"/>
                <a:gd name="T54" fmla="*/ 2147483647 w 166"/>
                <a:gd name="T55" fmla="*/ 2147483647 h 456"/>
                <a:gd name="T56" fmla="*/ 2147483647 w 166"/>
                <a:gd name="T57" fmla="*/ 2147483647 h 456"/>
                <a:gd name="T58" fmla="*/ 2147483647 w 166"/>
                <a:gd name="T59" fmla="*/ 2147483647 h 456"/>
                <a:gd name="T60" fmla="*/ 2147483647 w 166"/>
                <a:gd name="T61" fmla="*/ 2147483647 h 456"/>
                <a:gd name="T62" fmla="*/ 2147483647 w 166"/>
                <a:gd name="T63" fmla="*/ 2147483647 h 456"/>
                <a:gd name="T64" fmla="*/ 2147483647 w 166"/>
                <a:gd name="T65" fmla="*/ 2147483647 h 456"/>
                <a:gd name="T66" fmla="*/ 2147483647 w 166"/>
                <a:gd name="T67" fmla="*/ 2147483647 h 456"/>
                <a:gd name="T68" fmla="*/ 2147483647 w 166"/>
                <a:gd name="T69" fmla="*/ 2147483647 h 456"/>
                <a:gd name="T70" fmla="*/ 2147483647 w 166"/>
                <a:gd name="T71" fmla="*/ 2147483647 h 456"/>
                <a:gd name="T72" fmla="*/ 2147483647 w 166"/>
                <a:gd name="T73" fmla="*/ 2147483647 h 456"/>
                <a:gd name="T74" fmla="*/ 2147483647 w 166"/>
                <a:gd name="T75" fmla="*/ 2147483647 h 456"/>
                <a:gd name="T76" fmla="*/ 2147483647 w 166"/>
                <a:gd name="T77" fmla="*/ 2147483647 h 456"/>
                <a:gd name="T78" fmla="*/ 2147483647 w 166"/>
                <a:gd name="T79" fmla="*/ 2147483647 h 456"/>
                <a:gd name="T80" fmla="*/ 2147483647 w 166"/>
                <a:gd name="T81" fmla="*/ 2147483647 h 456"/>
                <a:gd name="T82" fmla="*/ 2147483647 w 166"/>
                <a:gd name="T83" fmla="*/ 2147483647 h 456"/>
                <a:gd name="T84" fmla="*/ 2147483647 w 166"/>
                <a:gd name="T85" fmla="*/ 2147483647 h 456"/>
                <a:gd name="T86" fmla="*/ 2147483647 w 166"/>
                <a:gd name="T87" fmla="*/ 2147483647 h 456"/>
                <a:gd name="T88" fmla="*/ 2147483647 w 166"/>
                <a:gd name="T89" fmla="*/ 2147483647 h 456"/>
                <a:gd name="T90" fmla="*/ 2147483647 w 166"/>
                <a:gd name="T91" fmla="*/ 2147483647 h 456"/>
                <a:gd name="T92" fmla="*/ 2147483647 w 166"/>
                <a:gd name="T93" fmla="*/ 2147483647 h 456"/>
                <a:gd name="T94" fmla="*/ 2147483647 w 166"/>
                <a:gd name="T95" fmla="*/ 2147483647 h 456"/>
                <a:gd name="T96" fmla="*/ 2147483647 w 166"/>
                <a:gd name="T97" fmla="*/ 2147483647 h 456"/>
                <a:gd name="T98" fmla="*/ 2147483647 w 166"/>
                <a:gd name="T99" fmla="*/ 2147483647 h 456"/>
                <a:gd name="T100" fmla="*/ 2147483647 w 166"/>
                <a:gd name="T101" fmla="*/ 2147483647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66"/>
                <a:gd name="T154" fmla="*/ 0 h 456"/>
                <a:gd name="T155" fmla="*/ 166 w 166"/>
                <a:gd name="T156" fmla="*/ 456 h 4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149C4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08" name="Freeform 475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4329113" y="2533650"/>
              <a:ext cx="14287" cy="57150"/>
            </a:xfrm>
            <a:custGeom>
              <a:avLst/>
              <a:gdLst>
                <a:gd name="T0" fmla="*/ 2147483647 w 27"/>
                <a:gd name="T1" fmla="*/ 0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2147483647 w 27"/>
                <a:gd name="T7" fmla="*/ 2147483647 h 19"/>
                <a:gd name="T8" fmla="*/ 0 w 27"/>
                <a:gd name="T9" fmla="*/ 2147483647 h 19"/>
                <a:gd name="T10" fmla="*/ 2147483647 w 27"/>
                <a:gd name="T11" fmla="*/ 2147483647 h 19"/>
                <a:gd name="T12" fmla="*/ 214748364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19"/>
                <a:gd name="T23" fmla="*/ 27 w 27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09" name="Freeform 476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4648200" y="4154488"/>
              <a:ext cx="188913" cy="217487"/>
            </a:xfrm>
            <a:custGeom>
              <a:avLst/>
              <a:gdLst>
                <a:gd name="T0" fmla="*/ 2147483647 w 438"/>
                <a:gd name="T1" fmla="*/ 2147483647 h 406"/>
                <a:gd name="T2" fmla="*/ 2147483647 w 438"/>
                <a:gd name="T3" fmla="*/ 2147483647 h 406"/>
                <a:gd name="T4" fmla="*/ 2147483647 w 438"/>
                <a:gd name="T5" fmla="*/ 2147483647 h 406"/>
                <a:gd name="T6" fmla="*/ 2147483647 w 438"/>
                <a:gd name="T7" fmla="*/ 2147483647 h 406"/>
                <a:gd name="T8" fmla="*/ 2147483647 w 438"/>
                <a:gd name="T9" fmla="*/ 2147483647 h 406"/>
                <a:gd name="T10" fmla="*/ 2147483647 w 438"/>
                <a:gd name="T11" fmla="*/ 2147483647 h 406"/>
                <a:gd name="T12" fmla="*/ 2147483647 w 438"/>
                <a:gd name="T13" fmla="*/ 2147483647 h 406"/>
                <a:gd name="T14" fmla="*/ 2147483647 w 438"/>
                <a:gd name="T15" fmla="*/ 2147483647 h 406"/>
                <a:gd name="T16" fmla="*/ 2147483647 w 438"/>
                <a:gd name="T17" fmla="*/ 2147483647 h 406"/>
                <a:gd name="T18" fmla="*/ 2147483647 w 438"/>
                <a:gd name="T19" fmla="*/ 2147483647 h 406"/>
                <a:gd name="T20" fmla="*/ 2147483647 w 438"/>
                <a:gd name="T21" fmla="*/ 2147483647 h 406"/>
                <a:gd name="T22" fmla="*/ 2147483647 w 438"/>
                <a:gd name="T23" fmla="*/ 2147483647 h 406"/>
                <a:gd name="T24" fmla="*/ 2147483647 w 438"/>
                <a:gd name="T25" fmla="*/ 2147483647 h 406"/>
                <a:gd name="T26" fmla="*/ 2147483647 w 438"/>
                <a:gd name="T27" fmla="*/ 2147483647 h 406"/>
                <a:gd name="T28" fmla="*/ 2147483647 w 438"/>
                <a:gd name="T29" fmla="*/ 2147483647 h 406"/>
                <a:gd name="T30" fmla="*/ 2147483647 w 438"/>
                <a:gd name="T31" fmla="*/ 2147483647 h 406"/>
                <a:gd name="T32" fmla="*/ 2147483647 w 438"/>
                <a:gd name="T33" fmla="*/ 2147483647 h 406"/>
                <a:gd name="T34" fmla="*/ 2147483647 w 438"/>
                <a:gd name="T35" fmla="*/ 2147483647 h 406"/>
                <a:gd name="T36" fmla="*/ 2147483647 w 438"/>
                <a:gd name="T37" fmla="*/ 2147483647 h 406"/>
                <a:gd name="T38" fmla="*/ 2147483647 w 438"/>
                <a:gd name="T39" fmla="*/ 2147483647 h 406"/>
                <a:gd name="T40" fmla="*/ 2147483647 w 438"/>
                <a:gd name="T41" fmla="*/ 2147483647 h 406"/>
                <a:gd name="T42" fmla="*/ 2147483647 w 438"/>
                <a:gd name="T43" fmla="*/ 2147483647 h 406"/>
                <a:gd name="T44" fmla="*/ 2147483647 w 438"/>
                <a:gd name="T45" fmla="*/ 2147483647 h 406"/>
                <a:gd name="T46" fmla="*/ 2147483647 w 438"/>
                <a:gd name="T47" fmla="*/ 2147483647 h 406"/>
                <a:gd name="T48" fmla="*/ 2147483647 w 438"/>
                <a:gd name="T49" fmla="*/ 2147483647 h 406"/>
                <a:gd name="T50" fmla="*/ 2147483647 w 438"/>
                <a:gd name="T51" fmla="*/ 2147483647 h 406"/>
                <a:gd name="T52" fmla="*/ 2147483647 w 438"/>
                <a:gd name="T53" fmla="*/ 2147483647 h 406"/>
                <a:gd name="T54" fmla="*/ 2147483647 w 438"/>
                <a:gd name="T55" fmla="*/ 2147483647 h 406"/>
                <a:gd name="T56" fmla="*/ 2147483647 w 438"/>
                <a:gd name="T57" fmla="*/ 2147483647 h 406"/>
                <a:gd name="T58" fmla="*/ 2147483647 w 438"/>
                <a:gd name="T59" fmla="*/ 2147483647 h 406"/>
                <a:gd name="T60" fmla="*/ 2147483647 w 438"/>
                <a:gd name="T61" fmla="*/ 2147483647 h 406"/>
                <a:gd name="T62" fmla="*/ 2147483647 w 438"/>
                <a:gd name="T63" fmla="*/ 2147483647 h 406"/>
                <a:gd name="T64" fmla="*/ 0 w 438"/>
                <a:gd name="T65" fmla="*/ 2147483647 h 406"/>
                <a:gd name="T66" fmla="*/ 2147483647 w 438"/>
                <a:gd name="T67" fmla="*/ 2147483647 h 406"/>
                <a:gd name="T68" fmla="*/ 2147483647 w 438"/>
                <a:gd name="T69" fmla="*/ 2147483647 h 406"/>
                <a:gd name="T70" fmla="*/ 2147483647 w 438"/>
                <a:gd name="T71" fmla="*/ 2147483647 h 406"/>
                <a:gd name="T72" fmla="*/ 2147483647 w 438"/>
                <a:gd name="T73" fmla="*/ 2147483647 h 406"/>
                <a:gd name="T74" fmla="*/ 2147483647 w 438"/>
                <a:gd name="T75" fmla="*/ 2147483647 h 406"/>
                <a:gd name="T76" fmla="*/ 2147483647 w 438"/>
                <a:gd name="T77" fmla="*/ 2147483647 h 406"/>
                <a:gd name="T78" fmla="*/ 2147483647 w 438"/>
                <a:gd name="T79" fmla="*/ 2147483647 h 406"/>
                <a:gd name="T80" fmla="*/ 2147483647 w 438"/>
                <a:gd name="T81" fmla="*/ 2147483647 h 406"/>
                <a:gd name="T82" fmla="*/ 2147483647 w 438"/>
                <a:gd name="T83" fmla="*/ 2147483647 h 406"/>
                <a:gd name="T84" fmla="*/ 2147483647 w 438"/>
                <a:gd name="T85" fmla="*/ 2147483647 h 406"/>
                <a:gd name="T86" fmla="*/ 2147483647 w 438"/>
                <a:gd name="T87" fmla="*/ 2147483647 h 406"/>
                <a:gd name="T88" fmla="*/ 2147483647 w 438"/>
                <a:gd name="T89" fmla="*/ 2147483647 h 406"/>
                <a:gd name="T90" fmla="*/ 2147483647 w 438"/>
                <a:gd name="T91" fmla="*/ 2147483647 h 406"/>
                <a:gd name="T92" fmla="*/ 2147483647 w 438"/>
                <a:gd name="T93" fmla="*/ 2147483647 h 406"/>
                <a:gd name="T94" fmla="*/ 2147483647 w 438"/>
                <a:gd name="T95" fmla="*/ 2147483647 h 406"/>
                <a:gd name="T96" fmla="*/ 2147483647 w 438"/>
                <a:gd name="T97" fmla="*/ 2147483647 h 406"/>
                <a:gd name="T98" fmla="*/ 2147483647 w 438"/>
                <a:gd name="T99" fmla="*/ 2147483647 h 406"/>
                <a:gd name="T100" fmla="*/ 2147483647 w 438"/>
                <a:gd name="T101" fmla="*/ 2147483647 h 406"/>
                <a:gd name="T102" fmla="*/ 2147483647 w 438"/>
                <a:gd name="T103" fmla="*/ 2147483647 h 406"/>
                <a:gd name="T104" fmla="*/ 2147483647 w 438"/>
                <a:gd name="T105" fmla="*/ 2147483647 h 406"/>
                <a:gd name="T106" fmla="*/ 2147483647 w 438"/>
                <a:gd name="T107" fmla="*/ 2147483647 h 406"/>
                <a:gd name="T108" fmla="*/ 2147483647 w 438"/>
                <a:gd name="T109" fmla="*/ 2147483647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38"/>
                <a:gd name="T166" fmla="*/ 0 h 406"/>
                <a:gd name="T167" fmla="*/ 438 w 438"/>
                <a:gd name="T168" fmla="*/ 406 h 4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10" name="Freeform 477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4560888" y="3930650"/>
              <a:ext cx="293687" cy="300038"/>
            </a:xfrm>
            <a:custGeom>
              <a:avLst/>
              <a:gdLst>
                <a:gd name="T0" fmla="*/ 2147483647 w 678"/>
                <a:gd name="T1" fmla="*/ 2147483647 h 574"/>
                <a:gd name="T2" fmla="*/ 2147483647 w 678"/>
                <a:gd name="T3" fmla="*/ 2147483647 h 574"/>
                <a:gd name="T4" fmla="*/ 2147483647 w 678"/>
                <a:gd name="T5" fmla="*/ 2147483647 h 574"/>
                <a:gd name="T6" fmla="*/ 2147483647 w 678"/>
                <a:gd name="T7" fmla="*/ 2147483647 h 574"/>
                <a:gd name="T8" fmla="*/ 2147483647 w 678"/>
                <a:gd name="T9" fmla="*/ 2147483647 h 574"/>
                <a:gd name="T10" fmla="*/ 2147483647 w 678"/>
                <a:gd name="T11" fmla="*/ 2147483647 h 574"/>
                <a:gd name="T12" fmla="*/ 2147483647 w 678"/>
                <a:gd name="T13" fmla="*/ 2147483647 h 574"/>
                <a:gd name="T14" fmla="*/ 2147483647 w 678"/>
                <a:gd name="T15" fmla="*/ 2147483647 h 574"/>
                <a:gd name="T16" fmla="*/ 2147483647 w 678"/>
                <a:gd name="T17" fmla="*/ 2147483647 h 574"/>
                <a:gd name="T18" fmla="*/ 2147483647 w 678"/>
                <a:gd name="T19" fmla="*/ 2147483647 h 574"/>
                <a:gd name="T20" fmla="*/ 2147483647 w 678"/>
                <a:gd name="T21" fmla="*/ 2147483647 h 574"/>
                <a:gd name="T22" fmla="*/ 2147483647 w 678"/>
                <a:gd name="T23" fmla="*/ 2147483647 h 574"/>
                <a:gd name="T24" fmla="*/ 2147483647 w 678"/>
                <a:gd name="T25" fmla="*/ 2147483647 h 574"/>
                <a:gd name="T26" fmla="*/ 2147483647 w 678"/>
                <a:gd name="T27" fmla="*/ 2147483647 h 574"/>
                <a:gd name="T28" fmla="*/ 2147483647 w 678"/>
                <a:gd name="T29" fmla="*/ 2147483647 h 574"/>
                <a:gd name="T30" fmla="*/ 2147483647 w 678"/>
                <a:gd name="T31" fmla="*/ 2147483647 h 574"/>
                <a:gd name="T32" fmla="*/ 2147483647 w 678"/>
                <a:gd name="T33" fmla="*/ 2147483647 h 574"/>
                <a:gd name="T34" fmla="*/ 2147483647 w 678"/>
                <a:gd name="T35" fmla="*/ 2147483647 h 574"/>
                <a:gd name="T36" fmla="*/ 2147483647 w 678"/>
                <a:gd name="T37" fmla="*/ 2147483647 h 574"/>
                <a:gd name="T38" fmla="*/ 2147483647 w 678"/>
                <a:gd name="T39" fmla="*/ 2147483647 h 574"/>
                <a:gd name="T40" fmla="*/ 2147483647 w 678"/>
                <a:gd name="T41" fmla="*/ 2147483647 h 574"/>
                <a:gd name="T42" fmla="*/ 2147483647 w 678"/>
                <a:gd name="T43" fmla="*/ 2147483647 h 574"/>
                <a:gd name="T44" fmla="*/ 2147483647 w 678"/>
                <a:gd name="T45" fmla="*/ 2147483647 h 574"/>
                <a:gd name="T46" fmla="*/ 2147483647 w 678"/>
                <a:gd name="T47" fmla="*/ 2147483647 h 574"/>
                <a:gd name="T48" fmla="*/ 2147483647 w 678"/>
                <a:gd name="T49" fmla="*/ 2147483647 h 574"/>
                <a:gd name="T50" fmla="*/ 2147483647 w 678"/>
                <a:gd name="T51" fmla="*/ 2147483647 h 574"/>
                <a:gd name="T52" fmla="*/ 2147483647 w 678"/>
                <a:gd name="T53" fmla="*/ 2147483647 h 574"/>
                <a:gd name="T54" fmla="*/ 2147483647 w 678"/>
                <a:gd name="T55" fmla="*/ 2147483647 h 574"/>
                <a:gd name="T56" fmla="*/ 2147483647 w 678"/>
                <a:gd name="T57" fmla="*/ 2147483647 h 574"/>
                <a:gd name="T58" fmla="*/ 2147483647 w 678"/>
                <a:gd name="T59" fmla="*/ 2147483647 h 574"/>
                <a:gd name="T60" fmla="*/ 2147483647 w 678"/>
                <a:gd name="T61" fmla="*/ 2147483647 h 574"/>
                <a:gd name="T62" fmla="*/ 2147483647 w 678"/>
                <a:gd name="T63" fmla="*/ 2147483647 h 574"/>
                <a:gd name="T64" fmla="*/ 0 w 678"/>
                <a:gd name="T65" fmla="*/ 2147483647 h 574"/>
                <a:gd name="T66" fmla="*/ 2147483647 w 678"/>
                <a:gd name="T67" fmla="*/ 2147483647 h 574"/>
                <a:gd name="T68" fmla="*/ 2147483647 w 678"/>
                <a:gd name="T69" fmla="*/ 2147483647 h 574"/>
                <a:gd name="T70" fmla="*/ 2147483647 w 678"/>
                <a:gd name="T71" fmla="*/ 2147483647 h 574"/>
                <a:gd name="T72" fmla="*/ 2147483647 w 678"/>
                <a:gd name="T73" fmla="*/ 2147483647 h 574"/>
                <a:gd name="T74" fmla="*/ 2147483647 w 678"/>
                <a:gd name="T75" fmla="*/ 2147483647 h 574"/>
                <a:gd name="T76" fmla="*/ 2147483647 w 678"/>
                <a:gd name="T77" fmla="*/ 2147483647 h 574"/>
                <a:gd name="T78" fmla="*/ 2147483647 w 678"/>
                <a:gd name="T79" fmla="*/ 2147483647 h 574"/>
                <a:gd name="T80" fmla="*/ 2147483647 w 678"/>
                <a:gd name="T81" fmla="*/ 2147483647 h 574"/>
                <a:gd name="T82" fmla="*/ 2147483647 w 678"/>
                <a:gd name="T83" fmla="*/ 2147483647 h 574"/>
                <a:gd name="T84" fmla="*/ 2147483647 w 678"/>
                <a:gd name="T85" fmla="*/ 2147483647 h 574"/>
                <a:gd name="T86" fmla="*/ 2147483647 w 678"/>
                <a:gd name="T87" fmla="*/ 2147483647 h 574"/>
                <a:gd name="T88" fmla="*/ 2147483647 w 678"/>
                <a:gd name="T89" fmla="*/ 2147483647 h 574"/>
                <a:gd name="T90" fmla="*/ 2147483647 w 678"/>
                <a:gd name="T91" fmla="*/ 2147483647 h 574"/>
                <a:gd name="T92" fmla="*/ 2147483647 w 678"/>
                <a:gd name="T93" fmla="*/ 2147483647 h 574"/>
                <a:gd name="T94" fmla="*/ 2147483647 w 678"/>
                <a:gd name="T95" fmla="*/ 2147483647 h 574"/>
                <a:gd name="T96" fmla="*/ 2147483647 w 678"/>
                <a:gd name="T97" fmla="*/ 2147483647 h 574"/>
                <a:gd name="T98" fmla="*/ 2147483647 w 678"/>
                <a:gd name="T99" fmla="*/ 2147483647 h 574"/>
                <a:gd name="T100" fmla="*/ 2147483647 w 678"/>
                <a:gd name="T101" fmla="*/ 2147483647 h 574"/>
                <a:gd name="T102" fmla="*/ 2147483647 w 678"/>
                <a:gd name="T103" fmla="*/ 2147483647 h 574"/>
                <a:gd name="T104" fmla="*/ 2147483647 w 678"/>
                <a:gd name="T105" fmla="*/ 2147483647 h 574"/>
                <a:gd name="T106" fmla="*/ 2147483647 w 678"/>
                <a:gd name="T107" fmla="*/ 2147483647 h 574"/>
                <a:gd name="T108" fmla="*/ 2147483647 w 678"/>
                <a:gd name="T109" fmla="*/ 2147483647 h 574"/>
                <a:gd name="T110" fmla="*/ 2147483647 w 678"/>
                <a:gd name="T111" fmla="*/ 2147483647 h 574"/>
                <a:gd name="T112" fmla="*/ 2147483647 w 678"/>
                <a:gd name="T113" fmla="*/ 2147483647 h 574"/>
                <a:gd name="T114" fmla="*/ 2147483647 w 678"/>
                <a:gd name="T115" fmla="*/ 2147483647 h 574"/>
                <a:gd name="T116" fmla="*/ 2147483647 w 678"/>
                <a:gd name="T117" fmla="*/ 2147483647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78"/>
                <a:gd name="T178" fmla="*/ 0 h 574"/>
                <a:gd name="T179" fmla="*/ 678 w 678"/>
                <a:gd name="T180" fmla="*/ 574 h 57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11" name="Freeform 478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4297363" y="4203700"/>
              <a:ext cx="350837" cy="381000"/>
            </a:xfrm>
            <a:custGeom>
              <a:avLst/>
              <a:gdLst>
                <a:gd name="T0" fmla="*/ 2147483647 w 810"/>
                <a:gd name="T1" fmla="*/ 2147483647 h 727"/>
                <a:gd name="T2" fmla="*/ 2147483647 w 810"/>
                <a:gd name="T3" fmla="*/ 2147483647 h 727"/>
                <a:gd name="T4" fmla="*/ 2147483647 w 810"/>
                <a:gd name="T5" fmla="*/ 2147483647 h 727"/>
                <a:gd name="T6" fmla="*/ 2147483647 w 810"/>
                <a:gd name="T7" fmla="*/ 2147483647 h 727"/>
                <a:gd name="T8" fmla="*/ 2147483647 w 810"/>
                <a:gd name="T9" fmla="*/ 2147483647 h 727"/>
                <a:gd name="T10" fmla="*/ 2147483647 w 810"/>
                <a:gd name="T11" fmla="*/ 2147483647 h 727"/>
                <a:gd name="T12" fmla="*/ 2147483647 w 810"/>
                <a:gd name="T13" fmla="*/ 2147483647 h 727"/>
                <a:gd name="T14" fmla="*/ 2147483647 w 810"/>
                <a:gd name="T15" fmla="*/ 2147483647 h 727"/>
                <a:gd name="T16" fmla="*/ 2147483647 w 810"/>
                <a:gd name="T17" fmla="*/ 0 h 727"/>
                <a:gd name="T18" fmla="*/ 2147483647 w 810"/>
                <a:gd name="T19" fmla="*/ 2147483647 h 727"/>
                <a:gd name="T20" fmla="*/ 2147483647 w 810"/>
                <a:gd name="T21" fmla="*/ 2147483647 h 727"/>
                <a:gd name="T22" fmla="*/ 0 w 810"/>
                <a:gd name="T23" fmla="*/ 2147483647 h 727"/>
                <a:gd name="T24" fmla="*/ 2147483647 w 810"/>
                <a:gd name="T25" fmla="*/ 2147483647 h 727"/>
                <a:gd name="T26" fmla="*/ 2147483647 w 810"/>
                <a:gd name="T27" fmla="*/ 2147483647 h 727"/>
                <a:gd name="T28" fmla="*/ 2147483647 w 810"/>
                <a:gd name="T29" fmla="*/ 2147483647 h 727"/>
                <a:gd name="T30" fmla="*/ 2147483647 w 810"/>
                <a:gd name="T31" fmla="*/ 2147483647 h 727"/>
                <a:gd name="T32" fmla="*/ 2147483647 w 810"/>
                <a:gd name="T33" fmla="*/ 2147483647 h 727"/>
                <a:gd name="T34" fmla="*/ 2147483647 w 810"/>
                <a:gd name="T35" fmla="*/ 2147483647 h 727"/>
                <a:gd name="T36" fmla="*/ 2147483647 w 810"/>
                <a:gd name="T37" fmla="*/ 2147483647 h 727"/>
                <a:gd name="T38" fmla="*/ 2147483647 w 810"/>
                <a:gd name="T39" fmla="*/ 2147483647 h 727"/>
                <a:gd name="T40" fmla="*/ 2147483647 w 810"/>
                <a:gd name="T41" fmla="*/ 2147483647 h 727"/>
                <a:gd name="T42" fmla="*/ 2147483647 w 810"/>
                <a:gd name="T43" fmla="*/ 2147483647 h 727"/>
                <a:gd name="T44" fmla="*/ 2147483647 w 810"/>
                <a:gd name="T45" fmla="*/ 2147483647 h 727"/>
                <a:gd name="T46" fmla="*/ 2147483647 w 810"/>
                <a:gd name="T47" fmla="*/ 2147483647 h 727"/>
                <a:gd name="T48" fmla="*/ 2147483647 w 810"/>
                <a:gd name="T49" fmla="*/ 2147483647 h 727"/>
                <a:gd name="T50" fmla="*/ 2147483647 w 810"/>
                <a:gd name="T51" fmla="*/ 2147483647 h 727"/>
                <a:gd name="T52" fmla="*/ 2147483647 w 810"/>
                <a:gd name="T53" fmla="*/ 2147483647 h 727"/>
                <a:gd name="T54" fmla="*/ 2147483647 w 810"/>
                <a:gd name="T55" fmla="*/ 2147483647 h 727"/>
                <a:gd name="T56" fmla="*/ 2147483647 w 810"/>
                <a:gd name="T57" fmla="*/ 2147483647 h 727"/>
                <a:gd name="T58" fmla="*/ 2147483647 w 810"/>
                <a:gd name="T59" fmla="*/ 2147483647 h 727"/>
                <a:gd name="T60" fmla="*/ 2147483647 w 810"/>
                <a:gd name="T61" fmla="*/ 2147483647 h 727"/>
                <a:gd name="T62" fmla="*/ 2147483647 w 810"/>
                <a:gd name="T63" fmla="*/ 2147483647 h 727"/>
                <a:gd name="T64" fmla="*/ 2147483647 w 810"/>
                <a:gd name="T65" fmla="*/ 2147483647 h 727"/>
                <a:gd name="T66" fmla="*/ 2147483647 w 810"/>
                <a:gd name="T67" fmla="*/ 2147483647 h 727"/>
                <a:gd name="T68" fmla="*/ 2147483647 w 810"/>
                <a:gd name="T69" fmla="*/ 2147483647 h 727"/>
                <a:gd name="T70" fmla="*/ 2147483647 w 810"/>
                <a:gd name="T71" fmla="*/ 2147483647 h 727"/>
                <a:gd name="T72" fmla="*/ 2147483647 w 810"/>
                <a:gd name="T73" fmla="*/ 2147483647 h 727"/>
                <a:gd name="T74" fmla="*/ 2147483647 w 810"/>
                <a:gd name="T75" fmla="*/ 2147483647 h 727"/>
                <a:gd name="T76" fmla="*/ 2147483647 w 810"/>
                <a:gd name="T77" fmla="*/ 2147483647 h 727"/>
                <a:gd name="T78" fmla="*/ 2147483647 w 810"/>
                <a:gd name="T79" fmla="*/ 2147483647 h 727"/>
                <a:gd name="T80" fmla="*/ 2147483647 w 810"/>
                <a:gd name="T81" fmla="*/ 2147483647 h 727"/>
                <a:gd name="T82" fmla="*/ 2147483647 w 810"/>
                <a:gd name="T83" fmla="*/ 2147483647 h 727"/>
                <a:gd name="T84" fmla="*/ 2147483647 w 810"/>
                <a:gd name="T85" fmla="*/ 2147483647 h 727"/>
                <a:gd name="T86" fmla="*/ 2147483647 w 810"/>
                <a:gd name="T87" fmla="*/ 2147483647 h 727"/>
                <a:gd name="T88" fmla="*/ 2147483647 w 810"/>
                <a:gd name="T89" fmla="*/ 2147483647 h 727"/>
                <a:gd name="T90" fmla="*/ 2147483647 w 810"/>
                <a:gd name="T91" fmla="*/ 2147483647 h 727"/>
                <a:gd name="T92" fmla="*/ 2147483647 w 810"/>
                <a:gd name="T93" fmla="*/ 2147483647 h 727"/>
                <a:gd name="T94" fmla="*/ 2147483647 w 810"/>
                <a:gd name="T95" fmla="*/ 2147483647 h 727"/>
                <a:gd name="T96" fmla="*/ 2147483647 w 810"/>
                <a:gd name="T97" fmla="*/ 2147483647 h 727"/>
                <a:gd name="T98" fmla="*/ 2147483647 w 810"/>
                <a:gd name="T99" fmla="*/ 2147483647 h 727"/>
                <a:gd name="T100" fmla="*/ 2147483647 w 810"/>
                <a:gd name="T101" fmla="*/ 2147483647 h 727"/>
                <a:gd name="T102" fmla="*/ 2147483647 w 810"/>
                <a:gd name="T103" fmla="*/ 2147483647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10"/>
                <a:gd name="T157" fmla="*/ 0 h 727"/>
                <a:gd name="T158" fmla="*/ 810 w 810"/>
                <a:gd name="T159" fmla="*/ 727 h 727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12" name="Freeform 479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3576638" y="3133725"/>
              <a:ext cx="161925" cy="141288"/>
            </a:xfrm>
            <a:custGeom>
              <a:avLst/>
              <a:gdLst>
                <a:gd name="T0" fmla="*/ 2147483647 w 365"/>
                <a:gd name="T1" fmla="*/ 2147483647 h 271"/>
                <a:gd name="T2" fmla="*/ 2147483647 w 365"/>
                <a:gd name="T3" fmla="*/ 2147483647 h 271"/>
                <a:gd name="T4" fmla="*/ 2147483647 w 365"/>
                <a:gd name="T5" fmla="*/ 2147483647 h 271"/>
                <a:gd name="T6" fmla="*/ 2147483647 w 365"/>
                <a:gd name="T7" fmla="*/ 2147483647 h 271"/>
                <a:gd name="T8" fmla="*/ 2147483647 w 365"/>
                <a:gd name="T9" fmla="*/ 2147483647 h 271"/>
                <a:gd name="T10" fmla="*/ 2147483647 w 365"/>
                <a:gd name="T11" fmla="*/ 2147483647 h 271"/>
                <a:gd name="T12" fmla="*/ 2147483647 w 365"/>
                <a:gd name="T13" fmla="*/ 2147483647 h 271"/>
                <a:gd name="T14" fmla="*/ 2147483647 w 365"/>
                <a:gd name="T15" fmla="*/ 2147483647 h 271"/>
                <a:gd name="T16" fmla="*/ 2147483647 w 365"/>
                <a:gd name="T17" fmla="*/ 2147483647 h 271"/>
                <a:gd name="T18" fmla="*/ 2147483647 w 365"/>
                <a:gd name="T19" fmla="*/ 2147483647 h 271"/>
                <a:gd name="T20" fmla="*/ 2147483647 w 365"/>
                <a:gd name="T21" fmla="*/ 2147483647 h 271"/>
                <a:gd name="T22" fmla="*/ 2147483647 w 365"/>
                <a:gd name="T23" fmla="*/ 2147483647 h 271"/>
                <a:gd name="T24" fmla="*/ 2147483647 w 365"/>
                <a:gd name="T25" fmla="*/ 2147483647 h 271"/>
                <a:gd name="T26" fmla="*/ 2147483647 w 365"/>
                <a:gd name="T27" fmla="*/ 2147483647 h 271"/>
                <a:gd name="T28" fmla="*/ 2147483647 w 365"/>
                <a:gd name="T29" fmla="*/ 2147483647 h 271"/>
                <a:gd name="T30" fmla="*/ 2147483647 w 365"/>
                <a:gd name="T31" fmla="*/ 2147483647 h 271"/>
                <a:gd name="T32" fmla="*/ 2147483647 w 365"/>
                <a:gd name="T33" fmla="*/ 2147483647 h 271"/>
                <a:gd name="T34" fmla="*/ 2147483647 w 365"/>
                <a:gd name="T35" fmla="*/ 2147483647 h 271"/>
                <a:gd name="T36" fmla="*/ 2147483647 w 365"/>
                <a:gd name="T37" fmla="*/ 2147483647 h 271"/>
                <a:gd name="T38" fmla="*/ 2147483647 w 365"/>
                <a:gd name="T39" fmla="*/ 2147483647 h 271"/>
                <a:gd name="T40" fmla="*/ 2147483647 w 365"/>
                <a:gd name="T41" fmla="*/ 2147483647 h 271"/>
                <a:gd name="T42" fmla="*/ 2147483647 w 365"/>
                <a:gd name="T43" fmla="*/ 2147483647 h 271"/>
                <a:gd name="T44" fmla="*/ 2147483647 w 365"/>
                <a:gd name="T45" fmla="*/ 2147483647 h 271"/>
                <a:gd name="T46" fmla="*/ 2147483647 w 365"/>
                <a:gd name="T47" fmla="*/ 2147483647 h 271"/>
                <a:gd name="T48" fmla="*/ 2147483647 w 365"/>
                <a:gd name="T49" fmla="*/ 2147483647 h 271"/>
                <a:gd name="T50" fmla="*/ 2147483647 w 365"/>
                <a:gd name="T51" fmla="*/ 2147483647 h 271"/>
                <a:gd name="T52" fmla="*/ 2147483647 w 365"/>
                <a:gd name="T53" fmla="*/ 2147483647 h 271"/>
                <a:gd name="T54" fmla="*/ 2147483647 w 365"/>
                <a:gd name="T55" fmla="*/ 2147483647 h 271"/>
                <a:gd name="T56" fmla="*/ 2147483647 w 365"/>
                <a:gd name="T57" fmla="*/ 2147483647 h 271"/>
                <a:gd name="T58" fmla="*/ 2147483647 w 365"/>
                <a:gd name="T59" fmla="*/ 2147483647 h 271"/>
                <a:gd name="T60" fmla="*/ 2147483647 w 365"/>
                <a:gd name="T61" fmla="*/ 2147483647 h 271"/>
                <a:gd name="T62" fmla="*/ 2147483647 w 365"/>
                <a:gd name="T63" fmla="*/ 2147483647 h 271"/>
                <a:gd name="T64" fmla="*/ 0 w 365"/>
                <a:gd name="T65" fmla="*/ 2147483647 h 271"/>
                <a:gd name="T66" fmla="*/ 2147483647 w 365"/>
                <a:gd name="T67" fmla="*/ 2147483647 h 271"/>
                <a:gd name="T68" fmla="*/ 2147483647 w 365"/>
                <a:gd name="T69" fmla="*/ 2147483647 h 271"/>
                <a:gd name="T70" fmla="*/ 2147483647 w 365"/>
                <a:gd name="T71" fmla="*/ 2147483647 h 271"/>
                <a:gd name="T72" fmla="*/ 2147483647 w 365"/>
                <a:gd name="T73" fmla="*/ 2147483647 h 271"/>
                <a:gd name="T74" fmla="*/ 2147483647 w 365"/>
                <a:gd name="T75" fmla="*/ 2147483647 h 271"/>
                <a:gd name="T76" fmla="*/ 2147483647 w 365"/>
                <a:gd name="T77" fmla="*/ 2147483647 h 271"/>
                <a:gd name="T78" fmla="*/ 2147483647 w 365"/>
                <a:gd name="T79" fmla="*/ 2147483647 h 271"/>
                <a:gd name="T80" fmla="*/ 2147483647 w 365"/>
                <a:gd name="T81" fmla="*/ 2147483647 h 271"/>
                <a:gd name="T82" fmla="*/ 2147483647 w 365"/>
                <a:gd name="T83" fmla="*/ 2147483647 h 271"/>
                <a:gd name="T84" fmla="*/ 2147483647 w 365"/>
                <a:gd name="T85" fmla="*/ 0 h 271"/>
                <a:gd name="T86" fmla="*/ 2147483647 w 365"/>
                <a:gd name="T87" fmla="*/ 2147483647 h 271"/>
                <a:gd name="T88" fmla="*/ 2147483647 w 365"/>
                <a:gd name="T89" fmla="*/ 2147483647 h 271"/>
                <a:gd name="T90" fmla="*/ 2147483647 w 365"/>
                <a:gd name="T91" fmla="*/ 2147483647 h 271"/>
                <a:gd name="T92" fmla="*/ 2147483647 w 365"/>
                <a:gd name="T93" fmla="*/ 2147483647 h 271"/>
                <a:gd name="T94" fmla="*/ 2147483647 w 365"/>
                <a:gd name="T95" fmla="*/ 2147483647 h 271"/>
                <a:gd name="T96" fmla="*/ 2147483647 w 365"/>
                <a:gd name="T97" fmla="*/ 2147483647 h 271"/>
                <a:gd name="T98" fmla="*/ 2147483647 w 365"/>
                <a:gd name="T99" fmla="*/ 2147483647 h 271"/>
                <a:gd name="T100" fmla="*/ 2147483647 w 365"/>
                <a:gd name="T101" fmla="*/ 2147483647 h 271"/>
                <a:gd name="T102" fmla="*/ 2147483647 w 365"/>
                <a:gd name="T103" fmla="*/ 2147483647 h 271"/>
                <a:gd name="T104" fmla="*/ 2147483647 w 365"/>
                <a:gd name="T105" fmla="*/ 2147483647 h 271"/>
                <a:gd name="T106" fmla="*/ 2147483647 w 365"/>
                <a:gd name="T107" fmla="*/ 2147483647 h 271"/>
                <a:gd name="T108" fmla="*/ 2147483647 w 365"/>
                <a:gd name="T109" fmla="*/ 2147483647 h 271"/>
                <a:gd name="T110" fmla="*/ 2147483647 w 365"/>
                <a:gd name="T111" fmla="*/ 2147483647 h 271"/>
                <a:gd name="T112" fmla="*/ 2147483647 w 365"/>
                <a:gd name="T113" fmla="*/ 2147483647 h 271"/>
                <a:gd name="T114" fmla="*/ 2147483647 w 365"/>
                <a:gd name="T115" fmla="*/ 2147483647 h 271"/>
                <a:gd name="T116" fmla="*/ 2147483647 w 365"/>
                <a:gd name="T117" fmla="*/ 2147483647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65"/>
                <a:gd name="T178" fmla="*/ 0 h 271"/>
                <a:gd name="T179" fmla="*/ 365 w 365"/>
                <a:gd name="T180" fmla="*/ 271 h 27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13" name="Freeform 480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4749800" y="3695700"/>
              <a:ext cx="269875" cy="334963"/>
            </a:xfrm>
            <a:custGeom>
              <a:avLst/>
              <a:gdLst>
                <a:gd name="T0" fmla="*/ 2147483647 w 624"/>
                <a:gd name="T1" fmla="*/ 2147483647 h 640"/>
                <a:gd name="T2" fmla="*/ 2147483647 w 624"/>
                <a:gd name="T3" fmla="*/ 2147483647 h 640"/>
                <a:gd name="T4" fmla="*/ 2147483647 w 624"/>
                <a:gd name="T5" fmla="*/ 2147483647 h 640"/>
                <a:gd name="T6" fmla="*/ 2147483647 w 624"/>
                <a:gd name="T7" fmla="*/ 2147483647 h 640"/>
                <a:gd name="T8" fmla="*/ 2147483647 w 624"/>
                <a:gd name="T9" fmla="*/ 2147483647 h 640"/>
                <a:gd name="T10" fmla="*/ 2147483647 w 624"/>
                <a:gd name="T11" fmla="*/ 2147483647 h 640"/>
                <a:gd name="T12" fmla="*/ 2147483647 w 624"/>
                <a:gd name="T13" fmla="*/ 2147483647 h 640"/>
                <a:gd name="T14" fmla="*/ 2147483647 w 624"/>
                <a:gd name="T15" fmla="*/ 2147483647 h 640"/>
                <a:gd name="T16" fmla="*/ 2147483647 w 624"/>
                <a:gd name="T17" fmla="*/ 2147483647 h 640"/>
                <a:gd name="T18" fmla="*/ 2147483647 w 624"/>
                <a:gd name="T19" fmla="*/ 2147483647 h 640"/>
                <a:gd name="T20" fmla="*/ 2147483647 w 624"/>
                <a:gd name="T21" fmla="*/ 2147483647 h 640"/>
                <a:gd name="T22" fmla="*/ 2147483647 w 624"/>
                <a:gd name="T23" fmla="*/ 2147483647 h 640"/>
                <a:gd name="T24" fmla="*/ 2147483647 w 624"/>
                <a:gd name="T25" fmla="*/ 2147483647 h 640"/>
                <a:gd name="T26" fmla="*/ 2147483647 w 624"/>
                <a:gd name="T27" fmla="*/ 2147483647 h 640"/>
                <a:gd name="T28" fmla="*/ 2147483647 w 624"/>
                <a:gd name="T29" fmla="*/ 2147483647 h 640"/>
                <a:gd name="T30" fmla="*/ 2147483647 w 624"/>
                <a:gd name="T31" fmla="*/ 2147483647 h 640"/>
                <a:gd name="T32" fmla="*/ 2147483647 w 624"/>
                <a:gd name="T33" fmla="*/ 2147483647 h 640"/>
                <a:gd name="T34" fmla="*/ 2147483647 w 624"/>
                <a:gd name="T35" fmla="*/ 2147483647 h 640"/>
                <a:gd name="T36" fmla="*/ 2147483647 w 624"/>
                <a:gd name="T37" fmla="*/ 2147483647 h 640"/>
                <a:gd name="T38" fmla="*/ 2147483647 w 624"/>
                <a:gd name="T39" fmla="*/ 2147483647 h 640"/>
                <a:gd name="T40" fmla="*/ 2147483647 w 624"/>
                <a:gd name="T41" fmla="*/ 2147483647 h 640"/>
                <a:gd name="T42" fmla="*/ 2147483647 w 624"/>
                <a:gd name="T43" fmla="*/ 2147483647 h 640"/>
                <a:gd name="T44" fmla="*/ 2147483647 w 624"/>
                <a:gd name="T45" fmla="*/ 2147483647 h 640"/>
                <a:gd name="T46" fmla="*/ 2147483647 w 624"/>
                <a:gd name="T47" fmla="*/ 2147483647 h 640"/>
                <a:gd name="T48" fmla="*/ 2147483647 w 624"/>
                <a:gd name="T49" fmla="*/ 2147483647 h 640"/>
                <a:gd name="T50" fmla="*/ 2147483647 w 624"/>
                <a:gd name="T51" fmla="*/ 2147483647 h 640"/>
                <a:gd name="T52" fmla="*/ 2147483647 w 624"/>
                <a:gd name="T53" fmla="*/ 2147483647 h 640"/>
                <a:gd name="T54" fmla="*/ 2147483647 w 624"/>
                <a:gd name="T55" fmla="*/ 2147483647 h 640"/>
                <a:gd name="T56" fmla="*/ 2147483647 w 624"/>
                <a:gd name="T57" fmla="*/ 2147483647 h 640"/>
                <a:gd name="T58" fmla="*/ 2147483647 w 624"/>
                <a:gd name="T59" fmla="*/ 2147483647 h 640"/>
                <a:gd name="T60" fmla="*/ 2147483647 w 624"/>
                <a:gd name="T61" fmla="*/ 2147483647 h 640"/>
                <a:gd name="T62" fmla="*/ 2147483647 w 624"/>
                <a:gd name="T63" fmla="*/ 2147483647 h 640"/>
                <a:gd name="T64" fmla="*/ 2147483647 w 624"/>
                <a:gd name="T65" fmla="*/ 2147483647 h 640"/>
                <a:gd name="T66" fmla="*/ 2147483647 w 624"/>
                <a:gd name="T67" fmla="*/ 2147483647 h 640"/>
                <a:gd name="T68" fmla="*/ 2147483647 w 624"/>
                <a:gd name="T69" fmla="*/ 2147483647 h 640"/>
                <a:gd name="T70" fmla="*/ 2147483647 w 624"/>
                <a:gd name="T71" fmla="*/ 2147483647 h 640"/>
                <a:gd name="T72" fmla="*/ 2147483647 w 624"/>
                <a:gd name="T73" fmla="*/ 2147483647 h 640"/>
                <a:gd name="T74" fmla="*/ 2147483647 w 624"/>
                <a:gd name="T75" fmla="*/ 2147483647 h 640"/>
                <a:gd name="T76" fmla="*/ 2147483647 w 624"/>
                <a:gd name="T77" fmla="*/ 2147483647 h 640"/>
                <a:gd name="T78" fmla="*/ 2147483647 w 624"/>
                <a:gd name="T79" fmla="*/ 2147483647 h 640"/>
                <a:gd name="T80" fmla="*/ 2147483647 w 624"/>
                <a:gd name="T81" fmla="*/ 2147483647 h 640"/>
                <a:gd name="T82" fmla="*/ 2147483647 w 624"/>
                <a:gd name="T83" fmla="*/ 2147483647 h 640"/>
                <a:gd name="T84" fmla="*/ 2147483647 w 624"/>
                <a:gd name="T85" fmla="*/ 2147483647 h 640"/>
                <a:gd name="T86" fmla="*/ 2147483647 w 624"/>
                <a:gd name="T87" fmla="*/ 2147483647 h 640"/>
                <a:gd name="T88" fmla="*/ 2147483647 w 624"/>
                <a:gd name="T89" fmla="*/ 2147483647 h 640"/>
                <a:gd name="T90" fmla="*/ 0 w 624"/>
                <a:gd name="T91" fmla="*/ 2147483647 h 640"/>
                <a:gd name="T92" fmla="*/ 0 w 624"/>
                <a:gd name="T93" fmla="*/ 2147483647 h 640"/>
                <a:gd name="T94" fmla="*/ 2147483647 w 624"/>
                <a:gd name="T95" fmla="*/ 2147483647 h 640"/>
                <a:gd name="T96" fmla="*/ 2147483647 w 624"/>
                <a:gd name="T97" fmla="*/ 2147483647 h 640"/>
                <a:gd name="T98" fmla="*/ 2147483647 w 624"/>
                <a:gd name="T99" fmla="*/ 2147483647 h 640"/>
                <a:gd name="T100" fmla="*/ 2147483647 w 624"/>
                <a:gd name="T101" fmla="*/ 2147483647 h 640"/>
                <a:gd name="T102" fmla="*/ 2147483647 w 624"/>
                <a:gd name="T103" fmla="*/ 2147483647 h 640"/>
                <a:gd name="T104" fmla="*/ 2147483647 w 624"/>
                <a:gd name="T105" fmla="*/ 214748364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624"/>
                <a:gd name="T160" fmla="*/ 0 h 640"/>
                <a:gd name="T161" fmla="*/ 624 w 624"/>
                <a:gd name="T162" fmla="*/ 640 h 64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14" name="Freeform 481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7313613" y="2209800"/>
              <a:ext cx="19050" cy="57150"/>
            </a:xfrm>
            <a:custGeom>
              <a:avLst/>
              <a:gdLst>
                <a:gd name="T0" fmla="*/ 2147483647 w 52"/>
                <a:gd name="T1" fmla="*/ 2147483647 h 50"/>
                <a:gd name="T2" fmla="*/ 0 w 52"/>
                <a:gd name="T3" fmla="*/ 2147483647 h 50"/>
                <a:gd name="T4" fmla="*/ 2147483647 w 52"/>
                <a:gd name="T5" fmla="*/ 2147483647 h 50"/>
                <a:gd name="T6" fmla="*/ 2147483647 w 52"/>
                <a:gd name="T7" fmla="*/ 2147483647 h 50"/>
                <a:gd name="T8" fmla="*/ 2147483647 w 52"/>
                <a:gd name="T9" fmla="*/ 2147483647 h 50"/>
                <a:gd name="T10" fmla="*/ 2147483647 w 52"/>
                <a:gd name="T11" fmla="*/ 2147483647 h 50"/>
                <a:gd name="T12" fmla="*/ 2147483647 w 52"/>
                <a:gd name="T13" fmla="*/ 2147483647 h 50"/>
                <a:gd name="T14" fmla="*/ 2147483647 w 52"/>
                <a:gd name="T15" fmla="*/ 2147483647 h 50"/>
                <a:gd name="T16" fmla="*/ 2147483647 w 52"/>
                <a:gd name="T17" fmla="*/ 2147483647 h 50"/>
                <a:gd name="T18" fmla="*/ 2147483647 w 52"/>
                <a:gd name="T19" fmla="*/ 0 h 50"/>
                <a:gd name="T20" fmla="*/ 2147483647 w 52"/>
                <a:gd name="T21" fmla="*/ 2147483647 h 50"/>
                <a:gd name="T22" fmla="*/ 2147483647 w 52"/>
                <a:gd name="T23" fmla="*/ 2147483647 h 50"/>
                <a:gd name="T24" fmla="*/ 2147483647 w 52"/>
                <a:gd name="T25" fmla="*/ 2147483647 h 50"/>
                <a:gd name="T26" fmla="*/ 2147483647 w 52"/>
                <a:gd name="T27" fmla="*/ 2147483647 h 50"/>
                <a:gd name="T28" fmla="*/ 2147483647 w 52"/>
                <a:gd name="T29" fmla="*/ 2147483647 h 50"/>
                <a:gd name="T30" fmla="*/ 2147483647 w 52"/>
                <a:gd name="T31" fmla="*/ 2147483647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2"/>
                <a:gd name="T49" fmla="*/ 0 h 50"/>
                <a:gd name="T50" fmla="*/ 52 w 52"/>
                <a:gd name="T51" fmla="*/ 50 h 5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15" name="Freeform 482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7172325" y="2211388"/>
              <a:ext cx="141288" cy="125412"/>
            </a:xfrm>
            <a:custGeom>
              <a:avLst/>
              <a:gdLst>
                <a:gd name="T0" fmla="*/ 2147483647 w 320"/>
                <a:gd name="T1" fmla="*/ 2147483647 h 234"/>
                <a:gd name="T2" fmla="*/ 2147483647 w 320"/>
                <a:gd name="T3" fmla="*/ 2147483647 h 234"/>
                <a:gd name="T4" fmla="*/ 2147483647 w 320"/>
                <a:gd name="T5" fmla="*/ 2147483647 h 234"/>
                <a:gd name="T6" fmla="*/ 2147483647 w 320"/>
                <a:gd name="T7" fmla="*/ 2147483647 h 234"/>
                <a:gd name="T8" fmla="*/ 2147483647 w 320"/>
                <a:gd name="T9" fmla="*/ 2147483647 h 234"/>
                <a:gd name="T10" fmla="*/ 2147483647 w 320"/>
                <a:gd name="T11" fmla="*/ 2147483647 h 234"/>
                <a:gd name="T12" fmla="*/ 2147483647 w 320"/>
                <a:gd name="T13" fmla="*/ 2147483647 h 234"/>
                <a:gd name="T14" fmla="*/ 2147483647 w 320"/>
                <a:gd name="T15" fmla="*/ 2147483647 h 234"/>
                <a:gd name="T16" fmla="*/ 2147483647 w 320"/>
                <a:gd name="T17" fmla="*/ 2147483647 h 234"/>
                <a:gd name="T18" fmla="*/ 2147483647 w 320"/>
                <a:gd name="T19" fmla="*/ 2147483647 h 234"/>
                <a:gd name="T20" fmla="*/ 2147483647 w 320"/>
                <a:gd name="T21" fmla="*/ 2147483647 h 234"/>
                <a:gd name="T22" fmla="*/ 2147483647 w 320"/>
                <a:gd name="T23" fmla="*/ 2147483647 h 234"/>
                <a:gd name="T24" fmla="*/ 2147483647 w 320"/>
                <a:gd name="T25" fmla="*/ 2147483647 h 234"/>
                <a:gd name="T26" fmla="*/ 2147483647 w 320"/>
                <a:gd name="T27" fmla="*/ 2147483647 h 234"/>
                <a:gd name="T28" fmla="*/ 2147483647 w 320"/>
                <a:gd name="T29" fmla="*/ 2147483647 h 234"/>
                <a:gd name="T30" fmla="*/ 2147483647 w 320"/>
                <a:gd name="T31" fmla="*/ 2147483647 h 234"/>
                <a:gd name="T32" fmla="*/ 2147483647 w 320"/>
                <a:gd name="T33" fmla="*/ 2147483647 h 234"/>
                <a:gd name="T34" fmla="*/ 2147483647 w 320"/>
                <a:gd name="T35" fmla="*/ 2147483647 h 234"/>
                <a:gd name="T36" fmla="*/ 2147483647 w 320"/>
                <a:gd name="T37" fmla="*/ 2147483647 h 234"/>
                <a:gd name="T38" fmla="*/ 2147483647 w 320"/>
                <a:gd name="T39" fmla="*/ 2147483647 h 234"/>
                <a:gd name="T40" fmla="*/ 2147483647 w 320"/>
                <a:gd name="T41" fmla="*/ 2147483647 h 234"/>
                <a:gd name="T42" fmla="*/ 2147483647 w 320"/>
                <a:gd name="T43" fmla="*/ 2147483647 h 234"/>
                <a:gd name="T44" fmla="*/ 2147483647 w 320"/>
                <a:gd name="T45" fmla="*/ 0 h 234"/>
                <a:gd name="T46" fmla="*/ 2147483647 w 320"/>
                <a:gd name="T47" fmla="*/ 0 h 234"/>
                <a:gd name="T48" fmla="*/ 2147483647 w 320"/>
                <a:gd name="T49" fmla="*/ 2147483647 h 234"/>
                <a:gd name="T50" fmla="*/ 2147483647 w 320"/>
                <a:gd name="T51" fmla="*/ 2147483647 h 234"/>
                <a:gd name="T52" fmla="*/ 2147483647 w 320"/>
                <a:gd name="T53" fmla="*/ 2147483647 h 234"/>
                <a:gd name="T54" fmla="*/ 2147483647 w 320"/>
                <a:gd name="T55" fmla="*/ 2147483647 h 234"/>
                <a:gd name="T56" fmla="*/ 2147483647 w 320"/>
                <a:gd name="T57" fmla="*/ 2147483647 h 234"/>
                <a:gd name="T58" fmla="*/ 2147483647 w 320"/>
                <a:gd name="T59" fmla="*/ 2147483647 h 234"/>
                <a:gd name="T60" fmla="*/ 2147483647 w 320"/>
                <a:gd name="T61" fmla="*/ 2147483647 h 234"/>
                <a:gd name="T62" fmla="*/ 2147483647 w 320"/>
                <a:gd name="T63" fmla="*/ 2147483647 h 234"/>
                <a:gd name="T64" fmla="*/ 2147483647 w 320"/>
                <a:gd name="T65" fmla="*/ 2147483647 h 234"/>
                <a:gd name="T66" fmla="*/ 2147483647 w 320"/>
                <a:gd name="T67" fmla="*/ 2147483647 h 234"/>
                <a:gd name="T68" fmla="*/ 2147483647 w 320"/>
                <a:gd name="T69" fmla="*/ 2147483647 h 234"/>
                <a:gd name="T70" fmla="*/ 2147483647 w 320"/>
                <a:gd name="T71" fmla="*/ 2147483647 h 234"/>
                <a:gd name="T72" fmla="*/ 2147483647 w 320"/>
                <a:gd name="T73" fmla="*/ 2147483647 h 234"/>
                <a:gd name="T74" fmla="*/ 2147483647 w 320"/>
                <a:gd name="T75" fmla="*/ 2147483647 h 234"/>
                <a:gd name="T76" fmla="*/ 2147483647 w 320"/>
                <a:gd name="T77" fmla="*/ 2147483647 h 234"/>
                <a:gd name="T78" fmla="*/ 2147483647 w 320"/>
                <a:gd name="T79" fmla="*/ 2147483647 h 234"/>
                <a:gd name="T80" fmla="*/ 2147483647 w 320"/>
                <a:gd name="T81" fmla="*/ 2147483647 h 234"/>
                <a:gd name="T82" fmla="*/ 2147483647 w 320"/>
                <a:gd name="T83" fmla="*/ 2147483647 h 234"/>
                <a:gd name="T84" fmla="*/ 2147483647 w 320"/>
                <a:gd name="T85" fmla="*/ 2147483647 h 234"/>
                <a:gd name="T86" fmla="*/ 2147483647 w 320"/>
                <a:gd name="T87" fmla="*/ 2147483647 h 234"/>
                <a:gd name="T88" fmla="*/ 2147483647 w 320"/>
                <a:gd name="T89" fmla="*/ 2147483647 h 234"/>
                <a:gd name="T90" fmla="*/ 2147483647 w 320"/>
                <a:gd name="T91" fmla="*/ 2147483647 h 234"/>
                <a:gd name="T92" fmla="*/ 2147483647 w 320"/>
                <a:gd name="T93" fmla="*/ 2147483647 h 234"/>
                <a:gd name="T94" fmla="*/ 2147483647 w 320"/>
                <a:gd name="T95" fmla="*/ 2147483647 h 234"/>
                <a:gd name="T96" fmla="*/ 2147483647 w 320"/>
                <a:gd name="T97" fmla="*/ 2147483647 h 234"/>
                <a:gd name="T98" fmla="*/ 2147483647 w 320"/>
                <a:gd name="T99" fmla="*/ 2147483647 h 234"/>
                <a:gd name="T100" fmla="*/ 2147483647 w 320"/>
                <a:gd name="T101" fmla="*/ 2147483647 h 234"/>
                <a:gd name="T102" fmla="*/ 2147483647 w 320"/>
                <a:gd name="T103" fmla="*/ 2147483647 h 234"/>
                <a:gd name="T104" fmla="*/ 2147483647 w 320"/>
                <a:gd name="T105" fmla="*/ 2147483647 h 234"/>
                <a:gd name="T106" fmla="*/ 2147483647 w 320"/>
                <a:gd name="T107" fmla="*/ 2147483647 h 234"/>
                <a:gd name="T108" fmla="*/ 2147483647 w 320"/>
                <a:gd name="T109" fmla="*/ 2147483647 h 234"/>
                <a:gd name="T110" fmla="*/ 2147483647 w 320"/>
                <a:gd name="T111" fmla="*/ 2147483647 h 234"/>
                <a:gd name="T112" fmla="*/ 2147483647 w 320"/>
                <a:gd name="T113" fmla="*/ 2147483647 h 234"/>
                <a:gd name="T114" fmla="*/ 2147483647 w 320"/>
                <a:gd name="T115" fmla="*/ 2147483647 h 234"/>
                <a:gd name="T116" fmla="*/ 2147483647 w 320"/>
                <a:gd name="T117" fmla="*/ 2147483647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20"/>
                <a:gd name="T178" fmla="*/ 0 h 234"/>
                <a:gd name="T179" fmla="*/ 320 w 320"/>
                <a:gd name="T180" fmla="*/ 234 h 23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16" name="Freeform 483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7142163" y="2565400"/>
              <a:ext cx="52387" cy="57150"/>
            </a:xfrm>
            <a:custGeom>
              <a:avLst/>
              <a:gdLst>
                <a:gd name="T0" fmla="*/ 2147483647 w 125"/>
                <a:gd name="T1" fmla="*/ 2147483647 h 93"/>
                <a:gd name="T2" fmla="*/ 2147483647 w 125"/>
                <a:gd name="T3" fmla="*/ 2147483647 h 93"/>
                <a:gd name="T4" fmla="*/ 2147483647 w 125"/>
                <a:gd name="T5" fmla="*/ 2147483647 h 93"/>
                <a:gd name="T6" fmla="*/ 2147483647 w 125"/>
                <a:gd name="T7" fmla="*/ 2147483647 h 93"/>
                <a:gd name="T8" fmla="*/ 2147483647 w 125"/>
                <a:gd name="T9" fmla="*/ 2147483647 h 93"/>
                <a:gd name="T10" fmla="*/ 2147483647 w 125"/>
                <a:gd name="T11" fmla="*/ 2147483647 h 93"/>
                <a:gd name="T12" fmla="*/ 2147483647 w 125"/>
                <a:gd name="T13" fmla="*/ 2147483647 h 93"/>
                <a:gd name="T14" fmla="*/ 2147483647 w 125"/>
                <a:gd name="T15" fmla="*/ 2147483647 h 93"/>
                <a:gd name="T16" fmla="*/ 2147483647 w 125"/>
                <a:gd name="T17" fmla="*/ 2147483647 h 93"/>
                <a:gd name="T18" fmla="*/ 2147483647 w 125"/>
                <a:gd name="T19" fmla="*/ 2147483647 h 93"/>
                <a:gd name="T20" fmla="*/ 2147483647 w 125"/>
                <a:gd name="T21" fmla="*/ 0 h 93"/>
                <a:gd name="T22" fmla="*/ 2147483647 w 125"/>
                <a:gd name="T23" fmla="*/ 0 h 93"/>
                <a:gd name="T24" fmla="*/ 2147483647 w 125"/>
                <a:gd name="T25" fmla="*/ 2147483647 h 93"/>
                <a:gd name="T26" fmla="*/ 2147483647 w 125"/>
                <a:gd name="T27" fmla="*/ 2147483647 h 93"/>
                <a:gd name="T28" fmla="*/ 2147483647 w 125"/>
                <a:gd name="T29" fmla="*/ 2147483647 h 93"/>
                <a:gd name="T30" fmla="*/ 2147483647 w 125"/>
                <a:gd name="T31" fmla="*/ 2147483647 h 93"/>
                <a:gd name="T32" fmla="*/ 2147483647 w 125"/>
                <a:gd name="T33" fmla="*/ 2147483647 h 93"/>
                <a:gd name="T34" fmla="*/ 2147483647 w 125"/>
                <a:gd name="T35" fmla="*/ 2147483647 h 93"/>
                <a:gd name="T36" fmla="*/ 2147483647 w 125"/>
                <a:gd name="T37" fmla="*/ 2147483647 h 93"/>
                <a:gd name="T38" fmla="*/ 2147483647 w 125"/>
                <a:gd name="T39" fmla="*/ 2147483647 h 93"/>
                <a:gd name="T40" fmla="*/ 2147483647 w 125"/>
                <a:gd name="T41" fmla="*/ 2147483647 h 93"/>
                <a:gd name="T42" fmla="*/ 2147483647 w 125"/>
                <a:gd name="T43" fmla="*/ 2147483647 h 93"/>
                <a:gd name="T44" fmla="*/ 2147483647 w 125"/>
                <a:gd name="T45" fmla="*/ 2147483647 h 93"/>
                <a:gd name="T46" fmla="*/ 2147483647 w 125"/>
                <a:gd name="T47" fmla="*/ 2147483647 h 93"/>
                <a:gd name="T48" fmla="*/ 2147483647 w 125"/>
                <a:gd name="T49" fmla="*/ 2147483647 h 93"/>
                <a:gd name="T50" fmla="*/ 2147483647 w 125"/>
                <a:gd name="T51" fmla="*/ 2147483647 h 93"/>
                <a:gd name="T52" fmla="*/ 2147483647 w 125"/>
                <a:gd name="T53" fmla="*/ 2147483647 h 93"/>
                <a:gd name="T54" fmla="*/ 2147483647 w 125"/>
                <a:gd name="T55" fmla="*/ 2147483647 h 93"/>
                <a:gd name="T56" fmla="*/ 2147483647 w 125"/>
                <a:gd name="T57" fmla="*/ 2147483647 h 93"/>
                <a:gd name="T58" fmla="*/ 2147483647 w 125"/>
                <a:gd name="T59" fmla="*/ 2147483647 h 93"/>
                <a:gd name="T60" fmla="*/ 2147483647 w 125"/>
                <a:gd name="T61" fmla="*/ 2147483647 h 93"/>
                <a:gd name="T62" fmla="*/ 2147483647 w 125"/>
                <a:gd name="T63" fmla="*/ 2147483647 h 93"/>
                <a:gd name="T64" fmla="*/ 2147483647 w 125"/>
                <a:gd name="T65" fmla="*/ 2147483647 h 93"/>
                <a:gd name="T66" fmla="*/ 2147483647 w 125"/>
                <a:gd name="T67" fmla="*/ 2147483647 h 93"/>
                <a:gd name="T68" fmla="*/ 0 w 125"/>
                <a:gd name="T69" fmla="*/ 2147483647 h 93"/>
                <a:gd name="T70" fmla="*/ 0 w 125"/>
                <a:gd name="T71" fmla="*/ 2147483647 h 93"/>
                <a:gd name="T72" fmla="*/ 2147483647 w 125"/>
                <a:gd name="T73" fmla="*/ 2147483647 h 93"/>
                <a:gd name="T74" fmla="*/ 2147483647 w 125"/>
                <a:gd name="T75" fmla="*/ 2147483647 h 93"/>
                <a:gd name="T76" fmla="*/ 2147483647 w 125"/>
                <a:gd name="T77" fmla="*/ 2147483647 h 93"/>
                <a:gd name="T78" fmla="*/ 2147483647 w 125"/>
                <a:gd name="T79" fmla="*/ 2147483647 h 93"/>
                <a:gd name="T80" fmla="*/ 2147483647 w 125"/>
                <a:gd name="T81" fmla="*/ 2147483647 h 93"/>
                <a:gd name="T82" fmla="*/ 2147483647 w 125"/>
                <a:gd name="T83" fmla="*/ 2147483647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25"/>
                <a:gd name="T127" fmla="*/ 0 h 93"/>
                <a:gd name="T128" fmla="*/ 125 w 125"/>
                <a:gd name="T129" fmla="*/ 93 h 9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17" name="Freeform 484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7088188" y="2579688"/>
              <a:ext cx="60325" cy="84137"/>
            </a:xfrm>
            <a:custGeom>
              <a:avLst/>
              <a:gdLst>
                <a:gd name="T0" fmla="*/ 2147483647 w 133"/>
                <a:gd name="T1" fmla="*/ 2147483647 h 154"/>
                <a:gd name="T2" fmla="*/ 2147483647 w 133"/>
                <a:gd name="T3" fmla="*/ 2147483647 h 154"/>
                <a:gd name="T4" fmla="*/ 2147483647 w 133"/>
                <a:gd name="T5" fmla="*/ 2147483647 h 154"/>
                <a:gd name="T6" fmla="*/ 2147483647 w 133"/>
                <a:gd name="T7" fmla="*/ 2147483647 h 154"/>
                <a:gd name="T8" fmla="*/ 2147483647 w 133"/>
                <a:gd name="T9" fmla="*/ 2147483647 h 154"/>
                <a:gd name="T10" fmla="*/ 2147483647 w 133"/>
                <a:gd name="T11" fmla="*/ 2147483647 h 154"/>
                <a:gd name="T12" fmla="*/ 2147483647 w 133"/>
                <a:gd name="T13" fmla="*/ 0 h 154"/>
                <a:gd name="T14" fmla="*/ 2147483647 w 133"/>
                <a:gd name="T15" fmla="*/ 2147483647 h 154"/>
                <a:gd name="T16" fmla="*/ 2147483647 w 133"/>
                <a:gd name="T17" fmla="*/ 2147483647 h 154"/>
                <a:gd name="T18" fmla="*/ 2147483647 w 133"/>
                <a:gd name="T19" fmla="*/ 2147483647 h 154"/>
                <a:gd name="T20" fmla="*/ 2147483647 w 133"/>
                <a:gd name="T21" fmla="*/ 2147483647 h 154"/>
                <a:gd name="T22" fmla="*/ 2147483647 w 133"/>
                <a:gd name="T23" fmla="*/ 2147483647 h 154"/>
                <a:gd name="T24" fmla="*/ 2147483647 w 133"/>
                <a:gd name="T25" fmla="*/ 2147483647 h 154"/>
                <a:gd name="T26" fmla="*/ 2147483647 w 133"/>
                <a:gd name="T27" fmla="*/ 2147483647 h 154"/>
                <a:gd name="T28" fmla="*/ 2147483647 w 133"/>
                <a:gd name="T29" fmla="*/ 2147483647 h 154"/>
                <a:gd name="T30" fmla="*/ 2147483647 w 133"/>
                <a:gd name="T31" fmla="*/ 2147483647 h 154"/>
                <a:gd name="T32" fmla="*/ 2147483647 w 133"/>
                <a:gd name="T33" fmla="*/ 2147483647 h 154"/>
                <a:gd name="T34" fmla="*/ 2147483647 w 133"/>
                <a:gd name="T35" fmla="*/ 2147483647 h 154"/>
                <a:gd name="T36" fmla="*/ 2147483647 w 133"/>
                <a:gd name="T37" fmla="*/ 2147483647 h 154"/>
                <a:gd name="T38" fmla="*/ 2147483647 w 133"/>
                <a:gd name="T39" fmla="*/ 2147483647 h 154"/>
                <a:gd name="T40" fmla="*/ 2147483647 w 133"/>
                <a:gd name="T41" fmla="*/ 2147483647 h 154"/>
                <a:gd name="T42" fmla="*/ 2147483647 w 133"/>
                <a:gd name="T43" fmla="*/ 2147483647 h 154"/>
                <a:gd name="T44" fmla="*/ 2147483647 w 133"/>
                <a:gd name="T45" fmla="*/ 2147483647 h 154"/>
                <a:gd name="T46" fmla="*/ 2147483647 w 133"/>
                <a:gd name="T47" fmla="*/ 2147483647 h 154"/>
                <a:gd name="T48" fmla="*/ 2147483647 w 133"/>
                <a:gd name="T49" fmla="*/ 2147483647 h 154"/>
                <a:gd name="T50" fmla="*/ 2147483647 w 133"/>
                <a:gd name="T51" fmla="*/ 2147483647 h 154"/>
                <a:gd name="T52" fmla="*/ 2147483647 w 133"/>
                <a:gd name="T53" fmla="*/ 2147483647 h 154"/>
                <a:gd name="T54" fmla="*/ 2147483647 w 133"/>
                <a:gd name="T55" fmla="*/ 2147483647 h 154"/>
                <a:gd name="T56" fmla="*/ 2147483647 w 133"/>
                <a:gd name="T57" fmla="*/ 2147483647 h 154"/>
                <a:gd name="T58" fmla="*/ 2147483647 w 133"/>
                <a:gd name="T59" fmla="*/ 2147483647 h 154"/>
                <a:gd name="T60" fmla="*/ 2147483647 w 133"/>
                <a:gd name="T61" fmla="*/ 2147483647 h 154"/>
                <a:gd name="T62" fmla="*/ 2147483647 w 133"/>
                <a:gd name="T63" fmla="*/ 2147483647 h 154"/>
                <a:gd name="T64" fmla="*/ 2147483647 w 133"/>
                <a:gd name="T65" fmla="*/ 2147483647 h 154"/>
                <a:gd name="T66" fmla="*/ 2147483647 w 133"/>
                <a:gd name="T67" fmla="*/ 2147483647 h 154"/>
                <a:gd name="T68" fmla="*/ 2147483647 w 133"/>
                <a:gd name="T69" fmla="*/ 2147483647 h 154"/>
                <a:gd name="T70" fmla="*/ 2147483647 w 133"/>
                <a:gd name="T71" fmla="*/ 2147483647 h 154"/>
                <a:gd name="T72" fmla="*/ 2147483647 w 133"/>
                <a:gd name="T73" fmla="*/ 2147483647 h 154"/>
                <a:gd name="T74" fmla="*/ 2147483647 w 133"/>
                <a:gd name="T75" fmla="*/ 2147483647 h 154"/>
                <a:gd name="T76" fmla="*/ 2147483647 w 133"/>
                <a:gd name="T77" fmla="*/ 2147483647 h 154"/>
                <a:gd name="T78" fmla="*/ 2147483647 w 133"/>
                <a:gd name="T79" fmla="*/ 2147483647 h 154"/>
                <a:gd name="T80" fmla="*/ 2147483647 w 133"/>
                <a:gd name="T81" fmla="*/ 2147483647 h 154"/>
                <a:gd name="T82" fmla="*/ 2147483647 w 133"/>
                <a:gd name="T83" fmla="*/ 2147483647 h 154"/>
                <a:gd name="T84" fmla="*/ 2147483647 w 133"/>
                <a:gd name="T85" fmla="*/ 2147483647 h 154"/>
                <a:gd name="T86" fmla="*/ 2147483647 w 133"/>
                <a:gd name="T87" fmla="*/ 2147483647 h 154"/>
                <a:gd name="T88" fmla="*/ 2147483647 w 133"/>
                <a:gd name="T89" fmla="*/ 2147483647 h 154"/>
                <a:gd name="T90" fmla="*/ 2147483647 w 133"/>
                <a:gd name="T91" fmla="*/ 2147483647 h 154"/>
                <a:gd name="T92" fmla="*/ 2147483647 w 133"/>
                <a:gd name="T93" fmla="*/ 2147483647 h 154"/>
                <a:gd name="T94" fmla="*/ 2147483647 w 133"/>
                <a:gd name="T95" fmla="*/ 2147483647 h 154"/>
                <a:gd name="T96" fmla="*/ 2147483647 w 133"/>
                <a:gd name="T97" fmla="*/ 2147483647 h 154"/>
                <a:gd name="T98" fmla="*/ 2147483647 w 133"/>
                <a:gd name="T99" fmla="*/ 2147483647 h 154"/>
                <a:gd name="T100" fmla="*/ 2147483647 w 133"/>
                <a:gd name="T101" fmla="*/ 2147483647 h 154"/>
                <a:gd name="T102" fmla="*/ 0 w 133"/>
                <a:gd name="T103" fmla="*/ 2147483647 h 154"/>
                <a:gd name="T104" fmla="*/ 0 w 133"/>
                <a:gd name="T105" fmla="*/ 2147483647 h 154"/>
                <a:gd name="T106" fmla="*/ 2147483647 w 133"/>
                <a:gd name="T107" fmla="*/ 2147483647 h 154"/>
                <a:gd name="T108" fmla="*/ 2147483647 w 133"/>
                <a:gd name="T109" fmla="*/ 2147483647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3"/>
                <a:gd name="T166" fmla="*/ 0 h 154"/>
                <a:gd name="T167" fmla="*/ 133 w 133"/>
                <a:gd name="T168" fmla="*/ 154 h 15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18" name="Freeform 485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7104063" y="2341563"/>
              <a:ext cx="209550" cy="244475"/>
            </a:xfrm>
            <a:custGeom>
              <a:avLst/>
              <a:gdLst>
                <a:gd name="T0" fmla="*/ 2147483647 w 485"/>
                <a:gd name="T1" fmla="*/ 2147483647 h 468"/>
                <a:gd name="T2" fmla="*/ 2147483647 w 485"/>
                <a:gd name="T3" fmla="*/ 2147483647 h 468"/>
                <a:gd name="T4" fmla="*/ 2147483647 w 485"/>
                <a:gd name="T5" fmla="*/ 2147483647 h 468"/>
                <a:gd name="T6" fmla="*/ 2147483647 w 485"/>
                <a:gd name="T7" fmla="*/ 2147483647 h 468"/>
                <a:gd name="T8" fmla="*/ 2147483647 w 485"/>
                <a:gd name="T9" fmla="*/ 2147483647 h 468"/>
                <a:gd name="T10" fmla="*/ 2147483647 w 485"/>
                <a:gd name="T11" fmla="*/ 2147483647 h 468"/>
                <a:gd name="T12" fmla="*/ 2147483647 w 485"/>
                <a:gd name="T13" fmla="*/ 2147483647 h 468"/>
                <a:gd name="T14" fmla="*/ 2147483647 w 485"/>
                <a:gd name="T15" fmla="*/ 2147483647 h 468"/>
                <a:gd name="T16" fmla="*/ 2147483647 w 485"/>
                <a:gd name="T17" fmla="*/ 2147483647 h 468"/>
                <a:gd name="T18" fmla="*/ 2147483647 w 485"/>
                <a:gd name="T19" fmla="*/ 2147483647 h 468"/>
                <a:gd name="T20" fmla="*/ 2147483647 w 485"/>
                <a:gd name="T21" fmla="*/ 2147483647 h 468"/>
                <a:gd name="T22" fmla="*/ 2147483647 w 485"/>
                <a:gd name="T23" fmla="*/ 2147483647 h 468"/>
                <a:gd name="T24" fmla="*/ 2147483647 w 485"/>
                <a:gd name="T25" fmla="*/ 2147483647 h 468"/>
                <a:gd name="T26" fmla="*/ 2147483647 w 485"/>
                <a:gd name="T27" fmla="*/ 2147483647 h 468"/>
                <a:gd name="T28" fmla="*/ 2147483647 w 485"/>
                <a:gd name="T29" fmla="*/ 2147483647 h 468"/>
                <a:gd name="T30" fmla="*/ 2147483647 w 485"/>
                <a:gd name="T31" fmla="*/ 2147483647 h 468"/>
                <a:gd name="T32" fmla="*/ 2147483647 w 485"/>
                <a:gd name="T33" fmla="*/ 2147483647 h 468"/>
                <a:gd name="T34" fmla="*/ 2147483647 w 485"/>
                <a:gd name="T35" fmla="*/ 2147483647 h 468"/>
                <a:gd name="T36" fmla="*/ 2147483647 w 485"/>
                <a:gd name="T37" fmla="*/ 2147483647 h 468"/>
                <a:gd name="T38" fmla="*/ 2147483647 w 485"/>
                <a:gd name="T39" fmla="*/ 2147483647 h 468"/>
                <a:gd name="T40" fmla="*/ 2147483647 w 485"/>
                <a:gd name="T41" fmla="*/ 2147483647 h 468"/>
                <a:gd name="T42" fmla="*/ 2147483647 w 485"/>
                <a:gd name="T43" fmla="*/ 2147483647 h 468"/>
                <a:gd name="T44" fmla="*/ 2147483647 w 485"/>
                <a:gd name="T45" fmla="*/ 2147483647 h 468"/>
                <a:gd name="T46" fmla="*/ 2147483647 w 485"/>
                <a:gd name="T47" fmla="*/ 2147483647 h 468"/>
                <a:gd name="T48" fmla="*/ 2147483647 w 485"/>
                <a:gd name="T49" fmla="*/ 2147483647 h 468"/>
                <a:gd name="T50" fmla="*/ 2147483647 w 485"/>
                <a:gd name="T51" fmla="*/ 2147483647 h 468"/>
                <a:gd name="T52" fmla="*/ 2147483647 w 485"/>
                <a:gd name="T53" fmla="*/ 2147483647 h 468"/>
                <a:gd name="T54" fmla="*/ 2147483647 w 485"/>
                <a:gd name="T55" fmla="*/ 2147483647 h 468"/>
                <a:gd name="T56" fmla="*/ 2147483647 w 485"/>
                <a:gd name="T57" fmla="*/ 2147483647 h 468"/>
                <a:gd name="T58" fmla="*/ 2147483647 w 485"/>
                <a:gd name="T59" fmla="*/ 2147483647 h 468"/>
                <a:gd name="T60" fmla="*/ 2147483647 w 485"/>
                <a:gd name="T61" fmla="*/ 2147483647 h 468"/>
                <a:gd name="T62" fmla="*/ 2147483647 w 485"/>
                <a:gd name="T63" fmla="*/ 2147483647 h 468"/>
                <a:gd name="T64" fmla="*/ 2147483647 w 485"/>
                <a:gd name="T65" fmla="*/ 2147483647 h 468"/>
                <a:gd name="T66" fmla="*/ 2147483647 w 485"/>
                <a:gd name="T67" fmla="*/ 2147483647 h 468"/>
                <a:gd name="T68" fmla="*/ 2147483647 w 485"/>
                <a:gd name="T69" fmla="*/ 2147483647 h 468"/>
                <a:gd name="T70" fmla="*/ 2147483647 w 485"/>
                <a:gd name="T71" fmla="*/ 2147483647 h 468"/>
                <a:gd name="T72" fmla="*/ 2147483647 w 485"/>
                <a:gd name="T73" fmla="*/ 2147483647 h 468"/>
                <a:gd name="T74" fmla="*/ 2147483647 w 485"/>
                <a:gd name="T75" fmla="*/ 2147483647 h 468"/>
                <a:gd name="T76" fmla="*/ 2147483647 w 485"/>
                <a:gd name="T77" fmla="*/ 2147483647 h 468"/>
                <a:gd name="T78" fmla="*/ 2147483647 w 485"/>
                <a:gd name="T79" fmla="*/ 2147483647 h 468"/>
                <a:gd name="T80" fmla="*/ 2147483647 w 485"/>
                <a:gd name="T81" fmla="*/ 2147483647 h 468"/>
                <a:gd name="T82" fmla="*/ 2147483647 w 485"/>
                <a:gd name="T83" fmla="*/ 2147483647 h 468"/>
                <a:gd name="T84" fmla="*/ 2147483647 w 485"/>
                <a:gd name="T85" fmla="*/ 2147483647 h 468"/>
                <a:gd name="T86" fmla="*/ 2147483647 w 485"/>
                <a:gd name="T87" fmla="*/ 2147483647 h 468"/>
                <a:gd name="T88" fmla="*/ 2147483647 w 485"/>
                <a:gd name="T89" fmla="*/ 2147483647 h 468"/>
                <a:gd name="T90" fmla="*/ 2147483647 w 485"/>
                <a:gd name="T91" fmla="*/ 2147483647 h 468"/>
                <a:gd name="T92" fmla="*/ 2147483647 w 485"/>
                <a:gd name="T93" fmla="*/ 2147483647 h 468"/>
                <a:gd name="T94" fmla="*/ 2147483647 w 485"/>
                <a:gd name="T95" fmla="*/ 2147483647 h 468"/>
                <a:gd name="T96" fmla="*/ 2147483647 w 485"/>
                <a:gd name="T97" fmla="*/ 2147483647 h 468"/>
                <a:gd name="T98" fmla="*/ 2147483647 w 485"/>
                <a:gd name="T99" fmla="*/ 2147483647 h 468"/>
                <a:gd name="T100" fmla="*/ 2147483647 w 485"/>
                <a:gd name="T101" fmla="*/ 2147483647 h 468"/>
                <a:gd name="T102" fmla="*/ 2147483647 w 485"/>
                <a:gd name="T103" fmla="*/ 2147483647 h 468"/>
                <a:gd name="T104" fmla="*/ 2147483647 w 485"/>
                <a:gd name="T105" fmla="*/ 2147483647 h 468"/>
                <a:gd name="T106" fmla="*/ 2147483647 w 485"/>
                <a:gd name="T107" fmla="*/ 2147483647 h 468"/>
                <a:gd name="T108" fmla="*/ 2147483647 w 485"/>
                <a:gd name="T109" fmla="*/ 2147483647 h 468"/>
                <a:gd name="T110" fmla="*/ 2147483647 w 485"/>
                <a:gd name="T111" fmla="*/ 2147483647 h 468"/>
                <a:gd name="T112" fmla="*/ 2147483647 w 485"/>
                <a:gd name="T113" fmla="*/ 2147483647 h 468"/>
                <a:gd name="T114" fmla="*/ 0 w 485"/>
                <a:gd name="T115" fmla="*/ 2147483647 h 468"/>
                <a:gd name="T116" fmla="*/ 2147483647 w 485"/>
                <a:gd name="T117" fmla="*/ 2147483647 h 468"/>
                <a:gd name="T118" fmla="*/ 2147483647 w 485"/>
                <a:gd name="T119" fmla="*/ 2147483647 h 468"/>
                <a:gd name="T120" fmla="*/ 2147483647 w 485"/>
                <a:gd name="T121" fmla="*/ 2147483647 h 468"/>
                <a:gd name="T122" fmla="*/ 2147483647 w 485"/>
                <a:gd name="T123" fmla="*/ 2147483647 h 468"/>
                <a:gd name="T124" fmla="*/ 2147483647 w 485"/>
                <a:gd name="T125" fmla="*/ 2147483647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85"/>
                <a:gd name="T190" fmla="*/ 0 h 468"/>
                <a:gd name="T191" fmla="*/ 485 w 485"/>
                <a:gd name="T192" fmla="*/ 468 h 46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19" name="Freeform 486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4687888" y="1231900"/>
              <a:ext cx="107950" cy="60325"/>
            </a:xfrm>
            <a:custGeom>
              <a:avLst/>
              <a:gdLst>
                <a:gd name="T0" fmla="*/ 2147483647 w 246"/>
                <a:gd name="T1" fmla="*/ 2147483647 h 42"/>
                <a:gd name="T2" fmla="*/ 2147483647 w 246"/>
                <a:gd name="T3" fmla="*/ 2147483647 h 42"/>
                <a:gd name="T4" fmla="*/ 2147483647 w 246"/>
                <a:gd name="T5" fmla="*/ 2147483647 h 42"/>
                <a:gd name="T6" fmla="*/ 2147483647 w 246"/>
                <a:gd name="T7" fmla="*/ 2147483647 h 42"/>
                <a:gd name="T8" fmla="*/ 2147483647 w 246"/>
                <a:gd name="T9" fmla="*/ 2147483647 h 42"/>
                <a:gd name="T10" fmla="*/ 2147483647 w 246"/>
                <a:gd name="T11" fmla="*/ 2147483647 h 42"/>
                <a:gd name="T12" fmla="*/ 2147483647 w 246"/>
                <a:gd name="T13" fmla="*/ 2147483647 h 42"/>
                <a:gd name="T14" fmla="*/ 2147483647 w 246"/>
                <a:gd name="T15" fmla="*/ 2147483647 h 42"/>
                <a:gd name="T16" fmla="*/ 2147483647 w 246"/>
                <a:gd name="T17" fmla="*/ 2147483647 h 42"/>
                <a:gd name="T18" fmla="*/ 2147483647 w 246"/>
                <a:gd name="T19" fmla="*/ 2147483647 h 42"/>
                <a:gd name="T20" fmla="*/ 2147483647 w 246"/>
                <a:gd name="T21" fmla="*/ 2147483647 h 42"/>
                <a:gd name="T22" fmla="*/ 2147483647 w 246"/>
                <a:gd name="T23" fmla="*/ 2147483647 h 42"/>
                <a:gd name="T24" fmla="*/ 2147483647 w 246"/>
                <a:gd name="T25" fmla="*/ 2147483647 h 42"/>
                <a:gd name="T26" fmla="*/ 2147483647 w 246"/>
                <a:gd name="T27" fmla="*/ 2147483647 h 42"/>
                <a:gd name="T28" fmla="*/ 2147483647 w 246"/>
                <a:gd name="T29" fmla="*/ 2147483647 h 42"/>
                <a:gd name="T30" fmla="*/ 2147483647 w 246"/>
                <a:gd name="T31" fmla="*/ 2147483647 h 42"/>
                <a:gd name="T32" fmla="*/ 2147483647 w 246"/>
                <a:gd name="T33" fmla="*/ 2147483647 h 42"/>
                <a:gd name="T34" fmla="*/ 2147483647 w 246"/>
                <a:gd name="T35" fmla="*/ 2147483647 h 42"/>
                <a:gd name="T36" fmla="*/ 2147483647 w 246"/>
                <a:gd name="T37" fmla="*/ 2147483647 h 42"/>
                <a:gd name="T38" fmla="*/ 2147483647 w 246"/>
                <a:gd name="T39" fmla="*/ 2147483647 h 42"/>
                <a:gd name="T40" fmla="*/ 2147483647 w 246"/>
                <a:gd name="T41" fmla="*/ 2147483647 h 42"/>
                <a:gd name="T42" fmla="*/ 2147483647 w 246"/>
                <a:gd name="T43" fmla="*/ 2147483647 h 42"/>
                <a:gd name="T44" fmla="*/ 2147483647 w 246"/>
                <a:gd name="T45" fmla="*/ 2147483647 h 42"/>
                <a:gd name="T46" fmla="*/ 2147483647 w 246"/>
                <a:gd name="T47" fmla="*/ 2147483647 h 42"/>
                <a:gd name="T48" fmla="*/ 2147483647 w 246"/>
                <a:gd name="T49" fmla="*/ 2147483647 h 42"/>
                <a:gd name="T50" fmla="*/ 2147483647 w 246"/>
                <a:gd name="T51" fmla="*/ 2147483647 h 42"/>
                <a:gd name="T52" fmla="*/ 2147483647 w 246"/>
                <a:gd name="T53" fmla="*/ 2147483647 h 42"/>
                <a:gd name="T54" fmla="*/ 2147483647 w 246"/>
                <a:gd name="T55" fmla="*/ 2147483647 h 42"/>
                <a:gd name="T56" fmla="*/ 2147483647 w 246"/>
                <a:gd name="T57" fmla="*/ 2147483647 h 42"/>
                <a:gd name="T58" fmla="*/ 2147483647 w 246"/>
                <a:gd name="T59" fmla="*/ 2147483647 h 42"/>
                <a:gd name="T60" fmla="*/ 2147483647 w 246"/>
                <a:gd name="T61" fmla="*/ 2147483647 h 42"/>
                <a:gd name="T62" fmla="*/ 2147483647 w 246"/>
                <a:gd name="T63" fmla="*/ 2147483647 h 42"/>
                <a:gd name="T64" fmla="*/ 2147483647 w 246"/>
                <a:gd name="T65" fmla="*/ 0 h 42"/>
                <a:gd name="T66" fmla="*/ 2147483647 w 246"/>
                <a:gd name="T67" fmla="*/ 2147483647 h 42"/>
                <a:gd name="T68" fmla="*/ 2147483647 w 246"/>
                <a:gd name="T69" fmla="*/ 2147483647 h 42"/>
                <a:gd name="T70" fmla="*/ 2147483647 w 246"/>
                <a:gd name="T71" fmla="*/ 2147483647 h 42"/>
                <a:gd name="T72" fmla="*/ 2147483647 w 246"/>
                <a:gd name="T73" fmla="*/ 2147483647 h 42"/>
                <a:gd name="T74" fmla="*/ 2147483647 w 246"/>
                <a:gd name="T75" fmla="*/ 2147483647 h 42"/>
                <a:gd name="T76" fmla="*/ 2147483647 w 246"/>
                <a:gd name="T77" fmla="*/ 2147483647 h 42"/>
                <a:gd name="T78" fmla="*/ 2147483647 w 246"/>
                <a:gd name="T79" fmla="*/ 2147483647 h 42"/>
                <a:gd name="T80" fmla="*/ 2147483647 w 246"/>
                <a:gd name="T81" fmla="*/ 2147483647 h 42"/>
                <a:gd name="T82" fmla="*/ 2147483647 w 246"/>
                <a:gd name="T83" fmla="*/ 2147483647 h 42"/>
                <a:gd name="T84" fmla="*/ 2147483647 w 246"/>
                <a:gd name="T85" fmla="*/ 2147483647 h 42"/>
                <a:gd name="T86" fmla="*/ 2147483647 w 246"/>
                <a:gd name="T87" fmla="*/ 2147483647 h 42"/>
                <a:gd name="T88" fmla="*/ 2147483647 w 246"/>
                <a:gd name="T89" fmla="*/ 2147483647 h 42"/>
                <a:gd name="T90" fmla="*/ 2147483647 w 246"/>
                <a:gd name="T91" fmla="*/ 2147483647 h 42"/>
                <a:gd name="T92" fmla="*/ 0 w 246"/>
                <a:gd name="T93" fmla="*/ 2147483647 h 42"/>
                <a:gd name="T94" fmla="*/ 2147483647 w 246"/>
                <a:gd name="T95" fmla="*/ 2147483647 h 42"/>
                <a:gd name="T96" fmla="*/ 2147483647 w 246"/>
                <a:gd name="T97" fmla="*/ 2147483647 h 42"/>
                <a:gd name="T98" fmla="*/ 2147483647 w 246"/>
                <a:gd name="T99" fmla="*/ 2147483647 h 42"/>
                <a:gd name="T100" fmla="*/ 2147483647 w 246"/>
                <a:gd name="T101" fmla="*/ 2147483647 h 42"/>
                <a:gd name="T102" fmla="*/ 2147483647 w 246"/>
                <a:gd name="T103" fmla="*/ 2147483647 h 42"/>
                <a:gd name="T104" fmla="*/ 2147483647 w 246"/>
                <a:gd name="T105" fmla="*/ 214748364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46"/>
                <a:gd name="T160" fmla="*/ 0 h 42"/>
                <a:gd name="T161" fmla="*/ 246 w 246"/>
                <a:gd name="T162" fmla="*/ 42 h 4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20" name="Freeform 487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4830763" y="1214438"/>
              <a:ext cx="63500" cy="57150"/>
            </a:xfrm>
            <a:custGeom>
              <a:avLst/>
              <a:gdLst>
                <a:gd name="T0" fmla="*/ 2147483647 w 149"/>
                <a:gd name="T1" fmla="*/ 0 h 61"/>
                <a:gd name="T2" fmla="*/ 2147483647 w 149"/>
                <a:gd name="T3" fmla="*/ 2147483647 h 61"/>
                <a:gd name="T4" fmla="*/ 2147483647 w 149"/>
                <a:gd name="T5" fmla="*/ 2147483647 h 61"/>
                <a:gd name="T6" fmla="*/ 2147483647 w 149"/>
                <a:gd name="T7" fmla="*/ 2147483647 h 61"/>
                <a:gd name="T8" fmla="*/ 2147483647 w 149"/>
                <a:gd name="T9" fmla="*/ 2147483647 h 61"/>
                <a:gd name="T10" fmla="*/ 2147483647 w 149"/>
                <a:gd name="T11" fmla="*/ 2147483647 h 61"/>
                <a:gd name="T12" fmla="*/ 2147483647 w 149"/>
                <a:gd name="T13" fmla="*/ 2147483647 h 61"/>
                <a:gd name="T14" fmla="*/ 2147483647 w 149"/>
                <a:gd name="T15" fmla="*/ 2147483647 h 61"/>
                <a:gd name="T16" fmla="*/ 2147483647 w 149"/>
                <a:gd name="T17" fmla="*/ 2147483647 h 61"/>
                <a:gd name="T18" fmla="*/ 2147483647 w 149"/>
                <a:gd name="T19" fmla="*/ 2147483647 h 61"/>
                <a:gd name="T20" fmla="*/ 2147483647 w 149"/>
                <a:gd name="T21" fmla="*/ 2147483647 h 61"/>
                <a:gd name="T22" fmla="*/ 2147483647 w 149"/>
                <a:gd name="T23" fmla="*/ 2147483647 h 61"/>
                <a:gd name="T24" fmla="*/ 2147483647 w 149"/>
                <a:gd name="T25" fmla="*/ 2147483647 h 61"/>
                <a:gd name="T26" fmla="*/ 2147483647 w 149"/>
                <a:gd name="T27" fmla="*/ 2147483647 h 61"/>
                <a:gd name="T28" fmla="*/ 2147483647 w 149"/>
                <a:gd name="T29" fmla="*/ 2147483647 h 61"/>
                <a:gd name="T30" fmla="*/ 2147483647 w 149"/>
                <a:gd name="T31" fmla="*/ 2147483647 h 61"/>
                <a:gd name="T32" fmla="*/ 2147483647 w 149"/>
                <a:gd name="T33" fmla="*/ 2147483647 h 61"/>
                <a:gd name="T34" fmla="*/ 2147483647 w 149"/>
                <a:gd name="T35" fmla="*/ 2147483647 h 61"/>
                <a:gd name="T36" fmla="*/ 2147483647 w 149"/>
                <a:gd name="T37" fmla="*/ 2147483647 h 61"/>
                <a:gd name="T38" fmla="*/ 2147483647 w 149"/>
                <a:gd name="T39" fmla="*/ 2147483647 h 61"/>
                <a:gd name="T40" fmla="*/ 2147483647 w 149"/>
                <a:gd name="T41" fmla="*/ 2147483647 h 61"/>
                <a:gd name="T42" fmla="*/ 2147483647 w 149"/>
                <a:gd name="T43" fmla="*/ 2147483647 h 61"/>
                <a:gd name="T44" fmla="*/ 2147483647 w 149"/>
                <a:gd name="T45" fmla="*/ 2147483647 h 61"/>
                <a:gd name="T46" fmla="*/ 2147483647 w 149"/>
                <a:gd name="T47" fmla="*/ 2147483647 h 61"/>
                <a:gd name="T48" fmla="*/ 2147483647 w 149"/>
                <a:gd name="T49" fmla="*/ 2147483647 h 61"/>
                <a:gd name="T50" fmla="*/ 2147483647 w 149"/>
                <a:gd name="T51" fmla="*/ 2147483647 h 61"/>
                <a:gd name="T52" fmla="*/ 2147483647 w 149"/>
                <a:gd name="T53" fmla="*/ 2147483647 h 61"/>
                <a:gd name="T54" fmla="*/ 2147483647 w 149"/>
                <a:gd name="T55" fmla="*/ 2147483647 h 61"/>
                <a:gd name="T56" fmla="*/ 2147483647 w 149"/>
                <a:gd name="T57" fmla="*/ 2147483647 h 61"/>
                <a:gd name="T58" fmla="*/ 2147483647 w 149"/>
                <a:gd name="T59" fmla="*/ 2147483647 h 61"/>
                <a:gd name="T60" fmla="*/ 2147483647 w 149"/>
                <a:gd name="T61" fmla="*/ 2147483647 h 61"/>
                <a:gd name="T62" fmla="*/ 2147483647 w 149"/>
                <a:gd name="T63" fmla="*/ 2147483647 h 61"/>
                <a:gd name="T64" fmla="*/ 0 w 149"/>
                <a:gd name="T65" fmla="*/ 2147483647 h 61"/>
                <a:gd name="T66" fmla="*/ 0 w 149"/>
                <a:gd name="T67" fmla="*/ 2147483647 h 61"/>
                <a:gd name="T68" fmla="*/ 2147483647 w 149"/>
                <a:gd name="T69" fmla="*/ 2147483647 h 61"/>
                <a:gd name="T70" fmla="*/ 2147483647 w 149"/>
                <a:gd name="T71" fmla="*/ 2147483647 h 61"/>
                <a:gd name="T72" fmla="*/ 2147483647 w 149"/>
                <a:gd name="T73" fmla="*/ 2147483647 h 61"/>
                <a:gd name="T74" fmla="*/ 2147483647 w 149"/>
                <a:gd name="T75" fmla="*/ 2147483647 h 61"/>
                <a:gd name="T76" fmla="*/ 2147483647 w 149"/>
                <a:gd name="T77" fmla="*/ 2147483647 h 61"/>
                <a:gd name="T78" fmla="*/ 2147483647 w 149"/>
                <a:gd name="T79" fmla="*/ 2147483647 h 61"/>
                <a:gd name="T80" fmla="*/ 2147483647 w 149"/>
                <a:gd name="T81" fmla="*/ 2147483647 h 61"/>
                <a:gd name="T82" fmla="*/ 2147483647 w 149"/>
                <a:gd name="T83" fmla="*/ 2147483647 h 61"/>
                <a:gd name="T84" fmla="*/ 2147483647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49"/>
                <a:gd name="T130" fmla="*/ 0 h 61"/>
                <a:gd name="T131" fmla="*/ 149 w 149"/>
                <a:gd name="T132" fmla="*/ 61 h 6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21" name="Freeform 488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4867275" y="1222375"/>
              <a:ext cx="130175" cy="57150"/>
            </a:xfrm>
            <a:custGeom>
              <a:avLst/>
              <a:gdLst>
                <a:gd name="T0" fmla="*/ 2147483647 w 299"/>
                <a:gd name="T1" fmla="*/ 2147483647 h 74"/>
                <a:gd name="T2" fmla="*/ 2147483647 w 299"/>
                <a:gd name="T3" fmla="*/ 2147483647 h 74"/>
                <a:gd name="T4" fmla="*/ 2147483647 w 299"/>
                <a:gd name="T5" fmla="*/ 2147483647 h 74"/>
                <a:gd name="T6" fmla="*/ 2147483647 w 299"/>
                <a:gd name="T7" fmla="*/ 2147483647 h 74"/>
                <a:gd name="T8" fmla="*/ 2147483647 w 299"/>
                <a:gd name="T9" fmla="*/ 2147483647 h 74"/>
                <a:gd name="T10" fmla="*/ 2147483647 w 299"/>
                <a:gd name="T11" fmla="*/ 2147483647 h 74"/>
                <a:gd name="T12" fmla="*/ 2147483647 w 299"/>
                <a:gd name="T13" fmla="*/ 2147483647 h 74"/>
                <a:gd name="T14" fmla="*/ 2147483647 w 299"/>
                <a:gd name="T15" fmla="*/ 2147483647 h 74"/>
                <a:gd name="T16" fmla="*/ 2147483647 w 299"/>
                <a:gd name="T17" fmla="*/ 2147483647 h 74"/>
                <a:gd name="T18" fmla="*/ 2147483647 w 299"/>
                <a:gd name="T19" fmla="*/ 2147483647 h 74"/>
                <a:gd name="T20" fmla="*/ 2147483647 w 299"/>
                <a:gd name="T21" fmla="*/ 2147483647 h 74"/>
                <a:gd name="T22" fmla="*/ 2147483647 w 299"/>
                <a:gd name="T23" fmla="*/ 2147483647 h 74"/>
                <a:gd name="T24" fmla="*/ 2147483647 w 299"/>
                <a:gd name="T25" fmla="*/ 2147483647 h 74"/>
                <a:gd name="T26" fmla="*/ 2147483647 w 299"/>
                <a:gd name="T27" fmla="*/ 2147483647 h 74"/>
                <a:gd name="T28" fmla="*/ 2147483647 w 299"/>
                <a:gd name="T29" fmla="*/ 2147483647 h 74"/>
                <a:gd name="T30" fmla="*/ 2147483647 w 299"/>
                <a:gd name="T31" fmla="*/ 2147483647 h 74"/>
                <a:gd name="T32" fmla="*/ 2147483647 w 299"/>
                <a:gd name="T33" fmla="*/ 2147483647 h 74"/>
                <a:gd name="T34" fmla="*/ 2147483647 w 299"/>
                <a:gd name="T35" fmla="*/ 2147483647 h 74"/>
                <a:gd name="T36" fmla="*/ 2147483647 w 299"/>
                <a:gd name="T37" fmla="*/ 2147483647 h 74"/>
                <a:gd name="T38" fmla="*/ 2147483647 w 299"/>
                <a:gd name="T39" fmla="*/ 2147483647 h 74"/>
                <a:gd name="T40" fmla="*/ 2147483647 w 299"/>
                <a:gd name="T41" fmla="*/ 2147483647 h 74"/>
                <a:gd name="T42" fmla="*/ 2147483647 w 299"/>
                <a:gd name="T43" fmla="*/ 2147483647 h 74"/>
                <a:gd name="T44" fmla="*/ 2147483647 w 299"/>
                <a:gd name="T45" fmla="*/ 0 h 74"/>
                <a:gd name="T46" fmla="*/ 2147483647 w 299"/>
                <a:gd name="T47" fmla="*/ 2147483647 h 74"/>
                <a:gd name="T48" fmla="*/ 2147483647 w 299"/>
                <a:gd name="T49" fmla="*/ 2147483647 h 74"/>
                <a:gd name="T50" fmla="*/ 2147483647 w 299"/>
                <a:gd name="T51" fmla="*/ 2147483647 h 74"/>
                <a:gd name="T52" fmla="*/ 2147483647 w 299"/>
                <a:gd name="T53" fmla="*/ 2147483647 h 74"/>
                <a:gd name="T54" fmla="*/ 2147483647 w 299"/>
                <a:gd name="T55" fmla="*/ 2147483647 h 74"/>
                <a:gd name="T56" fmla="*/ 2147483647 w 299"/>
                <a:gd name="T57" fmla="*/ 2147483647 h 74"/>
                <a:gd name="T58" fmla="*/ 2147483647 w 299"/>
                <a:gd name="T59" fmla="*/ 2147483647 h 74"/>
                <a:gd name="T60" fmla="*/ 2147483647 w 299"/>
                <a:gd name="T61" fmla="*/ 2147483647 h 74"/>
                <a:gd name="T62" fmla="*/ 2147483647 w 299"/>
                <a:gd name="T63" fmla="*/ 2147483647 h 74"/>
                <a:gd name="T64" fmla="*/ 2147483647 w 299"/>
                <a:gd name="T65" fmla="*/ 2147483647 h 74"/>
                <a:gd name="T66" fmla="*/ 2147483647 w 299"/>
                <a:gd name="T67" fmla="*/ 2147483647 h 74"/>
                <a:gd name="T68" fmla="*/ 2147483647 w 299"/>
                <a:gd name="T69" fmla="*/ 2147483647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99"/>
                <a:gd name="T106" fmla="*/ 0 h 74"/>
                <a:gd name="T107" fmla="*/ 299 w 299"/>
                <a:gd name="T108" fmla="*/ 74 h 7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22" name="Freeform 489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5400675" y="1408113"/>
              <a:ext cx="41275" cy="57150"/>
            </a:xfrm>
            <a:custGeom>
              <a:avLst/>
              <a:gdLst>
                <a:gd name="T0" fmla="*/ 2147483647 w 100"/>
                <a:gd name="T1" fmla="*/ 0 h 42"/>
                <a:gd name="T2" fmla="*/ 2147483647 w 100"/>
                <a:gd name="T3" fmla="*/ 2147483647 h 42"/>
                <a:gd name="T4" fmla="*/ 2147483647 w 100"/>
                <a:gd name="T5" fmla="*/ 2147483647 h 42"/>
                <a:gd name="T6" fmla="*/ 2147483647 w 100"/>
                <a:gd name="T7" fmla="*/ 2147483647 h 42"/>
                <a:gd name="T8" fmla="*/ 2147483647 w 100"/>
                <a:gd name="T9" fmla="*/ 2147483647 h 42"/>
                <a:gd name="T10" fmla="*/ 2147483647 w 100"/>
                <a:gd name="T11" fmla="*/ 2147483647 h 42"/>
                <a:gd name="T12" fmla="*/ 2147483647 w 100"/>
                <a:gd name="T13" fmla="*/ 2147483647 h 42"/>
                <a:gd name="T14" fmla="*/ 2147483647 w 100"/>
                <a:gd name="T15" fmla="*/ 2147483647 h 42"/>
                <a:gd name="T16" fmla="*/ 2147483647 w 100"/>
                <a:gd name="T17" fmla="*/ 2147483647 h 42"/>
                <a:gd name="T18" fmla="*/ 2147483647 w 100"/>
                <a:gd name="T19" fmla="*/ 2147483647 h 42"/>
                <a:gd name="T20" fmla="*/ 2147483647 w 100"/>
                <a:gd name="T21" fmla="*/ 2147483647 h 42"/>
                <a:gd name="T22" fmla="*/ 2147483647 w 100"/>
                <a:gd name="T23" fmla="*/ 2147483647 h 42"/>
                <a:gd name="T24" fmla="*/ 2147483647 w 100"/>
                <a:gd name="T25" fmla="*/ 2147483647 h 42"/>
                <a:gd name="T26" fmla="*/ 2147483647 w 100"/>
                <a:gd name="T27" fmla="*/ 2147483647 h 42"/>
                <a:gd name="T28" fmla="*/ 0 w 100"/>
                <a:gd name="T29" fmla="*/ 2147483647 h 42"/>
                <a:gd name="T30" fmla="*/ 2147483647 w 100"/>
                <a:gd name="T31" fmla="*/ 2147483647 h 42"/>
                <a:gd name="T32" fmla="*/ 2147483647 w 100"/>
                <a:gd name="T33" fmla="*/ 2147483647 h 42"/>
                <a:gd name="T34" fmla="*/ 2147483647 w 100"/>
                <a:gd name="T35" fmla="*/ 2147483647 h 42"/>
                <a:gd name="T36" fmla="*/ 2147483647 w 100"/>
                <a:gd name="T37" fmla="*/ 2147483647 h 42"/>
                <a:gd name="T38" fmla="*/ 2147483647 w 100"/>
                <a:gd name="T39" fmla="*/ 2147483647 h 42"/>
                <a:gd name="T40" fmla="*/ 2147483647 w 100"/>
                <a:gd name="T41" fmla="*/ 2147483647 h 42"/>
                <a:gd name="T42" fmla="*/ 2147483647 w 100"/>
                <a:gd name="T43" fmla="*/ 2147483647 h 42"/>
                <a:gd name="T44" fmla="*/ 2147483647 w 100"/>
                <a:gd name="T45" fmla="*/ 2147483647 h 42"/>
                <a:gd name="T46" fmla="*/ 2147483647 w 100"/>
                <a:gd name="T47" fmla="*/ 2147483647 h 42"/>
                <a:gd name="T48" fmla="*/ 2147483647 w 100"/>
                <a:gd name="T49" fmla="*/ 2147483647 h 42"/>
                <a:gd name="T50" fmla="*/ 2147483647 w 100"/>
                <a:gd name="T51" fmla="*/ 0 h 42"/>
                <a:gd name="T52" fmla="*/ 2147483647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00"/>
                <a:gd name="T82" fmla="*/ 0 h 42"/>
                <a:gd name="T83" fmla="*/ 100 w 100"/>
                <a:gd name="T84" fmla="*/ 42 h 42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23" name="Freeform 490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5310188" y="1266825"/>
              <a:ext cx="15875" cy="58738"/>
            </a:xfrm>
            <a:custGeom>
              <a:avLst/>
              <a:gdLst>
                <a:gd name="T0" fmla="*/ 2147483647 w 40"/>
                <a:gd name="T1" fmla="*/ 2147483647 h 5"/>
                <a:gd name="T2" fmla="*/ 0 w 40"/>
                <a:gd name="T3" fmla="*/ 2147483647 h 5"/>
                <a:gd name="T4" fmla="*/ 2147483647 w 40"/>
                <a:gd name="T5" fmla="*/ 2147483647 h 5"/>
                <a:gd name="T6" fmla="*/ 2147483647 w 40"/>
                <a:gd name="T7" fmla="*/ 2147483647 h 5"/>
                <a:gd name="T8" fmla="*/ 2147483647 w 40"/>
                <a:gd name="T9" fmla="*/ 0 h 5"/>
                <a:gd name="T10" fmla="*/ 2147483647 w 40"/>
                <a:gd name="T11" fmla="*/ 0 h 5"/>
                <a:gd name="T12" fmla="*/ 2147483647 w 40"/>
                <a:gd name="T13" fmla="*/ 0 h 5"/>
                <a:gd name="T14" fmla="*/ 2147483647 w 40"/>
                <a:gd name="T15" fmla="*/ 2147483647 h 5"/>
                <a:gd name="T16" fmla="*/ 2147483647 w 40"/>
                <a:gd name="T17" fmla="*/ 2147483647 h 5"/>
                <a:gd name="T18" fmla="*/ 2147483647 w 40"/>
                <a:gd name="T19" fmla="*/ 2147483647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5"/>
                <a:gd name="T32" fmla="*/ 40 w 40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24" name="Freeform 491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5332413" y="1225550"/>
              <a:ext cx="14287" cy="60325"/>
            </a:xfrm>
            <a:custGeom>
              <a:avLst/>
              <a:gdLst>
                <a:gd name="T0" fmla="*/ 0 w 33"/>
                <a:gd name="T1" fmla="*/ 2147483647 h 31"/>
                <a:gd name="T2" fmla="*/ 2147483647 w 33"/>
                <a:gd name="T3" fmla="*/ 0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0 w 33"/>
                <a:gd name="T17" fmla="*/ 2147483647 h 31"/>
                <a:gd name="T18" fmla="*/ 0 w 33"/>
                <a:gd name="T19" fmla="*/ 2147483647 h 31"/>
                <a:gd name="T20" fmla="*/ 0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31"/>
                <a:gd name="T35" fmla="*/ 33 w 33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25" name="Freeform 492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5476875" y="1341438"/>
              <a:ext cx="17463" cy="57150"/>
            </a:xfrm>
            <a:custGeom>
              <a:avLst/>
              <a:gdLst>
                <a:gd name="T0" fmla="*/ 2147483647 w 41"/>
                <a:gd name="T1" fmla="*/ 0 h 43"/>
                <a:gd name="T2" fmla="*/ 2147483647 w 41"/>
                <a:gd name="T3" fmla="*/ 2147483647 h 43"/>
                <a:gd name="T4" fmla="*/ 2147483647 w 41"/>
                <a:gd name="T5" fmla="*/ 2147483647 h 43"/>
                <a:gd name="T6" fmla="*/ 2147483647 w 41"/>
                <a:gd name="T7" fmla="*/ 2147483647 h 43"/>
                <a:gd name="T8" fmla="*/ 2147483647 w 41"/>
                <a:gd name="T9" fmla="*/ 2147483647 h 43"/>
                <a:gd name="T10" fmla="*/ 2147483647 w 41"/>
                <a:gd name="T11" fmla="*/ 2147483647 h 43"/>
                <a:gd name="T12" fmla="*/ 2147483647 w 41"/>
                <a:gd name="T13" fmla="*/ 2147483647 h 43"/>
                <a:gd name="T14" fmla="*/ 0 w 41"/>
                <a:gd name="T15" fmla="*/ 2147483647 h 43"/>
                <a:gd name="T16" fmla="*/ 2147483647 w 41"/>
                <a:gd name="T17" fmla="*/ 2147483647 h 43"/>
                <a:gd name="T18" fmla="*/ 2147483647 w 41"/>
                <a:gd name="T19" fmla="*/ 2147483647 h 43"/>
                <a:gd name="T20" fmla="*/ 2147483647 w 41"/>
                <a:gd name="T21" fmla="*/ 2147483647 h 43"/>
                <a:gd name="T22" fmla="*/ 2147483647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1"/>
                <a:gd name="T37" fmla="*/ 0 h 43"/>
                <a:gd name="T38" fmla="*/ 41 w 41"/>
                <a:gd name="T39" fmla="*/ 43 h 4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26" name="Freeform 493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5530850" y="1225550"/>
              <a:ext cx="93663" cy="60325"/>
            </a:xfrm>
            <a:custGeom>
              <a:avLst/>
              <a:gdLst>
                <a:gd name="T0" fmla="*/ 2147483647 w 213"/>
                <a:gd name="T1" fmla="*/ 0 h 62"/>
                <a:gd name="T2" fmla="*/ 2147483647 w 213"/>
                <a:gd name="T3" fmla="*/ 0 h 62"/>
                <a:gd name="T4" fmla="*/ 2147483647 w 213"/>
                <a:gd name="T5" fmla="*/ 2147483647 h 62"/>
                <a:gd name="T6" fmla="*/ 2147483647 w 213"/>
                <a:gd name="T7" fmla="*/ 2147483647 h 62"/>
                <a:gd name="T8" fmla="*/ 2147483647 w 213"/>
                <a:gd name="T9" fmla="*/ 2147483647 h 62"/>
                <a:gd name="T10" fmla="*/ 2147483647 w 213"/>
                <a:gd name="T11" fmla="*/ 2147483647 h 62"/>
                <a:gd name="T12" fmla="*/ 2147483647 w 213"/>
                <a:gd name="T13" fmla="*/ 2147483647 h 62"/>
                <a:gd name="T14" fmla="*/ 2147483647 w 213"/>
                <a:gd name="T15" fmla="*/ 2147483647 h 62"/>
                <a:gd name="T16" fmla="*/ 2147483647 w 213"/>
                <a:gd name="T17" fmla="*/ 2147483647 h 62"/>
                <a:gd name="T18" fmla="*/ 2147483647 w 213"/>
                <a:gd name="T19" fmla="*/ 2147483647 h 62"/>
                <a:gd name="T20" fmla="*/ 2147483647 w 213"/>
                <a:gd name="T21" fmla="*/ 2147483647 h 62"/>
                <a:gd name="T22" fmla="*/ 2147483647 w 213"/>
                <a:gd name="T23" fmla="*/ 2147483647 h 62"/>
                <a:gd name="T24" fmla="*/ 2147483647 w 213"/>
                <a:gd name="T25" fmla="*/ 2147483647 h 62"/>
                <a:gd name="T26" fmla="*/ 2147483647 w 213"/>
                <a:gd name="T27" fmla="*/ 2147483647 h 62"/>
                <a:gd name="T28" fmla="*/ 2147483647 w 213"/>
                <a:gd name="T29" fmla="*/ 2147483647 h 62"/>
                <a:gd name="T30" fmla="*/ 2147483647 w 213"/>
                <a:gd name="T31" fmla="*/ 2147483647 h 62"/>
                <a:gd name="T32" fmla="*/ 2147483647 w 213"/>
                <a:gd name="T33" fmla="*/ 2147483647 h 62"/>
                <a:gd name="T34" fmla="*/ 2147483647 w 213"/>
                <a:gd name="T35" fmla="*/ 2147483647 h 62"/>
                <a:gd name="T36" fmla="*/ 2147483647 w 213"/>
                <a:gd name="T37" fmla="*/ 2147483647 h 62"/>
                <a:gd name="T38" fmla="*/ 2147483647 w 213"/>
                <a:gd name="T39" fmla="*/ 2147483647 h 62"/>
                <a:gd name="T40" fmla="*/ 2147483647 w 213"/>
                <a:gd name="T41" fmla="*/ 2147483647 h 62"/>
                <a:gd name="T42" fmla="*/ 2147483647 w 213"/>
                <a:gd name="T43" fmla="*/ 2147483647 h 62"/>
                <a:gd name="T44" fmla="*/ 2147483647 w 213"/>
                <a:gd name="T45" fmla="*/ 2147483647 h 62"/>
                <a:gd name="T46" fmla="*/ 2147483647 w 213"/>
                <a:gd name="T47" fmla="*/ 2147483647 h 62"/>
                <a:gd name="T48" fmla="*/ 2147483647 w 213"/>
                <a:gd name="T49" fmla="*/ 2147483647 h 62"/>
                <a:gd name="T50" fmla="*/ 2147483647 w 213"/>
                <a:gd name="T51" fmla="*/ 2147483647 h 62"/>
                <a:gd name="T52" fmla="*/ 0 w 213"/>
                <a:gd name="T53" fmla="*/ 2147483647 h 62"/>
                <a:gd name="T54" fmla="*/ 2147483647 w 213"/>
                <a:gd name="T55" fmla="*/ 2147483647 h 62"/>
                <a:gd name="T56" fmla="*/ 2147483647 w 213"/>
                <a:gd name="T57" fmla="*/ 2147483647 h 62"/>
                <a:gd name="T58" fmla="*/ 2147483647 w 213"/>
                <a:gd name="T59" fmla="*/ 2147483647 h 62"/>
                <a:gd name="T60" fmla="*/ 2147483647 w 213"/>
                <a:gd name="T61" fmla="*/ 2147483647 h 62"/>
                <a:gd name="T62" fmla="*/ 2147483647 w 213"/>
                <a:gd name="T63" fmla="*/ 2147483647 h 62"/>
                <a:gd name="T64" fmla="*/ 2147483647 w 213"/>
                <a:gd name="T65" fmla="*/ 2147483647 h 62"/>
                <a:gd name="T66" fmla="*/ 2147483647 w 213"/>
                <a:gd name="T67" fmla="*/ 2147483647 h 62"/>
                <a:gd name="T68" fmla="*/ 2147483647 w 213"/>
                <a:gd name="T69" fmla="*/ 2147483647 h 62"/>
                <a:gd name="T70" fmla="*/ 2147483647 w 213"/>
                <a:gd name="T71" fmla="*/ 2147483647 h 62"/>
                <a:gd name="T72" fmla="*/ 2147483647 w 213"/>
                <a:gd name="T73" fmla="*/ 2147483647 h 62"/>
                <a:gd name="T74" fmla="*/ 2147483647 w 213"/>
                <a:gd name="T75" fmla="*/ 0 h 62"/>
                <a:gd name="T76" fmla="*/ 2147483647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13"/>
                <a:gd name="T118" fmla="*/ 0 h 62"/>
                <a:gd name="T119" fmla="*/ 213 w 213"/>
                <a:gd name="T120" fmla="*/ 62 h 6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27" name="Freeform 494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5591175" y="1250950"/>
              <a:ext cx="103188" cy="60325"/>
            </a:xfrm>
            <a:custGeom>
              <a:avLst/>
              <a:gdLst>
                <a:gd name="T0" fmla="*/ 2147483647 w 239"/>
                <a:gd name="T1" fmla="*/ 0 h 56"/>
                <a:gd name="T2" fmla="*/ 2147483647 w 239"/>
                <a:gd name="T3" fmla="*/ 2147483647 h 56"/>
                <a:gd name="T4" fmla="*/ 2147483647 w 239"/>
                <a:gd name="T5" fmla="*/ 2147483647 h 56"/>
                <a:gd name="T6" fmla="*/ 2147483647 w 239"/>
                <a:gd name="T7" fmla="*/ 2147483647 h 56"/>
                <a:gd name="T8" fmla="*/ 2147483647 w 239"/>
                <a:gd name="T9" fmla="*/ 2147483647 h 56"/>
                <a:gd name="T10" fmla="*/ 2147483647 w 239"/>
                <a:gd name="T11" fmla="*/ 2147483647 h 56"/>
                <a:gd name="T12" fmla="*/ 2147483647 w 239"/>
                <a:gd name="T13" fmla="*/ 2147483647 h 56"/>
                <a:gd name="T14" fmla="*/ 2147483647 w 239"/>
                <a:gd name="T15" fmla="*/ 2147483647 h 56"/>
                <a:gd name="T16" fmla="*/ 0 w 239"/>
                <a:gd name="T17" fmla="*/ 2147483647 h 56"/>
                <a:gd name="T18" fmla="*/ 2147483647 w 239"/>
                <a:gd name="T19" fmla="*/ 2147483647 h 56"/>
                <a:gd name="T20" fmla="*/ 2147483647 w 239"/>
                <a:gd name="T21" fmla="*/ 2147483647 h 56"/>
                <a:gd name="T22" fmla="*/ 2147483647 w 239"/>
                <a:gd name="T23" fmla="*/ 2147483647 h 56"/>
                <a:gd name="T24" fmla="*/ 2147483647 w 239"/>
                <a:gd name="T25" fmla="*/ 2147483647 h 56"/>
                <a:gd name="T26" fmla="*/ 2147483647 w 239"/>
                <a:gd name="T27" fmla="*/ 2147483647 h 56"/>
                <a:gd name="T28" fmla="*/ 2147483647 w 239"/>
                <a:gd name="T29" fmla="*/ 2147483647 h 56"/>
                <a:gd name="T30" fmla="*/ 2147483647 w 239"/>
                <a:gd name="T31" fmla="*/ 2147483647 h 56"/>
                <a:gd name="T32" fmla="*/ 2147483647 w 239"/>
                <a:gd name="T33" fmla="*/ 2147483647 h 56"/>
                <a:gd name="T34" fmla="*/ 2147483647 w 239"/>
                <a:gd name="T35" fmla="*/ 2147483647 h 56"/>
                <a:gd name="T36" fmla="*/ 2147483647 w 239"/>
                <a:gd name="T37" fmla="*/ 2147483647 h 56"/>
                <a:gd name="T38" fmla="*/ 2147483647 w 239"/>
                <a:gd name="T39" fmla="*/ 2147483647 h 56"/>
                <a:gd name="T40" fmla="*/ 2147483647 w 239"/>
                <a:gd name="T41" fmla="*/ 2147483647 h 56"/>
                <a:gd name="T42" fmla="*/ 2147483647 w 239"/>
                <a:gd name="T43" fmla="*/ 2147483647 h 56"/>
                <a:gd name="T44" fmla="*/ 2147483647 w 239"/>
                <a:gd name="T45" fmla="*/ 2147483647 h 56"/>
                <a:gd name="T46" fmla="*/ 2147483647 w 239"/>
                <a:gd name="T47" fmla="*/ 2147483647 h 56"/>
                <a:gd name="T48" fmla="*/ 2147483647 w 239"/>
                <a:gd name="T49" fmla="*/ 2147483647 h 56"/>
                <a:gd name="T50" fmla="*/ 2147483647 w 239"/>
                <a:gd name="T51" fmla="*/ 2147483647 h 56"/>
                <a:gd name="T52" fmla="*/ 2147483647 w 239"/>
                <a:gd name="T53" fmla="*/ 2147483647 h 56"/>
                <a:gd name="T54" fmla="*/ 2147483647 w 239"/>
                <a:gd name="T55" fmla="*/ 2147483647 h 56"/>
                <a:gd name="T56" fmla="*/ 2147483647 w 239"/>
                <a:gd name="T57" fmla="*/ 2147483647 h 56"/>
                <a:gd name="T58" fmla="*/ 2147483647 w 239"/>
                <a:gd name="T59" fmla="*/ 2147483647 h 56"/>
                <a:gd name="T60" fmla="*/ 2147483647 w 239"/>
                <a:gd name="T61" fmla="*/ 2147483647 h 56"/>
                <a:gd name="T62" fmla="*/ 2147483647 w 239"/>
                <a:gd name="T63" fmla="*/ 2147483647 h 56"/>
                <a:gd name="T64" fmla="*/ 2147483647 w 239"/>
                <a:gd name="T65" fmla="*/ 2147483647 h 56"/>
                <a:gd name="T66" fmla="*/ 2147483647 w 239"/>
                <a:gd name="T67" fmla="*/ 2147483647 h 56"/>
                <a:gd name="T68" fmla="*/ 2147483647 w 239"/>
                <a:gd name="T69" fmla="*/ 2147483647 h 56"/>
                <a:gd name="T70" fmla="*/ 2147483647 w 239"/>
                <a:gd name="T71" fmla="*/ 2147483647 h 56"/>
                <a:gd name="T72" fmla="*/ 2147483647 w 239"/>
                <a:gd name="T73" fmla="*/ 2147483647 h 56"/>
                <a:gd name="T74" fmla="*/ 2147483647 w 239"/>
                <a:gd name="T75" fmla="*/ 2147483647 h 56"/>
                <a:gd name="T76" fmla="*/ 2147483647 w 239"/>
                <a:gd name="T77" fmla="*/ 2147483647 h 56"/>
                <a:gd name="T78" fmla="*/ 2147483647 w 239"/>
                <a:gd name="T79" fmla="*/ 2147483647 h 56"/>
                <a:gd name="T80" fmla="*/ 2147483647 w 239"/>
                <a:gd name="T81" fmla="*/ 2147483647 h 56"/>
                <a:gd name="T82" fmla="*/ 2147483647 w 239"/>
                <a:gd name="T83" fmla="*/ 2147483647 h 56"/>
                <a:gd name="T84" fmla="*/ 2147483647 w 239"/>
                <a:gd name="T85" fmla="*/ 2147483647 h 56"/>
                <a:gd name="T86" fmla="*/ 2147483647 w 239"/>
                <a:gd name="T87" fmla="*/ 0 h 56"/>
                <a:gd name="T88" fmla="*/ 2147483647 w 239"/>
                <a:gd name="T89" fmla="*/ 2147483647 h 56"/>
                <a:gd name="T90" fmla="*/ 2147483647 w 239"/>
                <a:gd name="T91" fmla="*/ 2147483647 h 56"/>
                <a:gd name="T92" fmla="*/ 2147483647 w 239"/>
                <a:gd name="T93" fmla="*/ 2147483647 h 56"/>
                <a:gd name="T94" fmla="*/ 2147483647 w 239"/>
                <a:gd name="T95" fmla="*/ 2147483647 h 56"/>
                <a:gd name="T96" fmla="*/ 2147483647 w 239"/>
                <a:gd name="T97" fmla="*/ 2147483647 h 56"/>
                <a:gd name="T98" fmla="*/ 2147483647 w 239"/>
                <a:gd name="T99" fmla="*/ 2147483647 h 56"/>
                <a:gd name="T100" fmla="*/ 2147483647 w 239"/>
                <a:gd name="T101" fmla="*/ 2147483647 h 56"/>
                <a:gd name="T102" fmla="*/ 2147483647 w 239"/>
                <a:gd name="T103" fmla="*/ 2147483647 h 56"/>
                <a:gd name="T104" fmla="*/ 2147483647 w 239"/>
                <a:gd name="T105" fmla="*/ 2147483647 h 56"/>
                <a:gd name="T106" fmla="*/ 2147483647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39"/>
                <a:gd name="T163" fmla="*/ 0 h 56"/>
                <a:gd name="T164" fmla="*/ 239 w 239"/>
                <a:gd name="T165" fmla="*/ 56 h 5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28" name="Freeform 495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5708650" y="1265238"/>
              <a:ext cx="82550" cy="57150"/>
            </a:xfrm>
            <a:custGeom>
              <a:avLst/>
              <a:gdLst>
                <a:gd name="T0" fmla="*/ 2147483647 w 187"/>
                <a:gd name="T1" fmla="*/ 2147483647 h 80"/>
                <a:gd name="T2" fmla="*/ 2147483647 w 187"/>
                <a:gd name="T3" fmla="*/ 0 h 80"/>
                <a:gd name="T4" fmla="*/ 2147483647 w 187"/>
                <a:gd name="T5" fmla="*/ 2147483647 h 80"/>
                <a:gd name="T6" fmla="*/ 2147483647 w 187"/>
                <a:gd name="T7" fmla="*/ 2147483647 h 80"/>
                <a:gd name="T8" fmla="*/ 2147483647 w 187"/>
                <a:gd name="T9" fmla="*/ 2147483647 h 80"/>
                <a:gd name="T10" fmla="*/ 2147483647 w 187"/>
                <a:gd name="T11" fmla="*/ 2147483647 h 80"/>
                <a:gd name="T12" fmla="*/ 2147483647 w 187"/>
                <a:gd name="T13" fmla="*/ 2147483647 h 80"/>
                <a:gd name="T14" fmla="*/ 2147483647 w 187"/>
                <a:gd name="T15" fmla="*/ 2147483647 h 80"/>
                <a:gd name="T16" fmla="*/ 2147483647 w 187"/>
                <a:gd name="T17" fmla="*/ 2147483647 h 80"/>
                <a:gd name="T18" fmla="*/ 2147483647 w 187"/>
                <a:gd name="T19" fmla="*/ 2147483647 h 80"/>
                <a:gd name="T20" fmla="*/ 2147483647 w 187"/>
                <a:gd name="T21" fmla="*/ 2147483647 h 80"/>
                <a:gd name="T22" fmla="*/ 2147483647 w 187"/>
                <a:gd name="T23" fmla="*/ 2147483647 h 80"/>
                <a:gd name="T24" fmla="*/ 2147483647 w 187"/>
                <a:gd name="T25" fmla="*/ 2147483647 h 80"/>
                <a:gd name="T26" fmla="*/ 2147483647 w 187"/>
                <a:gd name="T27" fmla="*/ 2147483647 h 80"/>
                <a:gd name="T28" fmla="*/ 2147483647 w 187"/>
                <a:gd name="T29" fmla="*/ 2147483647 h 80"/>
                <a:gd name="T30" fmla="*/ 2147483647 w 187"/>
                <a:gd name="T31" fmla="*/ 2147483647 h 80"/>
                <a:gd name="T32" fmla="*/ 2147483647 w 187"/>
                <a:gd name="T33" fmla="*/ 2147483647 h 80"/>
                <a:gd name="T34" fmla="*/ 2147483647 w 187"/>
                <a:gd name="T35" fmla="*/ 2147483647 h 80"/>
                <a:gd name="T36" fmla="*/ 2147483647 w 187"/>
                <a:gd name="T37" fmla="*/ 2147483647 h 80"/>
                <a:gd name="T38" fmla="*/ 2147483647 w 187"/>
                <a:gd name="T39" fmla="*/ 2147483647 h 80"/>
                <a:gd name="T40" fmla="*/ 2147483647 w 187"/>
                <a:gd name="T41" fmla="*/ 2147483647 h 80"/>
                <a:gd name="T42" fmla="*/ 2147483647 w 187"/>
                <a:gd name="T43" fmla="*/ 2147483647 h 80"/>
                <a:gd name="T44" fmla="*/ 2147483647 w 187"/>
                <a:gd name="T45" fmla="*/ 2147483647 h 80"/>
                <a:gd name="T46" fmla="*/ 2147483647 w 187"/>
                <a:gd name="T47" fmla="*/ 2147483647 h 80"/>
                <a:gd name="T48" fmla="*/ 2147483647 w 187"/>
                <a:gd name="T49" fmla="*/ 2147483647 h 80"/>
                <a:gd name="T50" fmla="*/ 2147483647 w 187"/>
                <a:gd name="T51" fmla="*/ 2147483647 h 80"/>
                <a:gd name="T52" fmla="*/ 2147483647 w 187"/>
                <a:gd name="T53" fmla="*/ 2147483647 h 80"/>
                <a:gd name="T54" fmla="*/ 2147483647 w 187"/>
                <a:gd name="T55" fmla="*/ 2147483647 h 80"/>
                <a:gd name="T56" fmla="*/ 2147483647 w 187"/>
                <a:gd name="T57" fmla="*/ 2147483647 h 80"/>
                <a:gd name="T58" fmla="*/ 2147483647 w 187"/>
                <a:gd name="T59" fmla="*/ 2147483647 h 80"/>
                <a:gd name="T60" fmla="*/ 2147483647 w 187"/>
                <a:gd name="T61" fmla="*/ 2147483647 h 80"/>
                <a:gd name="T62" fmla="*/ 2147483647 w 187"/>
                <a:gd name="T63" fmla="*/ 2147483647 h 80"/>
                <a:gd name="T64" fmla="*/ 2147483647 w 187"/>
                <a:gd name="T65" fmla="*/ 2147483647 h 80"/>
                <a:gd name="T66" fmla="*/ 0 w 187"/>
                <a:gd name="T67" fmla="*/ 2147483647 h 80"/>
                <a:gd name="T68" fmla="*/ 2147483647 w 187"/>
                <a:gd name="T69" fmla="*/ 2147483647 h 80"/>
                <a:gd name="T70" fmla="*/ 2147483647 w 187"/>
                <a:gd name="T71" fmla="*/ 2147483647 h 80"/>
                <a:gd name="T72" fmla="*/ 2147483647 w 187"/>
                <a:gd name="T73" fmla="*/ 2147483647 h 80"/>
                <a:gd name="T74" fmla="*/ 2147483647 w 187"/>
                <a:gd name="T75" fmla="*/ 2147483647 h 80"/>
                <a:gd name="T76" fmla="*/ 2147483647 w 187"/>
                <a:gd name="T77" fmla="*/ 2147483647 h 80"/>
                <a:gd name="T78" fmla="*/ 2147483647 w 187"/>
                <a:gd name="T79" fmla="*/ 2147483647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87"/>
                <a:gd name="T121" fmla="*/ 0 h 80"/>
                <a:gd name="T122" fmla="*/ 187 w 187"/>
                <a:gd name="T123" fmla="*/ 80 h 8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29" name="Freeform 496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6235700" y="1390650"/>
              <a:ext cx="79375" cy="58738"/>
            </a:xfrm>
            <a:custGeom>
              <a:avLst/>
              <a:gdLst>
                <a:gd name="T0" fmla="*/ 2147483647 w 183"/>
                <a:gd name="T1" fmla="*/ 0 h 73"/>
                <a:gd name="T2" fmla="*/ 2147483647 w 183"/>
                <a:gd name="T3" fmla="*/ 0 h 73"/>
                <a:gd name="T4" fmla="*/ 2147483647 w 183"/>
                <a:gd name="T5" fmla="*/ 2147483647 h 73"/>
                <a:gd name="T6" fmla="*/ 2147483647 w 183"/>
                <a:gd name="T7" fmla="*/ 2147483647 h 73"/>
                <a:gd name="T8" fmla="*/ 2147483647 w 183"/>
                <a:gd name="T9" fmla="*/ 2147483647 h 73"/>
                <a:gd name="T10" fmla="*/ 2147483647 w 183"/>
                <a:gd name="T11" fmla="*/ 2147483647 h 73"/>
                <a:gd name="T12" fmla="*/ 2147483647 w 183"/>
                <a:gd name="T13" fmla="*/ 2147483647 h 73"/>
                <a:gd name="T14" fmla="*/ 2147483647 w 183"/>
                <a:gd name="T15" fmla="*/ 2147483647 h 73"/>
                <a:gd name="T16" fmla="*/ 2147483647 w 183"/>
                <a:gd name="T17" fmla="*/ 2147483647 h 73"/>
                <a:gd name="T18" fmla="*/ 2147483647 w 183"/>
                <a:gd name="T19" fmla="*/ 2147483647 h 73"/>
                <a:gd name="T20" fmla="*/ 2147483647 w 183"/>
                <a:gd name="T21" fmla="*/ 2147483647 h 73"/>
                <a:gd name="T22" fmla="*/ 2147483647 w 183"/>
                <a:gd name="T23" fmla="*/ 2147483647 h 73"/>
                <a:gd name="T24" fmla="*/ 2147483647 w 183"/>
                <a:gd name="T25" fmla="*/ 2147483647 h 73"/>
                <a:gd name="T26" fmla="*/ 2147483647 w 183"/>
                <a:gd name="T27" fmla="*/ 2147483647 h 73"/>
                <a:gd name="T28" fmla="*/ 2147483647 w 183"/>
                <a:gd name="T29" fmla="*/ 2147483647 h 73"/>
                <a:gd name="T30" fmla="*/ 2147483647 w 183"/>
                <a:gd name="T31" fmla="*/ 2147483647 h 73"/>
                <a:gd name="T32" fmla="*/ 2147483647 w 183"/>
                <a:gd name="T33" fmla="*/ 2147483647 h 73"/>
                <a:gd name="T34" fmla="*/ 2147483647 w 183"/>
                <a:gd name="T35" fmla="*/ 2147483647 h 73"/>
                <a:gd name="T36" fmla="*/ 2147483647 w 183"/>
                <a:gd name="T37" fmla="*/ 2147483647 h 73"/>
                <a:gd name="T38" fmla="*/ 2147483647 w 183"/>
                <a:gd name="T39" fmla="*/ 2147483647 h 73"/>
                <a:gd name="T40" fmla="*/ 2147483647 w 183"/>
                <a:gd name="T41" fmla="*/ 2147483647 h 73"/>
                <a:gd name="T42" fmla="*/ 2147483647 w 183"/>
                <a:gd name="T43" fmla="*/ 2147483647 h 73"/>
                <a:gd name="T44" fmla="*/ 2147483647 w 183"/>
                <a:gd name="T45" fmla="*/ 2147483647 h 73"/>
                <a:gd name="T46" fmla="*/ 2147483647 w 183"/>
                <a:gd name="T47" fmla="*/ 2147483647 h 73"/>
                <a:gd name="T48" fmla="*/ 2147483647 w 183"/>
                <a:gd name="T49" fmla="*/ 2147483647 h 73"/>
                <a:gd name="T50" fmla="*/ 0 w 183"/>
                <a:gd name="T51" fmla="*/ 2147483647 h 73"/>
                <a:gd name="T52" fmla="*/ 2147483647 w 183"/>
                <a:gd name="T53" fmla="*/ 2147483647 h 73"/>
                <a:gd name="T54" fmla="*/ 2147483647 w 183"/>
                <a:gd name="T55" fmla="*/ 2147483647 h 73"/>
                <a:gd name="T56" fmla="*/ 2147483647 w 183"/>
                <a:gd name="T57" fmla="*/ 2147483647 h 73"/>
                <a:gd name="T58" fmla="*/ 2147483647 w 183"/>
                <a:gd name="T59" fmla="*/ 2147483647 h 73"/>
                <a:gd name="T60" fmla="*/ 2147483647 w 183"/>
                <a:gd name="T61" fmla="*/ 2147483647 h 73"/>
                <a:gd name="T62" fmla="*/ 2147483647 w 183"/>
                <a:gd name="T63" fmla="*/ 0 h 73"/>
                <a:gd name="T64" fmla="*/ 2147483647 w 183"/>
                <a:gd name="T65" fmla="*/ 0 h 73"/>
                <a:gd name="T66" fmla="*/ 214748364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83"/>
                <a:gd name="T103" fmla="*/ 0 h 73"/>
                <a:gd name="T104" fmla="*/ 183 w 183"/>
                <a:gd name="T105" fmla="*/ 73 h 7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30" name="Freeform 497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6302375" y="1408113"/>
              <a:ext cx="33338" cy="57150"/>
            </a:xfrm>
            <a:custGeom>
              <a:avLst/>
              <a:gdLst>
                <a:gd name="T0" fmla="*/ 0 w 79"/>
                <a:gd name="T1" fmla="*/ 2147483647 h 42"/>
                <a:gd name="T2" fmla="*/ 2147483647 w 79"/>
                <a:gd name="T3" fmla="*/ 2147483647 h 42"/>
                <a:gd name="T4" fmla="*/ 2147483647 w 79"/>
                <a:gd name="T5" fmla="*/ 2147483647 h 42"/>
                <a:gd name="T6" fmla="*/ 2147483647 w 79"/>
                <a:gd name="T7" fmla="*/ 0 h 42"/>
                <a:gd name="T8" fmla="*/ 2147483647 w 79"/>
                <a:gd name="T9" fmla="*/ 0 h 42"/>
                <a:gd name="T10" fmla="*/ 2147483647 w 79"/>
                <a:gd name="T11" fmla="*/ 2147483647 h 42"/>
                <a:gd name="T12" fmla="*/ 2147483647 w 79"/>
                <a:gd name="T13" fmla="*/ 2147483647 h 42"/>
                <a:gd name="T14" fmla="*/ 2147483647 w 79"/>
                <a:gd name="T15" fmla="*/ 2147483647 h 42"/>
                <a:gd name="T16" fmla="*/ 2147483647 w 79"/>
                <a:gd name="T17" fmla="*/ 2147483647 h 42"/>
                <a:gd name="T18" fmla="*/ 2147483647 w 79"/>
                <a:gd name="T19" fmla="*/ 2147483647 h 42"/>
                <a:gd name="T20" fmla="*/ 2147483647 w 79"/>
                <a:gd name="T21" fmla="*/ 2147483647 h 42"/>
                <a:gd name="T22" fmla="*/ 2147483647 w 79"/>
                <a:gd name="T23" fmla="*/ 2147483647 h 42"/>
                <a:gd name="T24" fmla="*/ 2147483647 w 79"/>
                <a:gd name="T25" fmla="*/ 2147483647 h 42"/>
                <a:gd name="T26" fmla="*/ 2147483647 w 79"/>
                <a:gd name="T27" fmla="*/ 2147483647 h 42"/>
                <a:gd name="T28" fmla="*/ 2147483647 w 79"/>
                <a:gd name="T29" fmla="*/ 2147483647 h 42"/>
                <a:gd name="T30" fmla="*/ 2147483647 w 79"/>
                <a:gd name="T31" fmla="*/ 2147483647 h 42"/>
                <a:gd name="T32" fmla="*/ 2147483647 w 79"/>
                <a:gd name="T33" fmla="*/ 2147483647 h 42"/>
                <a:gd name="T34" fmla="*/ 2147483647 w 79"/>
                <a:gd name="T35" fmla="*/ 2147483647 h 42"/>
                <a:gd name="T36" fmla="*/ 2147483647 w 79"/>
                <a:gd name="T37" fmla="*/ 2147483647 h 42"/>
                <a:gd name="T38" fmla="*/ 2147483647 w 79"/>
                <a:gd name="T39" fmla="*/ 2147483647 h 42"/>
                <a:gd name="T40" fmla="*/ 2147483647 w 79"/>
                <a:gd name="T41" fmla="*/ 2147483647 h 42"/>
                <a:gd name="T42" fmla="*/ 2147483647 w 79"/>
                <a:gd name="T43" fmla="*/ 2147483647 h 42"/>
                <a:gd name="T44" fmla="*/ 2147483647 w 79"/>
                <a:gd name="T45" fmla="*/ 2147483647 h 42"/>
                <a:gd name="T46" fmla="*/ 0 w 79"/>
                <a:gd name="T47" fmla="*/ 2147483647 h 42"/>
                <a:gd name="T48" fmla="*/ 0 w 79"/>
                <a:gd name="T49" fmla="*/ 2147483647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9"/>
                <a:gd name="T76" fmla="*/ 0 h 42"/>
                <a:gd name="T77" fmla="*/ 79 w 79"/>
                <a:gd name="T78" fmla="*/ 42 h 4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31" name="Freeform 498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6332538" y="1419225"/>
              <a:ext cx="52387" cy="58738"/>
            </a:xfrm>
            <a:custGeom>
              <a:avLst/>
              <a:gdLst>
                <a:gd name="T0" fmla="*/ 2147483647 w 113"/>
                <a:gd name="T1" fmla="*/ 2147483647 h 52"/>
                <a:gd name="T2" fmla="*/ 2147483647 w 113"/>
                <a:gd name="T3" fmla="*/ 2147483647 h 52"/>
                <a:gd name="T4" fmla="*/ 2147483647 w 113"/>
                <a:gd name="T5" fmla="*/ 2147483647 h 52"/>
                <a:gd name="T6" fmla="*/ 2147483647 w 113"/>
                <a:gd name="T7" fmla="*/ 2147483647 h 52"/>
                <a:gd name="T8" fmla="*/ 2147483647 w 113"/>
                <a:gd name="T9" fmla="*/ 2147483647 h 52"/>
                <a:gd name="T10" fmla="*/ 2147483647 w 113"/>
                <a:gd name="T11" fmla="*/ 2147483647 h 52"/>
                <a:gd name="T12" fmla="*/ 2147483647 w 113"/>
                <a:gd name="T13" fmla="*/ 2147483647 h 52"/>
                <a:gd name="T14" fmla="*/ 2147483647 w 113"/>
                <a:gd name="T15" fmla="*/ 2147483647 h 52"/>
                <a:gd name="T16" fmla="*/ 2147483647 w 113"/>
                <a:gd name="T17" fmla="*/ 2147483647 h 52"/>
                <a:gd name="T18" fmla="*/ 2147483647 w 113"/>
                <a:gd name="T19" fmla="*/ 2147483647 h 52"/>
                <a:gd name="T20" fmla="*/ 2147483647 w 113"/>
                <a:gd name="T21" fmla="*/ 2147483647 h 52"/>
                <a:gd name="T22" fmla="*/ 2147483647 w 113"/>
                <a:gd name="T23" fmla="*/ 2147483647 h 52"/>
                <a:gd name="T24" fmla="*/ 2147483647 w 113"/>
                <a:gd name="T25" fmla="*/ 2147483647 h 52"/>
                <a:gd name="T26" fmla="*/ 2147483647 w 113"/>
                <a:gd name="T27" fmla="*/ 2147483647 h 52"/>
                <a:gd name="T28" fmla="*/ 2147483647 w 113"/>
                <a:gd name="T29" fmla="*/ 2147483647 h 52"/>
                <a:gd name="T30" fmla="*/ 2147483647 w 113"/>
                <a:gd name="T31" fmla="*/ 2147483647 h 52"/>
                <a:gd name="T32" fmla="*/ 2147483647 w 113"/>
                <a:gd name="T33" fmla="*/ 2147483647 h 52"/>
                <a:gd name="T34" fmla="*/ 2147483647 w 113"/>
                <a:gd name="T35" fmla="*/ 2147483647 h 52"/>
                <a:gd name="T36" fmla="*/ 0 w 113"/>
                <a:gd name="T37" fmla="*/ 2147483647 h 52"/>
                <a:gd name="T38" fmla="*/ 2147483647 w 113"/>
                <a:gd name="T39" fmla="*/ 2147483647 h 52"/>
                <a:gd name="T40" fmla="*/ 2147483647 w 113"/>
                <a:gd name="T41" fmla="*/ 2147483647 h 52"/>
                <a:gd name="T42" fmla="*/ 2147483647 w 113"/>
                <a:gd name="T43" fmla="*/ 2147483647 h 52"/>
                <a:gd name="T44" fmla="*/ 2147483647 w 113"/>
                <a:gd name="T45" fmla="*/ 2147483647 h 52"/>
                <a:gd name="T46" fmla="*/ 2147483647 w 113"/>
                <a:gd name="T47" fmla="*/ 2147483647 h 52"/>
                <a:gd name="T48" fmla="*/ 2147483647 w 113"/>
                <a:gd name="T49" fmla="*/ 2147483647 h 52"/>
                <a:gd name="T50" fmla="*/ 2147483647 w 113"/>
                <a:gd name="T51" fmla="*/ 2147483647 h 52"/>
                <a:gd name="T52" fmla="*/ 2147483647 w 113"/>
                <a:gd name="T53" fmla="*/ 0 h 52"/>
                <a:gd name="T54" fmla="*/ 2147483647 w 113"/>
                <a:gd name="T55" fmla="*/ 0 h 52"/>
                <a:gd name="T56" fmla="*/ 2147483647 w 113"/>
                <a:gd name="T57" fmla="*/ 2147483647 h 52"/>
                <a:gd name="T58" fmla="*/ 2147483647 w 113"/>
                <a:gd name="T59" fmla="*/ 2147483647 h 52"/>
                <a:gd name="T60" fmla="*/ 2147483647 w 113"/>
                <a:gd name="T61" fmla="*/ 2147483647 h 52"/>
                <a:gd name="T62" fmla="*/ 2147483647 w 113"/>
                <a:gd name="T63" fmla="*/ 2147483647 h 52"/>
                <a:gd name="T64" fmla="*/ 2147483647 w 113"/>
                <a:gd name="T65" fmla="*/ 2147483647 h 52"/>
                <a:gd name="T66" fmla="*/ 2147483647 w 113"/>
                <a:gd name="T67" fmla="*/ 2147483647 h 52"/>
                <a:gd name="T68" fmla="*/ 2147483647 w 113"/>
                <a:gd name="T69" fmla="*/ 2147483647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13"/>
                <a:gd name="T106" fmla="*/ 0 h 52"/>
                <a:gd name="T107" fmla="*/ 113 w 113"/>
                <a:gd name="T108" fmla="*/ 52 h 5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32" name="Freeform 499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6103938" y="1392238"/>
              <a:ext cx="61912" cy="58737"/>
            </a:xfrm>
            <a:custGeom>
              <a:avLst/>
              <a:gdLst>
                <a:gd name="T0" fmla="*/ 0 w 139"/>
                <a:gd name="T1" fmla="*/ 2147483647 h 40"/>
                <a:gd name="T2" fmla="*/ 2147483647 w 139"/>
                <a:gd name="T3" fmla="*/ 2147483647 h 40"/>
                <a:gd name="T4" fmla="*/ 2147483647 w 139"/>
                <a:gd name="T5" fmla="*/ 2147483647 h 40"/>
                <a:gd name="T6" fmla="*/ 2147483647 w 139"/>
                <a:gd name="T7" fmla="*/ 2147483647 h 40"/>
                <a:gd name="T8" fmla="*/ 2147483647 w 139"/>
                <a:gd name="T9" fmla="*/ 2147483647 h 40"/>
                <a:gd name="T10" fmla="*/ 2147483647 w 139"/>
                <a:gd name="T11" fmla="*/ 2147483647 h 40"/>
                <a:gd name="T12" fmla="*/ 2147483647 w 139"/>
                <a:gd name="T13" fmla="*/ 2147483647 h 40"/>
                <a:gd name="T14" fmla="*/ 2147483647 w 139"/>
                <a:gd name="T15" fmla="*/ 0 h 40"/>
                <a:gd name="T16" fmla="*/ 2147483647 w 139"/>
                <a:gd name="T17" fmla="*/ 2147483647 h 40"/>
                <a:gd name="T18" fmla="*/ 2147483647 w 139"/>
                <a:gd name="T19" fmla="*/ 2147483647 h 40"/>
                <a:gd name="T20" fmla="*/ 2147483647 w 139"/>
                <a:gd name="T21" fmla="*/ 2147483647 h 40"/>
                <a:gd name="T22" fmla="*/ 2147483647 w 139"/>
                <a:gd name="T23" fmla="*/ 2147483647 h 40"/>
                <a:gd name="T24" fmla="*/ 2147483647 w 139"/>
                <a:gd name="T25" fmla="*/ 2147483647 h 40"/>
                <a:gd name="T26" fmla="*/ 2147483647 w 139"/>
                <a:gd name="T27" fmla="*/ 2147483647 h 40"/>
                <a:gd name="T28" fmla="*/ 2147483647 w 139"/>
                <a:gd name="T29" fmla="*/ 2147483647 h 40"/>
                <a:gd name="T30" fmla="*/ 2147483647 w 139"/>
                <a:gd name="T31" fmla="*/ 2147483647 h 40"/>
                <a:gd name="T32" fmla="*/ 2147483647 w 139"/>
                <a:gd name="T33" fmla="*/ 2147483647 h 40"/>
                <a:gd name="T34" fmla="*/ 2147483647 w 139"/>
                <a:gd name="T35" fmla="*/ 2147483647 h 40"/>
                <a:gd name="T36" fmla="*/ 2147483647 w 139"/>
                <a:gd name="T37" fmla="*/ 2147483647 h 40"/>
                <a:gd name="T38" fmla="*/ 2147483647 w 139"/>
                <a:gd name="T39" fmla="*/ 2147483647 h 40"/>
                <a:gd name="T40" fmla="*/ 2147483647 w 139"/>
                <a:gd name="T41" fmla="*/ 2147483647 h 40"/>
                <a:gd name="T42" fmla="*/ 0 w 139"/>
                <a:gd name="T43" fmla="*/ 21474836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39"/>
                <a:gd name="T67" fmla="*/ 0 h 40"/>
                <a:gd name="T68" fmla="*/ 139 w 139"/>
                <a:gd name="T69" fmla="*/ 40 h 4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33" name="Freeform 500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6403975" y="1333500"/>
              <a:ext cx="139700" cy="57150"/>
            </a:xfrm>
            <a:custGeom>
              <a:avLst/>
              <a:gdLst>
                <a:gd name="T0" fmla="*/ 2147483647 w 325"/>
                <a:gd name="T1" fmla="*/ 2147483647 h 71"/>
                <a:gd name="T2" fmla="*/ 2147483647 w 325"/>
                <a:gd name="T3" fmla="*/ 2147483647 h 71"/>
                <a:gd name="T4" fmla="*/ 2147483647 w 325"/>
                <a:gd name="T5" fmla="*/ 0 h 71"/>
                <a:gd name="T6" fmla="*/ 2147483647 w 325"/>
                <a:gd name="T7" fmla="*/ 2147483647 h 71"/>
                <a:gd name="T8" fmla="*/ 2147483647 w 325"/>
                <a:gd name="T9" fmla="*/ 2147483647 h 71"/>
                <a:gd name="T10" fmla="*/ 2147483647 w 325"/>
                <a:gd name="T11" fmla="*/ 2147483647 h 71"/>
                <a:gd name="T12" fmla="*/ 2147483647 w 325"/>
                <a:gd name="T13" fmla="*/ 2147483647 h 71"/>
                <a:gd name="T14" fmla="*/ 2147483647 w 325"/>
                <a:gd name="T15" fmla="*/ 2147483647 h 71"/>
                <a:gd name="T16" fmla="*/ 2147483647 w 325"/>
                <a:gd name="T17" fmla="*/ 2147483647 h 71"/>
                <a:gd name="T18" fmla="*/ 2147483647 w 325"/>
                <a:gd name="T19" fmla="*/ 2147483647 h 71"/>
                <a:gd name="T20" fmla="*/ 2147483647 w 325"/>
                <a:gd name="T21" fmla="*/ 2147483647 h 71"/>
                <a:gd name="T22" fmla="*/ 2147483647 w 325"/>
                <a:gd name="T23" fmla="*/ 2147483647 h 71"/>
                <a:gd name="T24" fmla="*/ 2147483647 w 325"/>
                <a:gd name="T25" fmla="*/ 2147483647 h 71"/>
                <a:gd name="T26" fmla="*/ 2147483647 w 325"/>
                <a:gd name="T27" fmla="*/ 2147483647 h 71"/>
                <a:gd name="T28" fmla="*/ 2147483647 w 325"/>
                <a:gd name="T29" fmla="*/ 2147483647 h 71"/>
                <a:gd name="T30" fmla="*/ 2147483647 w 325"/>
                <a:gd name="T31" fmla="*/ 2147483647 h 71"/>
                <a:gd name="T32" fmla="*/ 2147483647 w 325"/>
                <a:gd name="T33" fmla="*/ 2147483647 h 71"/>
                <a:gd name="T34" fmla="*/ 2147483647 w 325"/>
                <a:gd name="T35" fmla="*/ 2147483647 h 71"/>
                <a:gd name="T36" fmla="*/ 2147483647 w 325"/>
                <a:gd name="T37" fmla="*/ 2147483647 h 71"/>
                <a:gd name="T38" fmla="*/ 2147483647 w 325"/>
                <a:gd name="T39" fmla="*/ 2147483647 h 71"/>
                <a:gd name="T40" fmla="*/ 2147483647 w 325"/>
                <a:gd name="T41" fmla="*/ 2147483647 h 71"/>
                <a:gd name="T42" fmla="*/ 2147483647 w 325"/>
                <a:gd name="T43" fmla="*/ 2147483647 h 71"/>
                <a:gd name="T44" fmla="*/ 2147483647 w 325"/>
                <a:gd name="T45" fmla="*/ 2147483647 h 71"/>
                <a:gd name="T46" fmla="*/ 2147483647 w 325"/>
                <a:gd name="T47" fmla="*/ 2147483647 h 71"/>
                <a:gd name="T48" fmla="*/ 2147483647 w 325"/>
                <a:gd name="T49" fmla="*/ 2147483647 h 71"/>
                <a:gd name="T50" fmla="*/ 2147483647 w 325"/>
                <a:gd name="T51" fmla="*/ 2147483647 h 71"/>
                <a:gd name="T52" fmla="*/ 2147483647 w 325"/>
                <a:gd name="T53" fmla="*/ 2147483647 h 71"/>
                <a:gd name="T54" fmla="*/ 2147483647 w 325"/>
                <a:gd name="T55" fmla="*/ 2147483647 h 71"/>
                <a:gd name="T56" fmla="*/ 2147483647 w 325"/>
                <a:gd name="T57" fmla="*/ 2147483647 h 71"/>
                <a:gd name="T58" fmla="*/ 2147483647 w 325"/>
                <a:gd name="T59" fmla="*/ 2147483647 h 71"/>
                <a:gd name="T60" fmla="*/ 2147483647 w 325"/>
                <a:gd name="T61" fmla="*/ 2147483647 h 71"/>
                <a:gd name="T62" fmla="*/ 0 w 325"/>
                <a:gd name="T63" fmla="*/ 2147483647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25"/>
                <a:gd name="T97" fmla="*/ 0 h 71"/>
                <a:gd name="T98" fmla="*/ 325 w 325"/>
                <a:gd name="T99" fmla="*/ 71 h 7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34" name="Freeform 501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6564313" y="1341438"/>
              <a:ext cx="95250" cy="57150"/>
            </a:xfrm>
            <a:custGeom>
              <a:avLst/>
              <a:gdLst>
                <a:gd name="T0" fmla="*/ 2147483647 w 220"/>
                <a:gd name="T1" fmla="*/ 2147483647 h 72"/>
                <a:gd name="T2" fmla="*/ 2147483647 w 220"/>
                <a:gd name="T3" fmla="*/ 2147483647 h 72"/>
                <a:gd name="T4" fmla="*/ 2147483647 w 220"/>
                <a:gd name="T5" fmla="*/ 2147483647 h 72"/>
                <a:gd name="T6" fmla="*/ 2147483647 w 220"/>
                <a:gd name="T7" fmla="*/ 2147483647 h 72"/>
                <a:gd name="T8" fmla="*/ 2147483647 w 220"/>
                <a:gd name="T9" fmla="*/ 2147483647 h 72"/>
                <a:gd name="T10" fmla="*/ 2147483647 w 220"/>
                <a:gd name="T11" fmla="*/ 2147483647 h 72"/>
                <a:gd name="T12" fmla="*/ 2147483647 w 220"/>
                <a:gd name="T13" fmla="*/ 2147483647 h 72"/>
                <a:gd name="T14" fmla="*/ 2147483647 w 220"/>
                <a:gd name="T15" fmla="*/ 2147483647 h 72"/>
                <a:gd name="T16" fmla="*/ 2147483647 w 220"/>
                <a:gd name="T17" fmla="*/ 2147483647 h 72"/>
                <a:gd name="T18" fmla="*/ 2147483647 w 220"/>
                <a:gd name="T19" fmla="*/ 2147483647 h 72"/>
                <a:gd name="T20" fmla="*/ 2147483647 w 220"/>
                <a:gd name="T21" fmla="*/ 2147483647 h 72"/>
                <a:gd name="T22" fmla="*/ 2147483647 w 220"/>
                <a:gd name="T23" fmla="*/ 2147483647 h 72"/>
                <a:gd name="T24" fmla="*/ 2147483647 w 220"/>
                <a:gd name="T25" fmla="*/ 2147483647 h 72"/>
                <a:gd name="T26" fmla="*/ 2147483647 w 220"/>
                <a:gd name="T27" fmla="*/ 2147483647 h 72"/>
                <a:gd name="T28" fmla="*/ 2147483647 w 220"/>
                <a:gd name="T29" fmla="*/ 0 h 72"/>
                <a:gd name="T30" fmla="*/ 2147483647 w 220"/>
                <a:gd name="T31" fmla="*/ 2147483647 h 72"/>
                <a:gd name="T32" fmla="*/ 2147483647 w 220"/>
                <a:gd name="T33" fmla="*/ 2147483647 h 72"/>
                <a:gd name="T34" fmla="*/ 2147483647 w 220"/>
                <a:gd name="T35" fmla="*/ 2147483647 h 72"/>
                <a:gd name="T36" fmla="*/ 2147483647 w 220"/>
                <a:gd name="T37" fmla="*/ 2147483647 h 72"/>
                <a:gd name="T38" fmla="*/ 2147483647 w 220"/>
                <a:gd name="T39" fmla="*/ 2147483647 h 72"/>
                <a:gd name="T40" fmla="*/ 2147483647 w 220"/>
                <a:gd name="T41" fmla="*/ 2147483647 h 72"/>
                <a:gd name="T42" fmla="*/ 2147483647 w 220"/>
                <a:gd name="T43" fmla="*/ 2147483647 h 72"/>
                <a:gd name="T44" fmla="*/ 2147483647 w 220"/>
                <a:gd name="T45" fmla="*/ 2147483647 h 72"/>
                <a:gd name="T46" fmla="*/ 2147483647 w 220"/>
                <a:gd name="T47" fmla="*/ 2147483647 h 72"/>
                <a:gd name="T48" fmla="*/ 2147483647 w 220"/>
                <a:gd name="T49" fmla="*/ 2147483647 h 72"/>
                <a:gd name="T50" fmla="*/ 2147483647 w 220"/>
                <a:gd name="T51" fmla="*/ 2147483647 h 72"/>
                <a:gd name="T52" fmla="*/ 2147483647 w 220"/>
                <a:gd name="T53" fmla="*/ 2147483647 h 72"/>
                <a:gd name="T54" fmla="*/ 2147483647 w 220"/>
                <a:gd name="T55" fmla="*/ 2147483647 h 72"/>
                <a:gd name="T56" fmla="*/ 2147483647 w 220"/>
                <a:gd name="T57" fmla="*/ 2147483647 h 72"/>
                <a:gd name="T58" fmla="*/ 2147483647 w 220"/>
                <a:gd name="T59" fmla="*/ 2147483647 h 72"/>
                <a:gd name="T60" fmla="*/ 2147483647 w 220"/>
                <a:gd name="T61" fmla="*/ 2147483647 h 72"/>
                <a:gd name="T62" fmla="*/ 2147483647 w 220"/>
                <a:gd name="T63" fmla="*/ 2147483647 h 72"/>
                <a:gd name="T64" fmla="*/ 2147483647 w 220"/>
                <a:gd name="T65" fmla="*/ 2147483647 h 72"/>
                <a:gd name="T66" fmla="*/ 2147483647 w 220"/>
                <a:gd name="T67" fmla="*/ 2147483647 h 72"/>
                <a:gd name="T68" fmla="*/ 2147483647 w 220"/>
                <a:gd name="T69" fmla="*/ 2147483647 h 72"/>
                <a:gd name="T70" fmla="*/ 2147483647 w 220"/>
                <a:gd name="T71" fmla="*/ 2147483647 h 72"/>
                <a:gd name="T72" fmla="*/ 2147483647 w 220"/>
                <a:gd name="T73" fmla="*/ 2147483647 h 72"/>
                <a:gd name="T74" fmla="*/ 2147483647 w 220"/>
                <a:gd name="T75" fmla="*/ 2147483647 h 72"/>
                <a:gd name="T76" fmla="*/ 2147483647 w 220"/>
                <a:gd name="T77" fmla="*/ 2147483647 h 72"/>
                <a:gd name="T78" fmla="*/ 2147483647 w 220"/>
                <a:gd name="T79" fmla="*/ 2147483647 h 72"/>
                <a:gd name="T80" fmla="*/ 2147483647 w 220"/>
                <a:gd name="T81" fmla="*/ 2147483647 h 72"/>
                <a:gd name="T82" fmla="*/ 2147483647 w 220"/>
                <a:gd name="T83" fmla="*/ 2147483647 h 72"/>
                <a:gd name="T84" fmla="*/ 2147483647 w 220"/>
                <a:gd name="T85" fmla="*/ 2147483647 h 72"/>
                <a:gd name="T86" fmla="*/ 2147483647 w 220"/>
                <a:gd name="T87" fmla="*/ 2147483647 h 72"/>
                <a:gd name="T88" fmla="*/ 2147483647 w 220"/>
                <a:gd name="T89" fmla="*/ 2147483647 h 72"/>
                <a:gd name="T90" fmla="*/ 2147483647 w 220"/>
                <a:gd name="T91" fmla="*/ 2147483647 h 72"/>
                <a:gd name="T92" fmla="*/ 2147483647 w 220"/>
                <a:gd name="T93" fmla="*/ 2147483647 h 72"/>
                <a:gd name="T94" fmla="*/ 2147483647 w 220"/>
                <a:gd name="T95" fmla="*/ 2147483647 h 72"/>
                <a:gd name="T96" fmla="*/ 2147483647 w 220"/>
                <a:gd name="T97" fmla="*/ 2147483647 h 72"/>
                <a:gd name="T98" fmla="*/ 2147483647 w 220"/>
                <a:gd name="T99" fmla="*/ 2147483647 h 72"/>
                <a:gd name="T100" fmla="*/ 2147483647 w 220"/>
                <a:gd name="T101" fmla="*/ 2147483647 h 72"/>
                <a:gd name="T102" fmla="*/ 2147483647 w 220"/>
                <a:gd name="T103" fmla="*/ 2147483647 h 72"/>
                <a:gd name="T104" fmla="*/ 0 w 220"/>
                <a:gd name="T105" fmla="*/ 2147483647 h 72"/>
                <a:gd name="T106" fmla="*/ 2147483647 w 220"/>
                <a:gd name="T107" fmla="*/ 2147483647 h 72"/>
                <a:gd name="T108" fmla="*/ 2147483647 w 220"/>
                <a:gd name="T109" fmla="*/ 2147483647 h 72"/>
                <a:gd name="T110" fmla="*/ 2147483647 w 220"/>
                <a:gd name="T111" fmla="*/ 2147483647 h 72"/>
                <a:gd name="T112" fmla="*/ 2147483647 w 220"/>
                <a:gd name="T113" fmla="*/ 2147483647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20"/>
                <a:gd name="T172" fmla="*/ 0 h 72"/>
                <a:gd name="T173" fmla="*/ 220 w 220"/>
                <a:gd name="T174" fmla="*/ 72 h 7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35" name="Freeform 502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6524625" y="1389063"/>
              <a:ext cx="63500" cy="58737"/>
            </a:xfrm>
            <a:custGeom>
              <a:avLst/>
              <a:gdLst>
                <a:gd name="T0" fmla="*/ 2147483647 w 146"/>
                <a:gd name="T1" fmla="*/ 2147483647 h 30"/>
                <a:gd name="T2" fmla="*/ 2147483647 w 146"/>
                <a:gd name="T3" fmla="*/ 2147483647 h 30"/>
                <a:gd name="T4" fmla="*/ 2147483647 w 146"/>
                <a:gd name="T5" fmla="*/ 2147483647 h 30"/>
                <a:gd name="T6" fmla="*/ 2147483647 w 146"/>
                <a:gd name="T7" fmla="*/ 2147483647 h 30"/>
                <a:gd name="T8" fmla="*/ 2147483647 w 146"/>
                <a:gd name="T9" fmla="*/ 2147483647 h 30"/>
                <a:gd name="T10" fmla="*/ 2147483647 w 146"/>
                <a:gd name="T11" fmla="*/ 2147483647 h 30"/>
                <a:gd name="T12" fmla="*/ 2147483647 w 146"/>
                <a:gd name="T13" fmla="*/ 2147483647 h 30"/>
                <a:gd name="T14" fmla="*/ 2147483647 w 146"/>
                <a:gd name="T15" fmla="*/ 2147483647 h 30"/>
                <a:gd name="T16" fmla="*/ 2147483647 w 146"/>
                <a:gd name="T17" fmla="*/ 2147483647 h 30"/>
                <a:gd name="T18" fmla="*/ 2147483647 w 146"/>
                <a:gd name="T19" fmla="*/ 2147483647 h 30"/>
                <a:gd name="T20" fmla="*/ 2147483647 w 146"/>
                <a:gd name="T21" fmla="*/ 2147483647 h 30"/>
                <a:gd name="T22" fmla="*/ 2147483647 w 146"/>
                <a:gd name="T23" fmla="*/ 2147483647 h 30"/>
                <a:gd name="T24" fmla="*/ 2147483647 w 146"/>
                <a:gd name="T25" fmla="*/ 2147483647 h 30"/>
                <a:gd name="T26" fmla="*/ 2147483647 w 146"/>
                <a:gd name="T27" fmla="*/ 2147483647 h 30"/>
                <a:gd name="T28" fmla="*/ 2147483647 w 146"/>
                <a:gd name="T29" fmla="*/ 2147483647 h 30"/>
                <a:gd name="T30" fmla="*/ 2147483647 w 146"/>
                <a:gd name="T31" fmla="*/ 2147483647 h 30"/>
                <a:gd name="T32" fmla="*/ 2147483647 w 146"/>
                <a:gd name="T33" fmla="*/ 2147483647 h 30"/>
                <a:gd name="T34" fmla="*/ 2147483647 w 146"/>
                <a:gd name="T35" fmla="*/ 0 h 30"/>
                <a:gd name="T36" fmla="*/ 2147483647 w 146"/>
                <a:gd name="T37" fmla="*/ 2147483647 h 30"/>
                <a:gd name="T38" fmla="*/ 2147483647 w 146"/>
                <a:gd name="T39" fmla="*/ 2147483647 h 30"/>
                <a:gd name="T40" fmla="*/ 2147483647 w 146"/>
                <a:gd name="T41" fmla="*/ 2147483647 h 30"/>
                <a:gd name="T42" fmla="*/ 0 w 146"/>
                <a:gd name="T43" fmla="*/ 2147483647 h 30"/>
                <a:gd name="T44" fmla="*/ 2147483647 w 146"/>
                <a:gd name="T45" fmla="*/ 2147483647 h 30"/>
                <a:gd name="T46" fmla="*/ 2147483647 w 146"/>
                <a:gd name="T47" fmla="*/ 2147483647 h 30"/>
                <a:gd name="T48" fmla="*/ 2147483647 w 146"/>
                <a:gd name="T49" fmla="*/ 2147483647 h 30"/>
                <a:gd name="T50" fmla="*/ 2147483647 w 146"/>
                <a:gd name="T51" fmla="*/ 2147483647 h 30"/>
                <a:gd name="T52" fmla="*/ 2147483647 w 146"/>
                <a:gd name="T53" fmla="*/ 2147483647 h 30"/>
                <a:gd name="T54" fmla="*/ 2147483647 w 146"/>
                <a:gd name="T55" fmla="*/ 2147483647 h 30"/>
                <a:gd name="T56" fmla="*/ 2147483647 w 146"/>
                <a:gd name="T57" fmla="*/ 2147483647 h 30"/>
                <a:gd name="T58" fmla="*/ 2147483647 w 146"/>
                <a:gd name="T59" fmla="*/ 2147483647 h 30"/>
                <a:gd name="T60" fmla="*/ 2147483647 w 146"/>
                <a:gd name="T61" fmla="*/ 2147483647 h 30"/>
                <a:gd name="T62" fmla="*/ 2147483647 w 146"/>
                <a:gd name="T63" fmla="*/ 2147483647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46"/>
                <a:gd name="T97" fmla="*/ 0 h 30"/>
                <a:gd name="T98" fmla="*/ 146 w 146"/>
                <a:gd name="T99" fmla="*/ 30 h 3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36" name="Freeform 503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6503988" y="1385888"/>
              <a:ext cx="20637" cy="58737"/>
            </a:xfrm>
            <a:custGeom>
              <a:avLst/>
              <a:gdLst>
                <a:gd name="T0" fmla="*/ 0 w 53"/>
                <a:gd name="T1" fmla="*/ 2147483647 h 9"/>
                <a:gd name="T2" fmla="*/ 2147483647 w 53"/>
                <a:gd name="T3" fmla="*/ 2147483647 h 9"/>
                <a:gd name="T4" fmla="*/ 2147483647 w 53"/>
                <a:gd name="T5" fmla="*/ 2147483647 h 9"/>
                <a:gd name="T6" fmla="*/ 2147483647 w 53"/>
                <a:gd name="T7" fmla="*/ 2147483647 h 9"/>
                <a:gd name="T8" fmla="*/ 2147483647 w 53"/>
                <a:gd name="T9" fmla="*/ 2147483647 h 9"/>
                <a:gd name="T10" fmla="*/ 2147483647 w 53"/>
                <a:gd name="T11" fmla="*/ 2147483647 h 9"/>
                <a:gd name="T12" fmla="*/ 2147483647 w 53"/>
                <a:gd name="T13" fmla="*/ 2147483647 h 9"/>
                <a:gd name="T14" fmla="*/ 2147483647 w 53"/>
                <a:gd name="T15" fmla="*/ 2147483647 h 9"/>
                <a:gd name="T16" fmla="*/ 2147483647 w 53"/>
                <a:gd name="T17" fmla="*/ 0 h 9"/>
                <a:gd name="T18" fmla="*/ 2147483647 w 53"/>
                <a:gd name="T19" fmla="*/ 0 h 9"/>
                <a:gd name="T20" fmla="*/ 2147483647 w 53"/>
                <a:gd name="T21" fmla="*/ 0 h 9"/>
                <a:gd name="T22" fmla="*/ 2147483647 w 53"/>
                <a:gd name="T23" fmla="*/ 2147483647 h 9"/>
                <a:gd name="T24" fmla="*/ 2147483647 w 53"/>
                <a:gd name="T25" fmla="*/ 2147483647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3"/>
                <a:gd name="T40" fmla="*/ 0 h 9"/>
                <a:gd name="T41" fmla="*/ 53 w 53"/>
                <a:gd name="T42" fmla="*/ 9 h 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37" name="Line 504"/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 flipV="1">
              <a:off x="6505575" y="1384300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738" name="Freeform 505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5675313" y="1312863"/>
              <a:ext cx="11112" cy="55562"/>
            </a:xfrm>
            <a:custGeom>
              <a:avLst/>
              <a:gdLst>
                <a:gd name="T0" fmla="*/ 0 w 26"/>
                <a:gd name="T1" fmla="*/ 2147483647 h 25"/>
                <a:gd name="T2" fmla="*/ 2147483647 w 26"/>
                <a:gd name="T3" fmla="*/ 2147483647 h 25"/>
                <a:gd name="T4" fmla="*/ 2147483647 w 26"/>
                <a:gd name="T5" fmla="*/ 2147483647 h 25"/>
                <a:gd name="T6" fmla="*/ 2147483647 w 26"/>
                <a:gd name="T7" fmla="*/ 2147483647 h 25"/>
                <a:gd name="T8" fmla="*/ 2147483647 w 26"/>
                <a:gd name="T9" fmla="*/ 2147483647 h 25"/>
                <a:gd name="T10" fmla="*/ 2147483647 w 26"/>
                <a:gd name="T11" fmla="*/ 2147483647 h 25"/>
                <a:gd name="T12" fmla="*/ 2147483647 w 26"/>
                <a:gd name="T13" fmla="*/ 0 h 25"/>
                <a:gd name="T14" fmla="*/ 2147483647 w 26"/>
                <a:gd name="T15" fmla="*/ 2147483647 h 25"/>
                <a:gd name="T16" fmla="*/ 2147483647 w 26"/>
                <a:gd name="T17" fmla="*/ 2147483647 h 25"/>
                <a:gd name="T18" fmla="*/ 2147483647 w 26"/>
                <a:gd name="T19" fmla="*/ 2147483647 h 25"/>
                <a:gd name="T20" fmla="*/ 0 w 26"/>
                <a:gd name="T21" fmla="*/ 2147483647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6"/>
                <a:gd name="T34" fmla="*/ 0 h 25"/>
                <a:gd name="T35" fmla="*/ 26 w 26"/>
                <a:gd name="T36" fmla="*/ 25 h 2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39" name="Freeform 506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6424613" y="1384300"/>
              <a:ext cx="9525" cy="57150"/>
            </a:xfrm>
            <a:custGeom>
              <a:avLst/>
              <a:gdLst>
                <a:gd name="T0" fmla="*/ 2147483647 w 33"/>
                <a:gd name="T1" fmla="*/ 2147483647 h 25"/>
                <a:gd name="T2" fmla="*/ 2147483647 w 33"/>
                <a:gd name="T3" fmla="*/ 2147483647 h 25"/>
                <a:gd name="T4" fmla="*/ 2147483647 w 33"/>
                <a:gd name="T5" fmla="*/ 0 h 25"/>
                <a:gd name="T6" fmla="*/ 0 w 33"/>
                <a:gd name="T7" fmla="*/ 0 h 25"/>
                <a:gd name="T8" fmla="*/ 2147483647 w 33"/>
                <a:gd name="T9" fmla="*/ 2147483647 h 25"/>
                <a:gd name="T10" fmla="*/ 2147483647 w 33"/>
                <a:gd name="T11" fmla="*/ 2147483647 h 25"/>
                <a:gd name="T12" fmla="*/ 2147483647 w 33"/>
                <a:gd name="T13" fmla="*/ 2147483647 h 25"/>
                <a:gd name="T14" fmla="*/ 2147483647 w 33"/>
                <a:gd name="T15" fmla="*/ 2147483647 h 25"/>
                <a:gd name="T16" fmla="*/ 2147483647 w 33"/>
                <a:gd name="T17" fmla="*/ 2147483647 h 25"/>
                <a:gd name="T18" fmla="*/ 2147483647 w 33"/>
                <a:gd name="T19" fmla="*/ 2147483647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25"/>
                <a:gd name="T32" fmla="*/ 33 w 33"/>
                <a:gd name="T33" fmla="*/ 25 h 2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40" name="Freeform 507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6378575" y="1347788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2147483647 w 20"/>
                <a:gd name="T3" fmla="*/ 2147483647 h 18"/>
                <a:gd name="T4" fmla="*/ 2147483647 w 20"/>
                <a:gd name="T5" fmla="*/ 2147483647 h 18"/>
                <a:gd name="T6" fmla="*/ 2147483647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"/>
                <a:gd name="T16" fmla="*/ 0 h 18"/>
                <a:gd name="T17" fmla="*/ 20 w 20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41" name="Freeform 508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6878638" y="1917700"/>
              <a:ext cx="12700" cy="58738"/>
            </a:xfrm>
            <a:custGeom>
              <a:avLst/>
              <a:gdLst>
                <a:gd name="T0" fmla="*/ 0 w 33"/>
                <a:gd name="T1" fmla="*/ 2147483647 h 31"/>
                <a:gd name="T2" fmla="*/ 0 w 33"/>
                <a:gd name="T3" fmla="*/ 0 h 31"/>
                <a:gd name="T4" fmla="*/ 2147483647 w 33"/>
                <a:gd name="T5" fmla="*/ 0 h 31"/>
                <a:gd name="T6" fmla="*/ 2147483647 w 33"/>
                <a:gd name="T7" fmla="*/ 0 h 31"/>
                <a:gd name="T8" fmla="*/ 2147483647 w 33"/>
                <a:gd name="T9" fmla="*/ 0 h 31"/>
                <a:gd name="T10" fmla="*/ 2147483647 w 33"/>
                <a:gd name="T11" fmla="*/ 0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2147483647 h 31"/>
                <a:gd name="T18" fmla="*/ 2147483647 w 33"/>
                <a:gd name="T19" fmla="*/ 2147483647 h 31"/>
                <a:gd name="T20" fmla="*/ 2147483647 w 33"/>
                <a:gd name="T21" fmla="*/ 2147483647 h 31"/>
                <a:gd name="T22" fmla="*/ 2147483647 w 33"/>
                <a:gd name="T23" fmla="*/ 2147483647 h 31"/>
                <a:gd name="T24" fmla="*/ 2147483647 w 33"/>
                <a:gd name="T25" fmla="*/ 2147483647 h 31"/>
                <a:gd name="T26" fmla="*/ 2147483647 w 33"/>
                <a:gd name="T27" fmla="*/ 2147483647 h 31"/>
                <a:gd name="T28" fmla="*/ 0 w 33"/>
                <a:gd name="T29" fmla="*/ 2147483647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3"/>
                <a:gd name="T46" fmla="*/ 0 h 31"/>
                <a:gd name="T47" fmla="*/ 33 w 33"/>
                <a:gd name="T48" fmla="*/ 31 h 3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42" name="Freeform 509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7172325" y="1439863"/>
              <a:ext cx="55563" cy="58737"/>
            </a:xfrm>
            <a:custGeom>
              <a:avLst/>
              <a:gdLst>
                <a:gd name="T0" fmla="*/ 2147483647 w 129"/>
                <a:gd name="T1" fmla="*/ 2147483647 h 56"/>
                <a:gd name="T2" fmla="*/ 2147483647 w 129"/>
                <a:gd name="T3" fmla="*/ 2147483647 h 56"/>
                <a:gd name="T4" fmla="*/ 2147483647 w 129"/>
                <a:gd name="T5" fmla="*/ 2147483647 h 56"/>
                <a:gd name="T6" fmla="*/ 0 w 129"/>
                <a:gd name="T7" fmla="*/ 2147483647 h 56"/>
                <a:gd name="T8" fmla="*/ 2147483647 w 129"/>
                <a:gd name="T9" fmla="*/ 2147483647 h 56"/>
                <a:gd name="T10" fmla="*/ 2147483647 w 129"/>
                <a:gd name="T11" fmla="*/ 2147483647 h 56"/>
                <a:gd name="T12" fmla="*/ 2147483647 w 129"/>
                <a:gd name="T13" fmla="*/ 2147483647 h 56"/>
                <a:gd name="T14" fmla="*/ 2147483647 w 129"/>
                <a:gd name="T15" fmla="*/ 2147483647 h 56"/>
                <a:gd name="T16" fmla="*/ 2147483647 w 129"/>
                <a:gd name="T17" fmla="*/ 2147483647 h 56"/>
                <a:gd name="T18" fmla="*/ 2147483647 w 129"/>
                <a:gd name="T19" fmla="*/ 2147483647 h 56"/>
                <a:gd name="T20" fmla="*/ 2147483647 w 129"/>
                <a:gd name="T21" fmla="*/ 2147483647 h 56"/>
                <a:gd name="T22" fmla="*/ 2147483647 w 129"/>
                <a:gd name="T23" fmla="*/ 2147483647 h 56"/>
                <a:gd name="T24" fmla="*/ 2147483647 w 129"/>
                <a:gd name="T25" fmla="*/ 0 h 56"/>
                <a:gd name="T26" fmla="*/ 2147483647 w 129"/>
                <a:gd name="T27" fmla="*/ 2147483647 h 56"/>
                <a:gd name="T28" fmla="*/ 2147483647 w 129"/>
                <a:gd name="T29" fmla="*/ 2147483647 h 56"/>
                <a:gd name="T30" fmla="*/ 2147483647 w 129"/>
                <a:gd name="T31" fmla="*/ 2147483647 h 56"/>
                <a:gd name="T32" fmla="*/ 2147483647 w 129"/>
                <a:gd name="T33" fmla="*/ 2147483647 h 56"/>
                <a:gd name="T34" fmla="*/ 2147483647 w 129"/>
                <a:gd name="T35" fmla="*/ 2147483647 h 56"/>
                <a:gd name="T36" fmla="*/ 2147483647 w 129"/>
                <a:gd name="T37" fmla="*/ 2147483647 h 56"/>
                <a:gd name="T38" fmla="*/ 2147483647 w 129"/>
                <a:gd name="T39" fmla="*/ 2147483647 h 56"/>
                <a:gd name="T40" fmla="*/ 2147483647 w 129"/>
                <a:gd name="T41" fmla="*/ 2147483647 h 56"/>
                <a:gd name="T42" fmla="*/ 2147483647 w 129"/>
                <a:gd name="T43" fmla="*/ 2147483647 h 56"/>
                <a:gd name="T44" fmla="*/ 2147483647 w 129"/>
                <a:gd name="T45" fmla="*/ 2147483647 h 56"/>
                <a:gd name="T46" fmla="*/ 2147483647 w 129"/>
                <a:gd name="T47" fmla="*/ 2147483647 h 56"/>
                <a:gd name="T48" fmla="*/ 2147483647 w 129"/>
                <a:gd name="T49" fmla="*/ 2147483647 h 56"/>
                <a:gd name="T50" fmla="*/ 2147483647 w 129"/>
                <a:gd name="T51" fmla="*/ 2147483647 h 56"/>
                <a:gd name="T52" fmla="*/ 2147483647 w 129"/>
                <a:gd name="T53" fmla="*/ 2147483647 h 56"/>
                <a:gd name="T54" fmla="*/ 2147483647 w 129"/>
                <a:gd name="T55" fmla="*/ 2147483647 h 56"/>
                <a:gd name="T56" fmla="*/ 2147483647 w 129"/>
                <a:gd name="T57" fmla="*/ 2147483647 h 56"/>
                <a:gd name="T58" fmla="*/ 2147483647 w 129"/>
                <a:gd name="T59" fmla="*/ 2147483647 h 56"/>
                <a:gd name="T60" fmla="*/ 2147483647 w 129"/>
                <a:gd name="T61" fmla="*/ 2147483647 h 56"/>
                <a:gd name="T62" fmla="*/ 2147483647 w 129"/>
                <a:gd name="T63" fmla="*/ 2147483647 h 56"/>
                <a:gd name="T64" fmla="*/ 2147483647 w 129"/>
                <a:gd name="T65" fmla="*/ 2147483647 h 56"/>
                <a:gd name="T66" fmla="*/ 2147483647 w 129"/>
                <a:gd name="T67" fmla="*/ 2147483647 h 56"/>
                <a:gd name="T68" fmla="*/ 2147483647 w 129"/>
                <a:gd name="T69" fmla="*/ 2147483647 h 56"/>
                <a:gd name="T70" fmla="*/ 2147483647 w 129"/>
                <a:gd name="T71" fmla="*/ 2147483647 h 56"/>
                <a:gd name="T72" fmla="*/ 2147483647 w 129"/>
                <a:gd name="T73" fmla="*/ 2147483647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29"/>
                <a:gd name="T112" fmla="*/ 0 h 56"/>
                <a:gd name="T113" fmla="*/ 129 w 129"/>
                <a:gd name="T114" fmla="*/ 56 h 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43" name="Freeform 510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7308850" y="1792288"/>
              <a:ext cx="14288" cy="57150"/>
            </a:xfrm>
            <a:custGeom>
              <a:avLst/>
              <a:gdLst>
                <a:gd name="T0" fmla="*/ 2147483647 w 41"/>
                <a:gd name="T1" fmla="*/ 2147483647 h 42"/>
                <a:gd name="T2" fmla="*/ 0 w 41"/>
                <a:gd name="T3" fmla="*/ 2147483647 h 42"/>
                <a:gd name="T4" fmla="*/ 0 w 41"/>
                <a:gd name="T5" fmla="*/ 2147483647 h 42"/>
                <a:gd name="T6" fmla="*/ 2147483647 w 41"/>
                <a:gd name="T7" fmla="*/ 2147483647 h 42"/>
                <a:gd name="T8" fmla="*/ 2147483647 w 41"/>
                <a:gd name="T9" fmla="*/ 2147483647 h 42"/>
                <a:gd name="T10" fmla="*/ 2147483647 w 41"/>
                <a:gd name="T11" fmla="*/ 2147483647 h 42"/>
                <a:gd name="T12" fmla="*/ 2147483647 w 41"/>
                <a:gd name="T13" fmla="*/ 0 h 42"/>
                <a:gd name="T14" fmla="*/ 2147483647 w 41"/>
                <a:gd name="T15" fmla="*/ 2147483647 h 42"/>
                <a:gd name="T16" fmla="*/ 2147483647 w 41"/>
                <a:gd name="T17" fmla="*/ 2147483647 h 42"/>
                <a:gd name="T18" fmla="*/ 2147483647 w 41"/>
                <a:gd name="T19" fmla="*/ 2147483647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1"/>
                <a:gd name="T31" fmla="*/ 0 h 42"/>
                <a:gd name="T32" fmla="*/ 41 w 41"/>
                <a:gd name="T33" fmla="*/ 42 h 4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44" name="Freeform 511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7458075" y="1905000"/>
              <a:ext cx="42863" cy="60325"/>
            </a:xfrm>
            <a:custGeom>
              <a:avLst/>
              <a:gdLst>
                <a:gd name="T0" fmla="*/ 2147483647 w 93"/>
                <a:gd name="T1" fmla="*/ 2147483647 h 39"/>
                <a:gd name="T2" fmla="*/ 2147483647 w 93"/>
                <a:gd name="T3" fmla="*/ 2147483647 h 39"/>
                <a:gd name="T4" fmla="*/ 2147483647 w 93"/>
                <a:gd name="T5" fmla="*/ 2147483647 h 39"/>
                <a:gd name="T6" fmla="*/ 2147483647 w 93"/>
                <a:gd name="T7" fmla="*/ 2147483647 h 39"/>
                <a:gd name="T8" fmla="*/ 2147483647 w 93"/>
                <a:gd name="T9" fmla="*/ 2147483647 h 39"/>
                <a:gd name="T10" fmla="*/ 2147483647 w 93"/>
                <a:gd name="T11" fmla="*/ 2147483647 h 39"/>
                <a:gd name="T12" fmla="*/ 2147483647 w 93"/>
                <a:gd name="T13" fmla="*/ 2147483647 h 39"/>
                <a:gd name="T14" fmla="*/ 2147483647 w 93"/>
                <a:gd name="T15" fmla="*/ 2147483647 h 39"/>
                <a:gd name="T16" fmla="*/ 2147483647 w 93"/>
                <a:gd name="T17" fmla="*/ 2147483647 h 39"/>
                <a:gd name="T18" fmla="*/ 2147483647 w 93"/>
                <a:gd name="T19" fmla="*/ 2147483647 h 39"/>
                <a:gd name="T20" fmla="*/ 2147483647 w 93"/>
                <a:gd name="T21" fmla="*/ 2147483647 h 39"/>
                <a:gd name="T22" fmla="*/ 2147483647 w 93"/>
                <a:gd name="T23" fmla="*/ 2147483647 h 39"/>
                <a:gd name="T24" fmla="*/ 2147483647 w 93"/>
                <a:gd name="T25" fmla="*/ 2147483647 h 39"/>
                <a:gd name="T26" fmla="*/ 2147483647 w 93"/>
                <a:gd name="T27" fmla="*/ 2147483647 h 39"/>
                <a:gd name="T28" fmla="*/ 2147483647 w 93"/>
                <a:gd name="T29" fmla="*/ 2147483647 h 39"/>
                <a:gd name="T30" fmla="*/ 0 w 93"/>
                <a:gd name="T31" fmla="*/ 2147483647 h 39"/>
                <a:gd name="T32" fmla="*/ 2147483647 w 93"/>
                <a:gd name="T33" fmla="*/ 2147483647 h 39"/>
                <a:gd name="T34" fmla="*/ 2147483647 w 93"/>
                <a:gd name="T35" fmla="*/ 0 h 39"/>
                <a:gd name="T36" fmla="*/ 2147483647 w 93"/>
                <a:gd name="T37" fmla="*/ 0 h 39"/>
                <a:gd name="T38" fmla="*/ 2147483647 w 93"/>
                <a:gd name="T39" fmla="*/ 2147483647 h 39"/>
                <a:gd name="T40" fmla="*/ 2147483647 w 93"/>
                <a:gd name="T41" fmla="*/ 2147483647 h 39"/>
                <a:gd name="T42" fmla="*/ 2147483647 w 93"/>
                <a:gd name="T43" fmla="*/ 2147483647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93"/>
                <a:gd name="T67" fmla="*/ 0 h 39"/>
                <a:gd name="T68" fmla="*/ 93 w 93"/>
                <a:gd name="T69" fmla="*/ 39 h 3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45" name="Freeform 512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7508875" y="1920875"/>
              <a:ext cx="19050" cy="58738"/>
            </a:xfrm>
            <a:custGeom>
              <a:avLst/>
              <a:gdLst>
                <a:gd name="T0" fmla="*/ 2147483647 w 39"/>
                <a:gd name="T1" fmla="*/ 2147483647 h 19"/>
                <a:gd name="T2" fmla="*/ 2147483647 w 39"/>
                <a:gd name="T3" fmla="*/ 2147483647 h 19"/>
                <a:gd name="T4" fmla="*/ 2147483647 w 39"/>
                <a:gd name="T5" fmla="*/ 2147483647 h 19"/>
                <a:gd name="T6" fmla="*/ 2147483647 w 39"/>
                <a:gd name="T7" fmla="*/ 2147483647 h 19"/>
                <a:gd name="T8" fmla="*/ 2147483647 w 39"/>
                <a:gd name="T9" fmla="*/ 2147483647 h 19"/>
                <a:gd name="T10" fmla="*/ 2147483647 w 39"/>
                <a:gd name="T11" fmla="*/ 2147483647 h 19"/>
                <a:gd name="T12" fmla="*/ 0 w 39"/>
                <a:gd name="T13" fmla="*/ 2147483647 h 19"/>
                <a:gd name="T14" fmla="*/ 0 w 39"/>
                <a:gd name="T15" fmla="*/ 0 h 19"/>
                <a:gd name="T16" fmla="*/ 2147483647 w 39"/>
                <a:gd name="T17" fmla="*/ 2147483647 h 19"/>
                <a:gd name="T18" fmla="*/ 2147483647 w 39"/>
                <a:gd name="T19" fmla="*/ 2147483647 h 19"/>
                <a:gd name="T20" fmla="*/ 2147483647 w 39"/>
                <a:gd name="T21" fmla="*/ 2147483647 h 19"/>
                <a:gd name="T22" fmla="*/ 2147483647 w 39"/>
                <a:gd name="T23" fmla="*/ 2147483647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9"/>
                <a:gd name="T37" fmla="*/ 0 h 19"/>
                <a:gd name="T38" fmla="*/ 39 w 39"/>
                <a:gd name="T39" fmla="*/ 19 h 1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46" name="Freeform 513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7373938" y="2047875"/>
              <a:ext cx="14287" cy="57150"/>
            </a:xfrm>
            <a:custGeom>
              <a:avLst/>
              <a:gdLst>
                <a:gd name="T0" fmla="*/ 0 w 26"/>
                <a:gd name="T1" fmla="*/ 2147483647 h 36"/>
                <a:gd name="T2" fmla="*/ 2147483647 w 26"/>
                <a:gd name="T3" fmla="*/ 2147483647 h 36"/>
                <a:gd name="T4" fmla="*/ 2147483647 w 26"/>
                <a:gd name="T5" fmla="*/ 2147483647 h 36"/>
                <a:gd name="T6" fmla="*/ 2147483647 w 26"/>
                <a:gd name="T7" fmla="*/ 2147483647 h 36"/>
                <a:gd name="T8" fmla="*/ 2147483647 w 26"/>
                <a:gd name="T9" fmla="*/ 0 h 36"/>
                <a:gd name="T10" fmla="*/ 2147483647 w 26"/>
                <a:gd name="T11" fmla="*/ 2147483647 h 36"/>
                <a:gd name="T12" fmla="*/ 2147483647 w 26"/>
                <a:gd name="T13" fmla="*/ 2147483647 h 36"/>
                <a:gd name="T14" fmla="*/ 2147483647 w 26"/>
                <a:gd name="T15" fmla="*/ 2147483647 h 36"/>
                <a:gd name="T16" fmla="*/ 2147483647 w 26"/>
                <a:gd name="T17" fmla="*/ 2147483647 h 36"/>
                <a:gd name="T18" fmla="*/ 2147483647 w 26"/>
                <a:gd name="T19" fmla="*/ 2147483647 h 36"/>
                <a:gd name="T20" fmla="*/ 2147483647 w 26"/>
                <a:gd name="T21" fmla="*/ 2147483647 h 36"/>
                <a:gd name="T22" fmla="*/ 2147483647 w 26"/>
                <a:gd name="T23" fmla="*/ 2147483647 h 36"/>
                <a:gd name="T24" fmla="*/ 2147483647 w 26"/>
                <a:gd name="T25" fmla="*/ 2147483647 h 36"/>
                <a:gd name="T26" fmla="*/ 2147483647 w 26"/>
                <a:gd name="T27" fmla="*/ 2147483647 h 36"/>
                <a:gd name="T28" fmla="*/ 0 w 26"/>
                <a:gd name="T29" fmla="*/ 2147483647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6"/>
                <a:gd name="T46" fmla="*/ 0 h 36"/>
                <a:gd name="T47" fmla="*/ 26 w 26"/>
                <a:gd name="T48" fmla="*/ 36 h 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47" name="Freeform 514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7385050" y="2076450"/>
              <a:ext cx="3175" cy="60325"/>
            </a:xfrm>
            <a:custGeom>
              <a:avLst/>
              <a:gdLst>
                <a:gd name="T0" fmla="*/ 0 w 6"/>
                <a:gd name="T1" fmla="*/ 2147483647 h 37"/>
                <a:gd name="T2" fmla="*/ 0 w 6"/>
                <a:gd name="T3" fmla="*/ 0 h 37"/>
                <a:gd name="T4" fmla="*/ 2147483647 w 6"/>
                <a:gd name="T5" fmla="*/ 0 h 37"/>
                <a:gd name="T6" fmla="*/ 2147483647 w 6"/>
                <a:gd name="T7" fmla="*/ 2147483647 h 37"/>
                <a:gd name="T8" fmla="*/ 0 w 6"/>
                <a:gd name="T9" fmla="*/ 2147483647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7"/>
                <a:gd name="T17" fmla="*/ 6 w 6"/>
                <a:gd name="T18" fmla="*/ 37 h 3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48" name="Freeform 515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7372350" y="2159000"/>
              <a:ext cx="9525" cy="55563"/>
            </a:xfrm>
            <a:custGeom>
              <a:avLst/>
              <a:gdLst>
                <a:gd name="T0" fmla="*/ 0 w 20"/>
                <a:gd name="T1" fmla="*/ 2147483647 h 43"/>
                <a:gd name="T2" fmla="*/ 0 w 20"/>
                <a:gd name="T3" fmla="*/ 2147483647 h 43"/>
                <a:gd name="T4" fmla="*/ 0 w 20"/>
                <a:gd name="T5" fmla="*/ 2147483647 h 43"/>
                <a:gd name="T6" fmla="*/ 2147483647 w 20"/>
                <a:gd name="T7" fmla="*/ 2147483647 h 43"/>
                <a:gd name="T8" fmla="*/ 2147483647 w 20"/>
                <a:gd name="T9" fmla="*/ 0 h 43"/>
                <a:gd name="T10" fmla="*/ 2147483647 w 20"/>
                <a:gd name="T11" fmla="*/ 2147483647 h 43"/>
                <a:gd name="T12" fmla="*/ 2147483647 w 20"/>
                <a:gd name="T13" fmla="*/ 2147483647 h 43"/>
                <a:gd name="T14" fmla="*/ 2147483647 w 20"/>
                <a:gd name="T15" fmla="*/ 2147483647 h 43"/>
                <a:gd name="T16" fmla="*/ 2147483647 w 20"/>
                <a:gd name="T17" fmla="*/ 2147483647 h 43"/>
                <a:gd name="T18" fmla="*/ 2147483647 w 20"/>
                <a:gd name="T19" fmla="*/ 2147483647 h 43"/>
                <a:gd name="T20" fmla="*/ 2147483647 w 20"/>
                <a:gd name="T21" fmla="*/ 2147483647 h 43"/>
                <a:gd name="T22" fmla="*/ 2147483647 w 20"/>
                <a:gd name="T23" fmla="*/ 2147483647 h 43"/>
                <a:gd name="T24" fmla="*/ 2147483647 w 20"/>
                <a:gd name="T25" fmla="*/ 2147483647 h 43"/>
                <a:gd name="T26" fmla="*/ 2147483647 w 20"/>
                <a:gd name="T27" fmla="*/ 2147483647 h 43"/>
                <a:gd name="T28" fmla="*/ 2147483647 w 20"/>
                <a:gd name="T29" fmla="*/ 2147483647 h 43"/>
                <a:gd name="T30" fmla="*/ 2147483647 w 20"/>
                <a:gd name="T31" fmla="*/ 2147483647 h 43"/>
                <a:gd name="T32" fmla="*/ 2147483647 w 20"/>
                <a:gd name="T33" fmla="*/ 2147483647 h 43"/>
                <a:gd name="T34" fmla="*/ 2147483647 w 20"/>
                <a:gd name="T35" fmla="*/ 2147483647 h 43"/>
                <a:gd name="T36" fmla="*/ 0 w 20"/>
                <a:gd name="T37" fmla="*/ 2147483647 h 43"/>
                <a:gd name="T38" fmla="*/ 0 w 20"/>
                <a:gd name="T39" fmla="*/ 214748364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0"/>
                <a:gd name="T61" fmla="*/ 0 h 43"/>
                <a:gd name="T62" fmla="*/ 20 w 20"/>
                <a:gd name="T63" fmla="*/ 43 h 4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49" name="Freeform 516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7350125" y="2193925"/>
              <a:ext cx="0" cy="58738"/>
            </a:xfrm>
            <a:custGeom>
              <a:avLst/>
              <a:gdLst>
                <a:gd name="T0" fmla="*/ 2147483647 h 30"/>
                <a:gd name="T1" fmla="*/ 2147483647 h 30"/>
                <a:gd name="T2" fmla="*/ 2147483647 h 30"/>
                <a:gd name="T3" fmla="*/ 2147483647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  <a:gd name="T10" fmla="*/ 0 h 30"/>
                <a:gd name="T11" fmla="*/ 30 h 30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T10" r="0" b="T11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50" name="Freeform 517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7350125" y="2193925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2147483647 w 20"/>
                <a:gd name="T3" fmla="*/ 0 h 24"/>
                <a:gd name="T4" fmla="*/ 0 w 20"/>
                <a:gd name="T5" fmla="*/ 2147483647 h 24"/>
                <a:gd name="T6" fmla="*/ 0 60000 65536"/>
                <a:gd name="T7" fmla="*/ 0 60000 65536"/>
                <a:gd name="T8" fmla="*/ 0 60000 65536"/>
                <a:gd name="T9" fmla="*/ 0 w 20"/>
                <a:gd name="T10" fmla="*/ 0 h 24"/>
                <a:gd name="T11" fmla="*/ 20 w 20"/>
                <a:gd name="T12" fmla="*/ 24 h 2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51" name="Freeform 518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7104063" y="1781175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2147483647 w 46"/>
                <a:gd name="T3" fmla="*/ 2147483647 h 19"/>
                <a:gd name="T4" fmla="*/ 2147483647 w 46"/>
                <a:gd name="T5" fmla="*/ 2147483647 h 19"/>
                <a:gd name="T6" fmla="*/ 2147483647 w 46"/>
                <a:gd name="T7" fmla="*/ 2147483647 h 19"/>
                <a:gd name="T8" fmla="*/ 2147483647 w 46"/>
                <a:gd name="T9" fmla="*/ 2147483647 h 19"/>
                <a:gd name="T10" fmla="*/ 2147483647 w 46"/>
                <a:gd name="T11" fmla="*/ 2147483647 h 19"/>
                <a:gd name="T12" fmla="*/ 2147483647 w 46"/>
                <a:gd name="T13" fmla="*/ 2147483647 h 19"/>
                <a:gd name="T14" fmla="*/ 2147483647 w 46"/>
                <a:gd name="T15" fmla="*/ 2147483647 h 19"/>
                <a:gd name="T16" fmla="*/ 2147483647 w 46"/>
                <a:gd name="T17" fmla="*/ 2147483647 h 19"/>
                <a:gd name="T18" fmla="*/ 2147483647 w 46"/>
                <a:gd name="T19" fmla="*/ 2147483647 h 19"/>
                <a:gd name="T20" fmla="*/ 2147483647 w 46"/>
                <a:gd name="T21" fmla="*/ 2147483647 h 19"/>
                <a:gd name="T22" fmla="*/ 2147483647 w 46"/>
                <a:gd name="T23" fmla="*/ 2147483647 h 19"/>
                <a:gd name="T24" fmla="*/ 2147483647 w 46"/>
                <a:gd name="T25" fmla="*/ 2147483647 h 19"/>
                <a:gd name="T26" fmla="*/ 2147483647 w 46"/>
                <a:gd name="T27" fmla="*/ 2147483647 h 19"/>
                <a:gd name="T28" fmla="*/ 2147483647 w 46"/>
                <a:gd name="T29" fmla="*/ 2147483647 h 19"/>
                <a:gd name="T30" fmla="*/ 2147483647 w 46"/>
                <a:gd name="T31" fmla="*/ 2147483647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6"/>
                <a:gd name="T52" fmla="*/ 0 h 19"/>
                <a:gd name="T53" fmla="*/ 46 w 46"/>
                <a:gd name="T54" fmla="*/ 19 h 1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52" name="Freeform 519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4419600" y="1920875"/>
              <a:ext cx="47625" cy="58738"/>
            </a:xfrm>
            <a:custGeom>
              <a:avLst/>
              <a:gdLst>
                <a:gd name="T0" fmla="*/ 2147483647 w 100"/>
                <a:gd name="T1" fmla="*/ 0 h 55"/>
                <a:gd name="T2" fmla="*/ 2147483647 w 100"/>
                <a:gd name="T3" fmla="*/ 2147483647 h 55"/>
                <a:gd name="T4" fmla="*/ 2147483647 w 100"/>
                <a:gd name="T5" fmla="*/ 2147483647 h 55"/>
                <a:gd name="T6" fmla="*/ 2147483647 w 100"/>
                <a:gd name="T7" fmla="*/ 2147483647 h 55"/>
                <a:gd name="T8" fmla="*/ 0 w 100"/>
                <a:gd name="T9" fmla="*/ 2147483647 h 55"/>
                <a:gd name="T10" fmla="*/ 2147483647 w 100"/>
                <a:gd name="T11" fmla="*/ 2147483647 h 55"/>
                <a:gd name="T12" fmla="*/ 2147483647 w 100"/>
                <a:gd name="T13" fmla="*/ 2147483647 h 55"/>
                <a:gd name="T14" fmla="*/ 2147483647 w 100"/>
                <a:gd name="T15" fmla="*/ 2147483647 h 55"/>
                <a:gd name="T16" fmla="*/ 2147483647 w 100"/>
                <a:gd name="T17" fmla="*/ 2147483647 h 55"/>
                <a:gd name="T18" fmla="*/ 2147483647 w 100"/>
                <a:gd name="T19" fmla="*/ 2147483647 h 55"/>
                <a:gd name="T20" fmla="*/ 2147483647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0"/>
                <a:gd name="T34" fmla="*/ 0 h 55"/>
                <a:gd name="T35" fmla="*/ 100 w 100"/>
                <a:gd name="T36" fmla="*/ 55 h 5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53" name="Freeform 520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4868863" y="1512888"/>
              <a:ext cx="42862" cy="58737"/>
            </a:xfrm>
            <a:custGeom>
              <a:avLst/>
              <a:gdLst>
                <a:gd name="T0" fmla="*/ 2147483647 w 99"/>
                <a:gd name="T1" fmla="*/ 2147483647 h 51"/>
                <a:gd name="T2" fmla="*/ 2147483647 w 99"/>
                <a:gd name="T3" fmla="*/ 2147483647 h 51"/>
                <a:gd name="T4" fmla="*/ 2147483647 w 99"/>
                <a:gd name="T5" fmla="*/ 0 h 51"/>
                <a:gd name="T6" fmla="*/ 2147483647 w 99"/>
                <a:gd name="T7" fmla="*/ 0 h 51"/>
                <a:gd name="T8" fmla="*/ 2147483647 w 99"/>
                <a:gd name="T9" fmla="*/ 2147483647 h 51"/>
                <a:gd name="T10" fmla="*/ 2147483647 w 99"/>
                <a:gd name="T11" fmla="*/ 2147483647 h 51"/>
                <a:gd name="T12" fmla="*/ 2147483647 w 99"/>
                <a:gd name="T13" fmla="*/ 2147483647 h 51"/>
                <a:gd name="T14" fmla="*/ 2147483647 w 99"/>
                <a:gd name="T15" fmla="*/ 2147483647 h 51"/>
                <a:gd name="T16" fmla="*/ 2147483647 w 99"/>
                <a:gd name="T17" fmla="*/ 2147483647 h 51"/>
                <a:gd name="T18" fmla="*/ 2147483647 w 99"/>
                <a:gd name="T19" fmla="*/ 2147483647 h 51"/>
                <a:gd name="T20" fmla="*/ 2147483647 w 99"/>
                <a:gd name="T21" fmla="*/ 2147483647 h 51"/>
                <a:gd name="T22" fmla="*/ 2147483647 w 99"/>
                <a:gd name="T23" fmla="*/ 2147483647 h 51"/>
                <a:gd name="T24" fmla="*/ 2147483647 w 99"/>
                <a:gd name="T25" fmla="*/ 2147483647 h 51"/>
                <a:gd name="T26" fmla="*/ 2147483647 w 99"/>
                <a:gd name="T27" fmla="*/ 2147483647 h 51"/>
                <a:gd name="T28" fmla="*/ 2147483647 w 99"/>
                <a:gd name="T29" fmla="*/ 2147483647 h 51"/>
                <a:gd name="T30" fmla="*/ 2147483647 w 99"/>
                <a:gd name="T31" fmla="*/ 2147483647 h 51"/>
                <a:gd name="T32" fmla="*/ 2147483647 w 99"/>
                <a:gd name="T33" fmla="*/ 2147483647 h 51"/>
                <a:gd name="T34" fmla="*/ 2147483647 w 99"/>
                <a:gd name="T35" fmla="*/ 2147483647 h 51"/>
                <a:gd name="T36" fmla="*/ 2147483647 w 99"/>
                <a:gd name="T37" fmla="*/ 2147483647 h 51"/>
                <a:gd name="T38" fmla="*/ 2147483647 w 99"/>
                <a:gd name="T39" fmla="*/ 2147483647 h 51"/>
                <a:gd name="T40" fmla="*/ 2147483647 w 99"/>
                <a:gd name="T41" fmla="*/ 2147483647 h 51"/>
                <a:gd name="T42" fmla="*/ 2147483647 w 99"/>
                <a:gd name="T43" fmla="*/ 2147483647 h 51"/>
                <a:gd name="T44" fmla="*/ 2147483647 w 99"/>
                <a:gd name="T45" fmla="*/ 2147483647 h 51"/>
                <a:gd name="T46" fmla="*/ 2147483647 w 99"/>
                <a:gd name="T47" fmla="*/ 2147483647 h 51"/>
                <a:gd name="T48" fmla="*/ 2147483647 w 99"/>
                <a:gd name="T49" fmla="*/ 2147483647 h 51"/>
                <a:gd name="T50" fmla="*/ 2147483647 w 99"/>
                <a:gd name="T51" fmla="*/ 2147483647 h 51"/>
                <a:gd name="T52" fmla="*/ 2147483647 w 99"/>
                <a:gd name="T53" fmla="*/ 2147483647 h 51"/>
                <a:gd name="T54" fmla="*/ 0 w 99"/>
                <a:gd name="T55" fmla="*/ 2147483647 h 51"/>
                <a:gd name="T56" fmla="*/ 2147483647 w 99"/>
                <a:gd name="T57" fmla="*/ 2147483647 h 51"/>
                <a:gd name="T58" fmla="*/ 2147483647 w 99"/>
                <a:gd name="T59" fmla="*/ 2147483647 h 51"/>
                <a:gd name="T60" fmla="*/ 2147483647 w 99"/>
                <a:gd name="T61" fmla="*/ 2147483647 h 51"/>
                <a:gd name="T62" fmla="*/ 2147483647 w 99"/>
                <a:gd name="T63" fmla="*/ 2147483647 h 51"/>
                <a:gd name="T64" fmla="*/ 2147483647 w 99"/>
                <a:gd name="T65" fmla="*/ 2147483647 h 51"/>
                <a:gd name="T66" fmla="*/ 2147483647 w 99"/>
                <a:gd name="T67" fmla="*/ 2147483647 h 51"/>
                <a:gd name="T68" fmla="*/ 2147483647 w 99"/>
                <a:gd name="T69" fmla="*/ 2147483647 h 51"/>
                <a:gd name="T70" fmla="*/ 2147483647 w 99"/>
                <a:gd name="T71" fmla="*/ 2147483647 h 51"/>
                <a:gd name="T72" fmla="*/ 2147483647 w 99"/>
                <a:gd name="T73" fmla="*/ 2147483647 h 51"/>
                <a:gd name="T74" fmla="*/ 2147483647 w 99"/>
                <a:gd name="T75" fmla="*/ 2147483647 h 51"/>
                <a:gd name="T76" fmla="*/ 2147483647 w 99"/>
                <a:gd name="T77" fmla="*/ 2147483647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9"/>
                <a:gd name="T118" fmla="*/ 0 h 51"/>
                <a:gd name="T119" fmla="*/ 99 w 99"/>
                <a:gd name="T120" fmla="*/ 51 h 5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54" name="Freeform 521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4903788" y="1325563"/>
              <a:ext cx="228600" cy="163512"/>
            </a:xfrm>
            <a:custGeom>
              <a:avLst/>
              <a:gdLst>
                <a:gd name="T0" fmla="*/ 2147483647 w 525"/>
                <a:gd name="T1" fmla="*/ 2147483647 h 311"/>
                <a:gd name="T2" fmla="*/ 2147483647 w 525"/>
                <a:gd name="T3" fmla="*/ 2147483647 h 311"/>
                <a:gd name="T4" fmla="*/ 2147483647 w 525"/>
                <a:gd name="T5" fmla="*/ 2147483647 h 311"/>
                <a:gd name="T6" fmla="*/ 2147483647 w 525"/>
                <a:gd name="T7" fmla="*/ 2147483647 h 311"/>
                <a:gd name="T8" fmla="*/ 2147483647 w 525"/>
                <a:gd name="T9" fmla="*/ 2147483647 h 311"/>
                <a:gd name="T10" fmla="*/ 2147483647 w 525"/>
                <a:gd name="T11" fmla="*/ 2147483647 h 311"/>
                <a:gd name="T12" fmla="*/ 2147483647 w 525"/>
                <a:gd name="T13" fmla="*/ 2147483647 h 311"/>
                <a:gd name="T14" fmla="*/ 2147483647 w 525"/>
                <a:gd name="T15" fmla="*/ 2147483647 h 311"/>
                <a:gd name="T16" fmla="*/ 2147483647 w 525"/>
                <a:gd name="T17" fmla="*/ 2147483647 h 311"/>
                <a:gd name="T18" fmla="*/ 2147483647 w 525"/>
                <a:gd name="T19" fmla="*/ 2147483647 h 311"/>
                <a:gd name="T20" fmla="*/ 2147483647 w 525"/>
                <a:gd name="T21" fmla="*/ 2147483647 h 311"/>
                <a:gd name="T22" fmla="*/ 2147483647 w 525"/>
                <a:gd name="T23" fmla="*/ 2147483647 h 311"/>
                <a:gd name="T24" fmla="*/ 2147483647 w 525"/>
                <a:gd name="T25" fmla="*/ 2147483647 h 311"/>
                <a:gd name="T26" fmla="*/ 2147483647 w 525"/>
                <a:gd name="T27" fmla="*/ 2147483647 h 311"/>
                <a:gd name="T28" fmla="*/ 2147483647 w 525"/>
                <a:gd name="T29" fmla="*/ 2147483647 h 311"/>
                <a:gd name="T30" fmla="*/ 2147483647 w 525"/>
                <a:gd name="T31" fmla="*/ 2147483647 h 311"/>
                <a:gd name="T32" fmla="*/ 2147483647 w 525"/>
                <a:gd name="T33" fmla="*/ 2147483647 h 311"/>
                <a:gd name="T34" fmla="*/ 2147483647 w 525"/>
                <a:gd name="T35" fmla="*/ 2147483647 h 311"/>
                <a:gd name="T36" fmla="*/ 2147483647 w 525"/>
                <a:gd name="T37" fmla="*/ 2147483647 h 311"/>
                <a:gd name="T38" fmla="*/ 2147483647 w 525"/>
                <a:gd name="T39" fmla="*/ 2147483647 h 311"/>
                <a:gd name="T40" fmla="*/ 2147483647 w 525"/>
                <a:gd name="T41" fmla="*/ 2147483647 h 311"/>
                <a:gd name="T42" fmla="*/ 2147483647 w 525"/>
                <a:gd name="T43" fmla="*/ 2147483647 h 311"/>
                <a:gd name="T44" fmla="*/ 2147483647 w 525"/>
                <a:gd name="T45" fmla="*/ 2147483647 h 311"/>
                <a:gd name="T46" fmla="*/ 2147483647 w 525"/>
                <a:gd name="T47" fmla="*/ 2147483647 h 311"/>
                <a:gd name="T48" fmla="*/ 2147483647 w 525"/>
                <a:gd name="T49" fmla="*/ 2147483647 h 311"/>
                <a:gd name="T50" fmla="*/ 2147483647 w 525"/>
                <a:gd name="T51" fmla="*/ 2147483647 h 311"/>
                <a:gd name="T52" fmla="*/ 2147483647 w 525"/>
                <a:gd name="T53" fmla="*/ 2147483647 h 311"/>
                <a:gd name="T54" fmla="*/ 2147483647 w 525"/>
                <a:gd name="T55" fmla="*/ 2147483647 h 311"/>
                <a:gd name="T56" fmla="*/ 2147483647 w 525"/>
                <a:gd name="T57" fmla="*/ 2147483647 h 311"/>
                <a:gd name="T58" fmla="*/ 2147483647 w 525"/>
                <a:gd name="T59" fmla="*/ 2147483647 h 311"/>
                <a:gd name="T60" fmla="*/ 2147483647 w 525"/>
                <a:gd name="T61" fmla="*/ 2147483647 h 311"/>
                <a:gd name="T62" fmla="*/ 2147483647 w 525"/>
                <a:gd name="T63" fmla="*/ 2147483647 h 311"/>
                <a:gd name="T64" fmla="*/ 2147483647 w 525"/>
                <a:gd name="T65" fmla="*/ 2147483647 h 311"/>
                <a:gd name="T66" fmla="*/ 2147483647 w 525"/>
                <a:gd name="T67" fmla="*/ 2147483647 h 311"/>
                <a:gd name="T68" fmla="*/ 2147483647 w 525"/>
                <a:gd name="T69" fmla="*/ 2147483647 h 311"/>
                <a:gd name="T70" fmla="*/ 2147483647 w 525"/>
                <a:gd name="T71" fmla="*/ 2147483647 h 311"/>
                <a:gd name="T72" fmla="*/ 2147483647 w 525"/>
                <a:gd name="T73" fmla="*/ 2147483647 h 311"/>
                <a:gd name="T74" fmla="*/ 2147483647 w 525"/>
                <a:gd name="T75" fmla="*/ 2147483647 h 311"/>
                <a:gd name="T76" fmla="*/ 0 w 525"/>
                <a:gd name="T77" fmla="*/ 2147483647 h 311"/>
                <a:gd name="T78" fmla="*/ 2147483647 w 525"/>
                <a:gd name="T79" fmla="*/ 2147483647 h 311"/>
                <a:gd name="T80" fmla="*/ 2147483647 w 525"/>
                <a:gd name="T81" fmla="*/ 2147483647 h 311"/>
                <a:gd name="T82" fmla="*/ 2147483647 w 525"/>
                <a:gd name="T83" fmla="*/ 2147483647 h 311"/>
                <a:gd name="T84" fmla="*/ 2147483647 w 525"/>
                <a:gd name="T85" fmla="*/ 2147483647 h 311"/>
                <a:gd name="T86" fmla="*/ 2147483647 w 525"/>
                <a:gd name="T87" fmla="*/ 2147483647 h 311"/>
                <a:gd name="T88" fmla="*/ 2147483647 w 525"/>
                <a:gd name="T89" fmla="*/ 2147483647 h 311"/>
                <a:gd name="T90" fmla="*/ 2147483647 w 525"/>
                <a:gd name="T91" fmla="*/ 2147483647 h 311"/>
                <a:gd name="T92" fmla="*/ 2147483647 w 525"/>
                <a:gd name="T93" fmla="*/ 2147483647 h 311"/>
                <a:gd name="T94" fmla="*/ 2147483647 w 525"/>
                <a:gd name="T95" fmla="*/ 2147483647 h 311"/>
                <a:gd name="T96" fmla="*/ 2147483647 w 525"/>
                <a:gd name="T97" fmla="*/ 2147483647 h 311"/>
                <a:gd name="T98" fmla="*/ 2147483647 w 525"/>
                <a:gd name="T99" fmla="*/ 2147483647 h 311"/>
                <a:gd name="T100" fmla="*/ 2147483647 w 525"/>
                <a:gd name="T101" fmla="*/ 2147483647 h 311"/>
                <a:gd name="T102" fmla="*/ 2147483647 w 525"/>
                <a:gd name="T103" fmla="*/ 2147483647 h 311"/>
                <a:gd name="T104" fmla="*/ 2147483647 w 525"/>
                <a:gd name="T105" fmla="*/ 2147483647 h 311"/>
                <a:gd name="T106" fmla="*/ 2147483647 w 525"/>
                <a:gd name="T107" fmla="*/ 2147483647 h 311"/>
                <a:gd name="T108" fmla="*/ 2147483647 w 525"/>
                <a:gd name="T109" fmla="*/ 2147483647 h 311"/>
                <a:gd name="T110" fmla="*/ 2147483647 w 525"/>
                <a:gd name="T111" fmla="*/ 2147483647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25"/>
                <a:gd name="T169" fmla="*/ 0 h 311"/>
                <a:gd name="T170" fmla="*/ 525 w 525"/>
                <a:gd name="T171" fmla="*/ 311 h 31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55" name="Freeform 522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4695825" y="1636713"/>
              <a:ext cx="31750" cy="55562"/>
            </a:xfrm>
            <a:custGeom>
              <a:avLst/>
              <a:gdLst>
                <a:gd name="T0" fmla="*/ 2147483647 w 79"/>
                <a:gd name="T1" fmla="*/ 0 h 38"/>
                <a:gd name="T2" fmla="*/ 2147483647 w 79"/>
                <a:gd name="T3" fmla="*/ 2147483647 h 38"/>
                <a:gd name="T4" fmla="*/ 2147483647 w 79"/>
                <a:gd name="T5" fmla="*/ 2147483647 h 38"/>
                <a:gd name="T6" fmla="*/ 2147483647 w 79"/>
                <a:gd name="T7" fmla="*/ 2147483647 h 38"/>
                <a:gd name="T8" fmla="*/ 2147483647 w 79"/>
                <a:gd name="T9" fmla="*/ 2147483647 h 38"/>
                <a:gd name="T10" fmla="*/ 2147483647 w 79"/>
                <a:gd name="T11" fmla="*/ 2147483647 h 38"/>
                <a:gd name="T12" fmla="*/ 2147483647 w 79"/>
                <a:gd name="T13" fmla="*/ 2147483647 h 38"/>
                <a:gd name="T14" fmla="*/ 2147483647 w 79"/>
                <a:gd name="T15" fmla="*/ 2147483647 h 38"/>
                <a:gd name="T16" fmla="*/ 2147483647 w 79"/>
                <a:gd name="T17" fmla="*/ 2147483647 h 38"/>
                <a:gd name="T18" fmla="*/ 2147483647 w 79"/>
                <a:gd name="T19" fmla="*/ 2147483647 h 38"/>
                <a:gd name="T20" fmla="*/ 2147483647 w 79"/>
                <a:gd name="T21" fmla="*/ 2147483647 h 38"/>
                <a:gd name="T22" fmla="*/ 2147483647 w 79"/>
                <a:gd name="T23" fmla="*/ 2147483647 h 38"/>
                <a:gd name="T24" fmla="*/ 2147483647 w 79"/>
                <a:gd name="T25" fmla="*/ 2147483647 h 38"/>
                <a:gd name="T26" fmla="*/ 2147483647 w 79"/>
                <a:gd name="T27" fmla="*/ 2147483647 h 38"/>
                <a:gd name="T28" fmla="*/ 2147483647 w 79"/>
                <a:gd name="T29" fmla="*/ 2147483647 h 38"/>
                <a:gd name="T30" fmla="*/ 2147483647 w 79"/>
                <a:gd name="T31" fmla="*/ 2147483647 h 38"/>
                <a:gd name="T32" fmla="*/ 2147483647 w 79"/>
                <a:gd name="T33" fmla="*/ 2147483647 h 38"/>
                <a:gd name="T34" fmla="*/ 2147483647 w 79"/>
                <a:gd name="T35" fmla="*/ 2147483647 h 38"/>
                <a:gd name="T36" fmla="*/ 2147483647 w 79"/>
                <a:gd name="T37" fmla="*/ 2147483647 h 38"/>
                <a:gd name="T38" fmla="*/ 2147483647 w 79"/>
                <a:gd name="T39" fmla="*/ 2147483647 h 38"/>
                <a:gd name="T40" fmla="*/ 2147483647 w 79"/>
                <a:gd name="T41" fmla="*/ 2147483647 h 38"/>
                <a:gd name="T42" fmla="*/ 2147483647 w 79"/>
                <a:gd name="T43" fmla="*/ 2147483647 h 38"/>
                <a:gd name="T44" fmla="*/ 2147483647 w 79"/>
                <a:gd name="T45" fmla="*/ 2147483647 h 38"/>
                <a:gd name="T46" fmla="*/ 0 w 79"/>
                <a:gd name="T47" fmla="*/ 2147483647 h 38"/>
                <a:gd name="T48" fmla="*/ 0 w 79"/>
                <a:gd name="T49" fmla="*/ 2147483647 h 38"/>
                <a:gd name="T50" fmla="*/ 2147483647 w 79"/>
                <a:gd name="T51" fmla="*/ 2147483647 h 38"/>
                <a:gd name="T52" fmla="*/ 2147483647 w 79"/>
                <a:gd name="T53" fmla="*/ 2147483647 h 38"/>
                <a:gd name="T54" fmla="*/ 2147483647 w 79"/>
                <a:gd name="T55" fmla="*/ 2147483647 h 38"/>
                <a:gd name="T56" fmla="*/ 2147483647 w 79"/>
                <a:gd name="T57" fmla="*/ 2147483647 h 38"/>
                <a:gd name="T58" fmla="*/ 2147483647 w 79"/>
                <a:gd name="T59" fmla="*/ 2147483647 h 38"/>
                <a:gd name="T60" fmla="*/ 214748364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79"/>
                <a:gd name="T94" fmla="*/ 0 h 38"/>
                <a:gd name="T95" fmla="*/ 79 w 79"/>
                <a:gd name="T96" fmla="*/ 38 h 38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56" name="Freeform 523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7000875" y="1933575"/>
              <a:ext cx="196850" cy="268288"/>
            </a:xfrm>
            <a:custGeom>
              <a:avLst/>
              <a:gdLst>
                <a:gd name="T0" fmla="*/ 2147483647 w 459"/>
                <a:gd name="T1" fmla="*/ 2147483647 h 511"/>
                <a:gd name="T2" fmla="*/ 2147483647 w 459"/>
                <a:gd name="T3" fmla="*/ 2147483647 h 511"/>
                <a:gd name="T4" fmla="*/ 0 w 459"/>
                <a:gd name="T5" fmla="*/ 0 h 511"/>
                <a:gd name="T6" fmla="*/ 2147483647 w 459"/>
                <a:gd name="T7" fmla="*/ 2147483647 h 511"/>
                <a:gd name="T8" fmla="*/ 2147483647 w 459"/>
                <a:gd name="T9" fmla="*/ 2147483647 h 511"/>
                <a:gd name="T10" fmla="*/ 2147483647 w 459"/>
                <a:gd name="T11" fmla="*/ 2147483647 h 511"/>
                <a:gd name="T12" fmla="*/ 2147483647 w 459"/>
                <a:gd name="T13" fmla="*/ 2147483647 h 511"/>
                <a:gd name="T14" fmla="*/ 2147483647 w 459"/>
                <a:gd name="T15" fmla="*/ 2147483647 h 511"/>
                <a:gd name="T16" fmla="*/ 2147483647 w 459"/>
                <a:gd name="T17" fmla="*/ 2147483647 h 511"/>
                <a:gd name="T18" fmla="*/ 2147483647 w 459"/>
                <a:gd name="T19" fmla="*/ 2147483647 h 511"/>
                <a:gd name="T20" fmla="*/ 2147483647 w 459"/>
                <a:gd name="T21" fmla="*/ 2147483647 h 511"/>
                <a:gd name="T22" fmla="*/ 2147483647 w 459"/>
                <a:gd name="T23" fmla="*/ 2147483647 h 511"/>
                <a:gd name="T24" fmla="*/ 2147483647 w 459"/>
                <a:gd name="T25" fmla="*/ 2147483647 h 511"/>
                <a:gd name="T26" fmla="*/ 2147483647 w 459"/>
                <a:gd name="T27" fmla="*/ 2147483647 h 511"/>
                <a:gd name="T28" fmla="*/ 2147483647 w 459"/>
                <a:gd name="T29" fmla="*/ 2147483647 h 511"/>
                <a:gd name="T30" fmla="*/ 2147483647 w 459"/>
                <a:gd name="T31" fmla="*/ 2147483647 h 511"/>
                <a:gd name="T32" fmla="*/ 2147483647 w 459"/>
                <a:gd name="T33" fmla="*/ 2147483647 h 511"/>
                <a:gd name="T34" fmla="*/ 2147483647 w 459"/>
                <a:gd name="T35" fmla="*/ 2147483647 h 511"/>
                <a:gd name="T36" fmla="*/ 2147483647 w 459"/>
                <a:gd name="T37" fmla="*/ 2147483647 h 511"/>
                <a:gd name="T38" fmla="*/ 2147483647 w 459"/>
                <a:gd name="T39" fmla="*/ 2147483647 h 511"/>
                <a:gd name="T40" fmla="*/ 2147483647 w 459"/>
                <a:gd name="T41" fmla="*/ 2147483647 h 511"/>
                <a:gd name="T42" fmla="*/ 2147483647 w 459"/>
                <a:gd name="T43" fmla="*/ 2147483647 h 511"/>
                <a:gd name="T44" fmla="*/ 2147483647 w 459"/>
                <a:gd name="T45" fmla="*/ 2147483647 h 511"/>
                <a:gd name="T46" fmla="*/ 2147483647 w 459"/>
                <a:gd name="T47" fmla="*/ 2147483647 h 511"/>
                <a:gd name="T48" fmla="*/ 2147483647 w 459"/>
                <a:gd name="T49" fmla="*/ 2147483647 h 511"/>
                <a:gd name="T50" fmla="*/ 2147483647 w 459"/>
                <a:gd name="T51" fmla="*/ 2147483647 h 511"/>
                <a:gd name="T52" fmla="*/ 2147483647 w 459"/>
                <a:gd name="T53" fmla="*/ 2147483647 h 511"/>
                <a:gd name="T54" fmla="*/ 2147483647 w 459"/>
                <a:gd name="T55" fmla="*/ 2147483647 h 511"/>
                <a:gd name="T56" fmla="*/ 2147483647 w 459"/>
                <a:gd name="T57" fmla="*/ 2147483647 h 511"/>
                <a:gd name="T58" fmla="*/ 2147483647 w 459"/>
                <a:gd name="T59" fmla="*/ 2147483647 h 511"/>
                <a:gd name="T60" fmla="*/ 2147483647 w 459"/>
                <a:gd name="T61" fmla="*/ 2147483647 h 511"/>
                <a:gd name="T62" fmla="*/ 2147483647 w 459"/>
                <a:gd name="T63" fmla="*/ 2147483647 h 511"/>
                <a:gd name="T64" fmla="*/ 2147483647 w 459"/>
                <a:gd name="T65" fmla="*/ 2147483647 h 511"/>
                <a:gd name="T66" fmla="*/ 2147483647 w 459"/>
                <a:gd name="T67" fmla="*/ 2147483647 h 511"/>
                <a:gd name="T68" fmla="*/ 2147483647 w 459"/>
                <a:gd name="T69" fmla="*/ 2147483647 h 511"/>
                <a:gd name="T70" fmla="*/ 2147483647 w 459"/>
                <a:gd name="T71" fmla="*/ 2147483647 h 511"/>
                <a:gd name="T72" fmla="*/ 2147483647 w 459"/>
                <a:gd name="T73" fmla="*/ 2147483647 h 511"/>
                <a:gd name="T74" fmla="*/ 2147483647 w 459"/>
                <a:gd name="T75" fmla="*/ 2147483647 h 511"/>
                <a:gd name="T76" fmla="*/ 2147483647 w 459"/>
                <a:gd name="T77" fmla="*/ 2147483647 h 511"/>
                <a:gd name="T78" fmla="*/ 2147483647 w 459"/>
                <a:gd name="T79" fmla="*/ 2147483647 h 511"/>
                <a:gd name="T80" fmla="*/ 2147483647 w 459"/>
                <a:gd name="T81" fmla="*/ 2147483647 h 511"/>
                <a:gd name="T82" fmla="*/ 2147483647 w 459"/>
                <a:gd name="T83" fmla="*/ 2147483647 h 511"/>
                <a:gd name="T84" fmla="*/ 2147483647 w 459"/>
                <a:gd name="T85" fmla="*/ 2147483647 h 511"/>
                <a:gd name="T86" fmla="*/ 2147483647 w 459"/>
                <a:gd name="T87" fmla="*/ 2147483647 h 511"/>
                <a:gd name="T88" fmla="*/ 2147483647 w 459"/>
                <a:gd name="T89" fmla="*/ 2147483647 h 511"/>
                <a:gd name="T90" fmla="*/ 2147483647 w 459"/>
                <a:gd name="T91" fmla="*/ 2147483647 h 511"/>
                <a:gd name="T92" fmla="*/ 2147483647 w 459"/>
                <a:gd name="T93" fmla="*/ 214748364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59"/>
                <a:gd name="T142" fmla="*/ 0 h 511"/>
                <a:gd name="T143" fmla="*/ 459 w 459"/>
                <a:gd name="T144" fmla="*/ 511 h 511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15757" name="Group 524"/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5791200" y="1889125"/>
              <a:ext cx="671513" cy="384175"/>
              <a:chOff x="4115" y="1551"/>
              <a:chExt cx="504" cy="244"/>
            </a:xfrm>
          </p:grpSpPr>
          <p:sp>
            <p:nvSpPr>
              <p:cNvPr id="15828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0 w 240"/>
                  <a:gd name="T1" fmla="*/ 0 h 259"/>
                  <a:gd name="T2" fmla="*/ 0 w 240"/>
                  <a:gd name="T3" fmla="*/ 0 h 259"/>
                  <a:gd name="T4" fmla="*/ 0 w 240"/>
                  <a:gd name="T5" fmla="*/ 0 h 259"/>
                  <a:gd name="T6" fmla="*/ 0 w 240"/>
                  <a:gd name="T7" fmla="*/ 0 h 259"/>
                  <a:gd name="T8" fmla="*/ 0 w 240"/>
                  <a:gd name="T9" fmla="*/ 0 h 259"/>
                  <a:gd name="T10" fmla="*/ 0 w 240"/>
                  <a:gd name="T11" fmla="*/ 0 h 259"/>
                  <a:gd name="T12" fmla="*/ 0 w 240"/>
                  <a:gd name="T13" fmla="*/ 0 h 259"/>
                  <a:gd name="T14" fmla="*/ 0 w 240"/>
                  <a:gd name="T15" fmla="*/ 0 h 259"/>
                  <a:gd name="T16" fmla="*/ 0 w 240"/>
                  <a:gd name="T17" fmla="*/ 0 h 259"/>
                  <a:gd name="T18" fmla="*/ 0 w 240"/>
                  <a:gd name="T19" fmla="*/ 0 h 259"/>
                  <a:gd name="T20" fmla="*/ 0 w 240"/>
                  <a:gd name="T21" fmla="*/ 0 h 259"/>
                  <a:gd name="T22" fmla="*/ 0 w 240"/>
                  <a:gd name="T23" fmla="*/ 0 h 259"/>
                  <a:gd name="T24" fmla="*/ 0 w 240"/>
                  <a:gd name="T25" fmla="*/ 0 h 259"/>
                  <a:gd name="T26" fmla="*/ 0 w 240"/>
                  <a:gd name="T27" fmla="*/ 0 h 259"/>
                  <a:gd name="T28" fmla="*/ 0 w 240"/>
                  <a:gd name="T29" fmla="*/ 0 h 259"/>
                  <a:gd name="T30" fmla="*/ 0 w 240"/>
                  <a:gd name="T31" fmla="*/ 0 h 259"/>
                  <a:gd name="T32" fmla="*/ 0 w 240"/>
                  <a:gd name="T33" fmla="*/ 0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40"/>
                  <a:gd name="T52" fmla="*/ 0 h 259"/>
                  <a:gd name="T53" fmla="*/ 240 w 240"/>
                  <a:gd name="T54" fmla="*/ 259 h 25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29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0 w 259"/>
                  <a:gd name="T1" fmla="*/ 0 h 104"/>
                  <a:gd name="T2" fmla="*/ 0 w 259"/>
                  <a:gd name="T3" fmla="*/ 0 h 104"/>
                  <a:gd name="T4" fmla="*/ 0 w 259"/>
                  <a:gd name="T5" fmla="*/ 0 h 104"/>
                  <a:gd name="T6" fmla="*/ 0 w 259"/>
                  <a:gd name="T7" fmla="*/ 0 h 104"/>
                  <a:gd name="T8" fmla="*/ 0 w 259"/>
                  <a:gd name="T9" fmla="*/ 0 h 104"/>
                  <a:gd name="T10" fmla="*/ 0 w 259"/>
                  <a:gd name="T11" fmla="*/ 0 h 104"/>
                  <a:gd name="T12" fmla="*/ 0 w 259"/>
                  <a:gd name="T13" fmla="*/ 0 h 104"/>
                  <a:gd name="T14" fmla="*/ 0 w 259"/>
                  <a:gd name="T15" fmla="*/ 0 h 104"/>
                  <a:gd name="T16" fmla="*/ 0 w 259"/>
                  <a:gd name="T17" fmla="*/ 0 h 104"/>
                  <a:gd name="T18" fmla="*/ 0 w 259"/>
                  <a:gd name="T19" fmla="*/ 0 h 104"/>
                  <a:gd name="T20" fmla="*/ 0 w 259"/>
                  <a:gd name="T21" fmla="*/ 0 h 104"/>
                  <a:gd name="T22" fmla="*/ 0 w 259"/>
                  <a:gd name="T23" fmla="*/ 0 h 104"/>
                  <a:gd name="T24" fmla="*/ 0 w 259"/>
                  <a:gd name="T25" fmla="*/ 0 h 104"/>
                  <a:gd name="T26" fmla="*/ 0 w 259"/>
                  <a:gd name="T27" fmla="*/ 0 h 104"/>
                  <a:gd name="T28" fmla="*/ 0 w 259"/>
                  <a:gd name="T29" fmla="*/ 0 h 104"/>
                  <a:gd name="T30" fmla="*/ 0 w 259"/>
                  <a:gd name="T31" fmla="*/ 0 h 104"/>
                  <a:gd name="T32" fmla="*/ 0 w 259"/>
                  <a:gd name="T33" fmla="*/ 0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59"/>
                  <a:gd name="T52" fmla="*/ 0 h 104"/>
                  <a:gd name="T53" fmla="*/ 259 w 259"/>
                  <a:gd name="T54" fmla="*/ 104 h 104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5758" name="Freeform 527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4848225" y="2638425"/>
              <a:ext cx="530225" cy="511175"/>
            </a:xfrm>
            <a:custGeom>
              <a:avLst/>
              <a:gdLst>
                <a:gd name="T0" fmla="*/ 2147483647 w 1227"/>
                <a:gd name="T1" fmla="*/ 2147483647 h 979"/>
                <a:gd name="T2" fmla="*/ 2147483647 w 1227"/>
                <a:gd name="T3" fmla="*/ 2147483647 h 979"/>
                <a:gd name="T4" fmla="*/ 2147483647 w 1227"/>
                <a:gd name="T5" fmla="*/ 2147483647 h 979"/>
                <a:gd name="T6" fmla="*/ 2147483647 w 1227"/>
                <a:gd name="T7" fmla="*/ 2147483647 h 979"/>
                <a:gd name="T8" fmla="*/ 2147483647 w 1227"/>
                <a:gd name="T9" fmla="*/ 2147483647 h 979"/>
                <a:gd name="T10" fmla="*/ 2147483647 w 1227"/>
                <a:gd name="T11" fmla="*/ 2147483647 h 979"/>
                <a:gd name="T12" fmla="*/ 2147483647 w 1227"/>
                <a:gd name="T13" fmla="*/ 2147483647 h 979"/>
                <a:gd name="T14" fmla="*/ 2147483647 w 1227"/>
                <a:gd name="T15" fmla="*/ 2147483647 h 979"/>
                <a:gd name="T16" fmla="*/ 2147483647 w 1227"/>
                <a:gd name="T17" fmla="*/ 2147483647 h 979"/>
                <a:gd name="T18" fmla="*/ 2147483647 w 1227"/>
                <a:gd name="T19" fmla="*/ 2147483647 h 979"/>
                <a:gd name="T20" fmla="*/ 2147483647 w 1227"/>
                <a:gd name="T21" fmla="*/ 2147483647 h 979"/>
                <a:gd name="T22" fmla="*/ 2147483647 w 1227"/>
                <a:gd name="T23" fmla="*/ 2147483647 h 979"/>
                <a:gd name="T24" fmla="*/ 2147483647 w 1227"/>
                <a:gd name="T25" fmla="*/ 2147483647 h 979"/>
                <a:gd name="T26" fmla="*/ 2147483647 w 1227"/>
                <a:gd name="T27" fmla="*/ 2147483647 h 979"/>
                <a:gd name="T28" fmla="*/ 2147483647 w 1227"/>
                <a:gd name="T29" fmla="*/ 2147483647 h 979"/>
                <a:gd name="T30" fmla="*/ 2147483647 w 1227"/>
                <a:gd name="T31" fmla="*/ 2147483647 h 979"/>
                <a:gd name="T32" fmla="*/ 2147483647 w 1227"/>
                <a:gd name="T33" fmla="*/ 2147483647 h 979"/>
                <a:gd name="T34" fmla="*/ 2147483647 w 1227"/>
                <a:gd name="T35" fmla="*/ 2147483647 h 979"/>
                <a:gd name="T36" fmla="*/ 2147483647 w 1227"/>
                <a:gd name="T37" fmla="*/ 2147483647 h 979"/>
                <a:gd name="T38" fmla="*/ 2147483647 w 1227"/>
                <a:gd name="T39" fmla="*/ 2147483647 h 979"/>
                <a:gd name="T40" fmla="*/ 2147483647 w 1227"/>
                <a:gd name="T41" fmla="*/ 2147483647 h 979"/>
                <a:gd name="T42" fmla="*/ 2147483647 w 1227"/>
                <a:gd name="T43" fmla="*/ 2147483647 h 979"/>
                <a:gd name="T44" fmla="*/ 2147483647 w 1227"/>
                <a:gd name="T45" fmla="*/ 2147483647 h 979"/>
                <a:gd name="T46" fmla="*/ 2147483647 w 1227"/>
                <a:gd name="T47" fmla="*/ 2147483647 h 979"/>
                <a:gd name="T48" fmla="*/ 2147483647 w 1227"/>
                <a:gd name="T49" fmla="*/ 2147483647 h 979"/>
                <a:gd name="T50" fmla="*/ 2147483647 w 1227"/>
                <a:gd name="T51" fmla="*/ 2147483647 h 979"/>
                <a:gd name="T52" fmla="*/ 2147483647 w 1227"/>
                <a:gd name="T53" fmla="*/ 2147483647 h 979"/>
                <a:gd name="T54" fmla="*/ 2147483647 w 1227"/>
                <a:gd name="T55" fmla="*/ 2147483647 h 979"/>
                <a:gd name="T56" fmla="*/ 2147483647 w 1227"/>
                <a:gd name="T57" fmla="*/ 2147483647 h 979"/>
                <a:gd name="T58" fmla="*/ 0 w 1227"/>
                <a:gd name="T59" fmla="*/ 2147483647 h 979"/>
                <a:gd name="T60" fmla="*/ 2147483647 w 1227"/>
                <a:gd name="T61" fmla="*/ 2147483647 h 979"/>
                <a:gd name="T62" fmla="*/ 2147483647 w 1227"/>
                <a:gd name="T63" fmla="*/ 2147483647 h 979"/>
                <a:gd name="T64" fmla="*/ 2147483647 w 1227"/>
                <a:gd name="T65" fmla="*/ 2147483647 h 979"/>
                <a:gd name="T66" fmla="*/ 2147483647 w 1227"/>
                <a:gd name="T67" fmla="*/ 2147483647 h 979"/>
                <a:gd name="T68" fmla="*/ 2147483647 w 1227"/>
                <a:gd name="T69" fmla="*/ 2147483647 h 979"/>
                <a:gd name="T70" fmla="*/ 2147483647 w 1227"/>
                <a:gd name="T71" fmla="*/ 2147483647 h 979"/>
                <a:gd name="T72" fmla="*/ 2147483647 w 1227"/>
                <a:gd name="T73" fmla="*/ 2147483647 h 979"/>
                <a:gd name="T74" fmla="*/ 2147483647 w 1227"/>
                <a:gd name="T75" fmla="*/ 2147483647 h 979"/>
                <a:gd name="T76" fmla="*/ 2147483647 w 1227"/>
                <a:gd name="T77" fmla="*/ 2147483647 h 979"/>
                <a:gd name="T78" fmla="*/ 2147483647 w 1227"/>
                <a:gd name="T79" fmla="*/ 2147483647 h 979"/>
                <a:gd name="T80" fmla="*/ 2147483647 w 1227"/>
                <a:gd name="T81" fmla="*/ 2147483647 h 979"/>
                <a:gd name="T82" fmla="*/ 2147483647 w 1227"/>
                <a:gd name="T83" fmla="*/ 2147483647 h 979"/>
                <a:gd name="T84" fmla="*/ 2147483647 w 1227"/>
                <a:gd name="T85" fmla="*/ 2147483647 h 979"/>
                <a:gd name="T86" fmla="*/ 2147483647 w 1227"/>
                <a:gd name="T87" fmla="*/ 2147483647 h 979"/>
                <a:gd name="T88" fmla="*/ 2147483647 w 1227"/>
                <a:gd name="T89" fmla="*/ 2147483647 h 979"/>
                <a:gd name="T90" fmla="*/ 2147483647 w 1227"/>
                <a:gd name="T91" fmla="*/ 2147483647 h 979"/>
                <a:gd name="T92" fmla="*/ 2147483647 w 1227"/>
                <a:gd name="T93" fmla="*/ 2147483647 h 979"/>
                <a:gd name="T94" fmla="*/ 2147483647 w 1227"/>
                <a:gd name="T95" fmla="*/ 2147483647 h 979"/>
                <a:gd name="T96" fmla="*/ 2147483647 w 1227"/>
                <a:gd name="T97" fmla="*/ 2147483647 h 979"/>
                <a:gd name="T98" fmla="*/ 2147483647 w 1227"/>
                <a:gd name="T99" fmla="*/ 2147483647 h 979"/>
                <a:gd name="T100" fmla="*/ 2147483647 w 1227"/>
                <a:gd name="T101" fmla="*/ 2147483647 h 979"/>
                <a:gd name="T102" fmla="*/ 2147483647 w 1227"/>
                <a:gd name="T103" fmla="*/ 2147483647 h 979"/>
                <a:gd name="T104" fmla="*/ 2147483647 w 1227"/>
                <a:gd name="T105" fmla="*/ 2147483647 h 979"/>
                <a:gd name="T106" fmla="*/ 2147483647 w 1227"/>
                <a:gd name="T107" fmla="*/ 2147483647 h 979"/>
                <a:gd name="T108" fmla="*/ 2147483647 w 1227"/>
                <a:gd name="T109" fmla="*/ 2147483647 h 979"/>
                <a:gd name="T110" fmla="*/ 2147483647 w 1227"/>
                <a:gd name="T111" fmla="*/ 2147483647 h 979"/>
                <a:gd name="T112" fmla="*/ 2147483647 w 1227"/>
                <a:gd name="T113" fmla="*/ 2147483647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227"/>
                <a:gd name="T172" fmla="*/ 0 h 979"/>
                <a:gd name="T173" fmla="*/ 1227 w 1227"/>
                <a:gd name="T174" fmla="*/ 979 h 979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59" name="Freeform 528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4322763" y="2182813"/>
              <a:ext cx="57150" cy="57150"/>
            </a:xfrm>
            <a:custGeom>
              <a:avLst/>
              <a:gdLst>
                <a:gd name="T0" fmla="*/ 2147483647 w 146"/>
                <a:gd name="T1" fmla="*/ 2147483647 h 81"/>
                <a:gd name="T2" fmla="*/ 2147483647 w 146"/>
                <a:gd name="T3" fmla="*/ 2147483647 h 81"/>
                <a:gd name="T4" fmla="*/ 2147483647 w 146"/>
                <a:gd name="T5" fmla="*/ 2147483647 h 81"/>
                <a:gd name="T6" fmla="*/ 2147483647 w 146"/>
                <a:gd name="T7" fmla="*/ 2147483647 h 81"/>
                <a:gd name="T8" fmla="*/ 2147483647 w 146"/>
                <a:gd name="T9" fmla="*/ 2147483647 h 81"/>
                <a:gd name="T10" fmla="*/ 2147483647 w 146"/>
                <a:gd name="T11" fmla="*/ 2147483647 h 81"/>
                <a:gd name="T12" fmla="*/ 2147483647 w 146"/>
                <a:gd name="T13" fmla="*/ 2147483647 h 81"/>
                <a:gd name="T14" fmla="*/ 2147483647 w 146"/>
                <a:gd name="T15" fmla="*/ 2147483647 h 81"/>
                <a:gd name="T16" fmla="*/ 2147483647 w 146"/>
                <a:gd name="T17" fmla="*/ 2147483647 h 81"/>
                <a:gd name="T18" fmla="*/ 2147483647 w 146"/>
                <a:gd name="T19" fmla="*/ 2147483647 h 81"/>
                <a:gd name="T20" fmla="*/ 2147483647 w 146"/>
                <a:gd name="T21" fmla="*/ 2147483647 h 81"/>
                <a:gd name="T22" fmla="*/ 2147483647 w 146"/>
                <a:gd name="T23" fmla="*/ 2147483647 h 81"/>
                <a:gd name="T24" fmla="*/ 2147483647 w 146"/>
                <a:gd name="T25" fmla="*/ 2147483647 h 81"/>
                <a:gd name="T26" fmla="*/ 2147483647 w 146"/>
                <a:gd name="T27" fmla="*/ 2147483647 h 81"/>
                <a:gd name="T28" fmla="*/ 0 w 146"/>
                <a:gd name="T29" fmla="*/ 2147483647 h 81"/>
                <a:gd name="T30" fmla="*/ 0 w 146"/>
                <a:gd name="T31" fmla="*/ 2147483647 h 81"/>
                <a:gd name="T32" fmla="*/ 0 w 146"/>
                <a:gd name="T33" fmla="*/ 2147483647 h 81"/>
                <a:gd name="T34" fmla="*/ 0 w 146"/>
                <a:gd name="T35" fmla="*/ 2147483647 h 81"/>
                <a:gd name="T36" fmla="*/ 0 w 146"/>
                <a:gd name="T37" fmla="*/ 2147483647 h 81"/>
                <a:gd name="T38" fmla="*/ 2147483647 w 146"/>
                <a:gd name="T39" fmla="*/ 2147483647 h 81"/>
                <a:gd name="T40" fmla="*/ 2147483647 w 146"/>
                <a:gd name="T41" fmla="*/ 2147483647 h 81"/>
                <a:gd name="T42" fmla="*/ 2147483647 w 146"/>
                <a:gd name="T43" fmla="*/ 2147483647 h 81"/>
                <a:gd name="T44" fmla="*/ 2147483647 w 146"/>
                <a:gd name="T45" fmla="*/ 2147483647 h 81"/>
                <a:gd name="T46" fmla="*/ 2147483647 w 146"/>
                <a:gd name="T47" fmla="*/ 2147483647 h 81"/>
                <a:gd name="T48" fmla="*/ 2147483647 w 146"/>
                <a:gd name="T49" fmla="*/ 2147483647 h 81"/>
                <a:gd name="T50" fmla="*/ 2147483647 w 146"/>
                <a:gd name="T51" fmla="*/ 2147483647 h 81"/>
                <a:gd name="T52" fmla="*/ 2147483647 w 146"/>
                <a:gd name="T53" fmla="*/ 2147483647 h 81"/>
                <a:gd name="T54" fmla="*/ 2147483647 w 146"/>
                <a:gd name="T55" fmla="*/ 2147483647 h 81"/>
                <a:gd name="T56" fmla="*/ 2147483647 w 146"/>
                <a:gd name="T57" fmla="*/ 0 h 81"/>
                <a:gd name="T58" fmla="*/ 2147483647 w 146"/>
                <a:gd name="T59" fmla="*/ 2147483647 h 81"/>
                <a:gd name="T60" fmla="*/ 2147483647 w 146"/>
                <a:gd name="T61" fmla="*/ 2147483647 h 81"/>
                <a:gd name="T62" fmla="*/ 2147483647 w 146"/>
                <a:gd name="T63" fmla="*/ 2147483647 h 81"/>
                <a:gd name="T64" fmla="*/ 2147483647 w 146"/>
                <a:gd name="T65" fmla="*/ 2147483647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46"/>
                <a:gd name="T100" fmla="*/ 0 h 81"/>
                <a:gd name="T101" fmla="*/ 146 w 146"/>
                <a:gd name="T102" fmla="*/ 81 h 8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60" name="Freeform 529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4062413" y="2395538"/>
              <a:ext cx="15875" cy="57150"/>
            </a:xfrm>
            <a:custGeom>
              <a:avLst/>
              <a:gdLst>
                <a:gd name="T0" fmla="*/ 2147483647 w 34"/>
                <a:gd name="T1" fmla="*/ 2147483647 h 49"/>
                <a:gd name="T2" fmla="*/ 2147483647 w 34"/>
                <a:gd name="T3" fmla="*/ 2147483647 h 49"/>
                <a:gd name="T4" fmla="*/ 2147483647 w 34"/>
                <a:gd name="T5" fmla="*/ 2147483647 h 49"/>
                <a:gd name="T6" fmla="*/ 2147483647 w 34"/>
                <a:gd name="T7" fmla="*/ 2147483647 h 49"/>
                <a:gd name="T8" fmla="*/ 2147483647 w 34"/>
                <a:gd name="T9" fmla="*/ 2147483647 h 49"/>
                <a:gd name="T10" fmla="*/ 2147483647 w 34"/>
                <a:gd name="T11" fmla="*/ 2147483647 h 49"/>
                <a:gd name="T12" fmla="*/ 2147483647 w 34"/>
                <a:gd name="T13" fmla="*/ 2147483647 h 49"/>
                <a:gd name="T14" fmla="*/ 2147483647 w 34"/>
                <a:gd name="T15" fmla="*/ 2147483647 h 49"/>
                <a:gd name="T16" fmla="*/ 2147483647 w 34"/>
                <a:gd name="T17" fmla="*/ 0 h 49"/>
                <a:gd name="T18" fmla="*/ 2147483647 w 34"/>
                <a:gd name="T19" fmla="*/ 0 h 49"/>
                <a:gd name="T20" fmla="*/ 0 w 34"/>
                <a:gd name="T21" fmla="*/ 0 h 49"/>
                <a:gd name="T22" fmla="*/ 2147483647 w 34"/>
                <a:gd name="T23" fmla="*/ 2147483647 h 49"/>
                <a:gd name="T24" fmla="*/ 2147483647 w 34"/>
                <a:gd name="T25" fmla="*/ 2147483647 h 49"/>
                <a:gd name="T26" fmla="*/ 2147483647 w 34"/>
                <a:gd name="T27" fmla="*/ 2147483647 h 49"/>
                <a:gd name="T28" fmla="*/ 2147483647 w 34"/>
                <a:gd name="T29" fmla="*/ 2147483647 h 49"/>
                <a:gd name="T30" fmla="*/ 2147483647 w 34"/>
                <a:gd name="T31" fmla="*/ 2147483647 h 49"/>
                <a:gd name="T32" fmla="*/ 2147483647 w 34"/>
                <a:gd name="T33" fmla="*/ 2147483647 h 49"/>
                <a:gd name="T34" fmla="*/ 2147483647 w 34"/>
                <a:gd name="T35" fmla="*/ 2147483647 h 49"/>
                <a:gd name="T36" fmla="*/ 2147483647 w 34"/>
                <a:gd name="T37" fmla="*/ 2147483647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4"/>
                <a:gd name="T58" fmla="*/ 0 h 49"/>
                <a:gd name="T59" fmla="*/ 34 w 34"/>
                <a:gd name="T60" fmla="*/ 49 h 4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61" name="Freeform 530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3654425" y="2741613"/>
              <a:ext cx="28575" cy="57150"/>
            </a:xfrm>
            <a:custGeom>
              <a:avLst/>
              <a:gdLst>
                <a:gd name="T0" fmla="*/ 2147483647 w 60"/>
                <a:gd name="T1" fmla="*/ 0 h 74"/>
                <a:gd name="T2" fmla="*/ 2147483647 w 60"/>
                <a:gd name="T3" fmla="*/ 2147483647 h 74"/>
                <a:gd name="T4" fmla="*/ 2147483647 w 60"/>
                <a:gd name="T5" fmla="*/ 2147483647 h 74"/>
                <a:gd name="T6" fmla="*/ 2147483647 w 60"/>
                <a:gd name="T7" fmla="*/ 2147483647 h 74"/>
                <a:gd name="T8" fmla="*/ 2147483647 w 60"/>
                <a:gd name="T9" fmla="*/ 2147483647 h 74"/>
                <a:gd name="T10" fmla="*/ 2147483647 w 60"/>
                <a:gd name="T11" fmla="*/ 2147483647 h 74"/>
                <a:gd name="T12" fmla="*/ 2147483647 w 60"/>
                <a:gd name="T13" fmla="*/ 2147483647 h 74"/>
                <a:gd name="T14" fmla="*/ 2147483647 w 60"/>
                <a:gd name="T15" fmla="*/ 2147483647 h 74"/>
                <a:gd name="T16" fmla="*/ 2147483647 w 60"/>
                <a:gd name="T17" fmla="*/ 2147483647 h 74"/>
                <a:gd name="T18" fmla="*/ 2147483647 w 60"/>
                <a:gd name="T19" fmla="*/ 2147483647 h 74"/>
                <a:gd name="T20" fmla="*/ 2147483647 w 60"/>
                <a:gd name="T21" fmla="*/ 2147483647 h 74"/>
                <a:gd name="T22" fmla="*/ 2147483647 w 60"/>
                <a:gd name="T23" fmla="*/ 2147483647 h 74"/>
                <a:gd name="T24" fmla="*/ 2147483647 w 60"/>
                <a:gd name="T25" fmla="*/ 2147483647 h 74"/>
                <a:gd name="T26" fmla="*/ 2147483647 w 60"/>
                <a:gd name="T27" fmla="*/ 2147483647 h 74"/>
                <a:gd name="T28" fmla="*/ 0 w 60"/>
                <a:gd name="T29" fmla="*/ 2147483647 h 74"/>
                <a:gd name="T30" fmla="*/ 2147483647 w 60"/>
                <a:gd name="T31" fmla="*/ 2147483647 h 74"/>
                <a:gd name="T32" fmla="*/ 2147483647 w 60"/>
                <a:gd name="T33" fmla="*/ 2147483647 h 74"/>
                <a:gd name="T34" fmla="*/ 2147483647 w 60"/>
                <a:gd name="T35" fmla="*/ 2147483647 h 74"/>
                <a:gd name="T36" fmla="*/ 2147483647 w 60"/>
                <a:gd name="T37" fmla="*/ 2147483647 h 74"/>
                <a:gd name="T38" fmla="*/ 2147483647 w 60"/>
                <a:gd name="T39" fmla="*/ 2147483647 h 74"/>
                <a:gd name="T40" fmla="*/ 2147483647 w 60"/>
                <a:gd name="T41" fmla="*/ 2147483647 h 74"/>
                <a:gd name="T42" fmla="*/ 2147483647 w 60"/>
                <a:gd name="T43" fmla="*/ 2147483647 h 74"/>
                <a:gd name="T44" fmla="*/ 2147483647 w 60"/>
                <a:gd name="T45" fmla="*/ 2147483647 h 74"/>
                <a:gd name="T46" fmla="*/ 2147483647 w 60"/>
                <a:gd name="T47" fmla="*/ 0 h 74"/>
                <a:gd name="T48" fmla="*/ 2147483647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0"/>
                <a:gd name="T76" fmla="*/ 0 h 74"/>
                <a:gd name="T77" fmla="*/ 60 w 60"/>
                <a:gd name="T78" fmla="*/ 74 h 7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62" name="Freeform 531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3595688" y="2757488"/>
              <a:ext cx="23812" cy="60325"/>
            </a:xfrm>
            <a:custGeom>
              <a:avLst/>
              <a:gdLst>
                <a:gd name="T0" fmla="*/ 2147483647 w 47"/>
                <a:gd name="T1" fmla="*/ 2147483647 h 45"/>
                <a:gd name="T2" fmla="*/ 2147483647 w 47"/>
                <a:gd name="T3" fmla="*/ 2147483647 h 45"/>
                <a:gd name="T4" fmla="*/ 2147483647 w 47"/>
                <a:gd name="T5" fmla="*/ 2147483647 h 45"/>
                <a:gd name="T6" fmla="*/ 2147483647 w 47"/>
                <a:gd name="T7" fmla="*/ 2147483647 h 45"/>
                <a:gd name="T8" fmla="*/ 2147483647 w 47"/>
                <a:gd name="T9" fmla="*/ 2147483647 h 45"/>
                <a:gd name="T10" fmla="*/ 2147483647 w 47"/>
                <a:gd name="T11" fmla="*/ 2147483647 h 45"/>
                <a:gd name="T12" fmla="*/ 2147483647 w 47"/>
                <a:gd name="T13" fmla="*/ 0 h 45"/>
                <a:gd name="T14" fmla="*/ 2147483647 w 47"/>
                <a:gd name="T15" fmla="*/ 2147483647 h 45"/>
                <a:gd name="T16" fmla="*/ 2147483647 w 47"/>
                <a:gd name="T17" fmla="*/ 2147483647 h 45"/>
                <a:gd name="T18" fmla="*/ 2147483647 w 47"/>
                <a:gd name="T19" fmla="*/ 2147483647 h 45"/>
                <a:gd name="T20" fmla="*/ 2147483647 w 47"/>
                <a:gd name="T21" fmla="*/ 2147483647 h 45"/>
                <a:gd name="T22" fmla="*/ 2147483647 w 47"/>
                <a:gd name="T23" fmla="*/ 2147483647 h 45"/>
                <a:gd name="T24" fmla="*/ 2147483647 w 47"/>
                <a:gd name="T25" fmla="*/ 2147483647 h 45"/>
                <a:gd name="T26" fmla="*/ 2147483647 w 47"/>
                <a:gd name="T27" fmla="*/ 2147483647 h 45"/>
                <a:gd name="T28" fmla="*/ 2147483647 w 47"/>
                <a:gd name="T29" fmla="*/ 2147483647 h 45"/>
                <a:gd name="T30" fmla="*/ 2147483647 w 47"/>
                <a:gd name="T31" fmla="*/ 2147483647 h 45"/>
                <a:gd name="T32" fmla="*/ 2147483647 w 47"/>
                <a:gd name="T33" fmla="*/ 2147483647 h 45"/>
                <a:gd name="T34" fmla="*/ 2147483647 w 47"/>
                <a:gd name="T35" fmla="*/ 2147483647 h 45"/>
                <a:gd name="T36" fmla="*/ 0 w 47"/>
                <a:gd name="T37" fmla="*/ 2147483647 h 45"/>
                <a:gd name="T38" fmla="*/ 2147483647 w 47"/>
                <a:gd name="T39" fmla="*/ 2147483647 h 45"/>
                <a:gd name="T40" fmla="*/ 2147483647 w 47"/>
                <a:gd name="T41" fmla="*/ 2147483647 h 45"/>
                <a:gd name="T42" fmla="*/ 2147483647 w 47"/>
                <a:gd name="T43" fmla="*/ 2147483647 h 45"/>
                <a:gd name="T44" fmla="*/ 2147483647 w 47"/>
                <a:gd name="T45" fmla="*/ 2147483647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7"/>
                <a:gd name="T70" fmla="*/ 0 h 45"/>
                <a:gd name="T71" fmla="*/ 47 w 47"/>
                <a:gd name="T72" fmla="*/ 45 h 45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63" name="Freeform 532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3570288" y="2751138"/>
              <a:ext cx="6350" cy="57150"/>
            </a:xfrm>
            <a:custGeom>
              <a:avLst/>
              <a:gdLst>
                <a:gd name="T0" fmla="*/ 2147483647 w 26"/>
                <a:gd name="T1" fmla="*/ 2147483647 h 36"/>
                <a:gd name="T2" fmla="*/ 2147483647 w 26"/>
                <a:gd name="T3" fmla="*/ 2147483647 h 36"/>
                <a:gd name="T4" fmla="*/ 2147483647 w 26"/>
                <a:gd name="T5" fmla="*/ 2147483647 h 36"/>
                <a:gd name="T6" fmla="*/ 2147483647 w 26"/>
                <a:gd name="T7" fmla="*/ 2147483647 h 36"/>
                <a:gd name="T8" fmla="*/ 0 w 26"/>
                <a:gd name="T9" fmla="*/ 0 h 36"/>
                <a:gd name="T10" fmla="*/ 2147483647 w 26"/>
                <a:gd name="T11" fmla="*/ 0 h 36"/>
                <a:gd name="T12" fmla="*/ 2147483647 w 26"/>
                <a:gd name="T13" fmla="*/ 2147483647 h 36"/>
                <a:gd name="T14" fmla="*/ 2147483647 w 26"/>
                <a:gd name="T15" fmla="*/ 2147483647 h 36"/>
                <a:gd name="T16" fmla="*/ 2147483647 w 26"/>
                <a:gd name="T17" fmla="*/ 2147483647 h 36"/>
                <a:gd name="T18" fmla="*/ 2147483647 w 26"/>
                <a:gd name="T19" fmla="*/ 2147483647 h 36"/>
                <a:gd name="T20" fmla="*/ 2147483647 w 26"/>
                <a:gd name="T21" fmla="*/ 2147483647 h 36"/>
                <a:gd name="T22" fmla="*/ 2147483647 w 26"/>
                <a:gd name="T23" fmla="*/ 2147483647 h 36"/>
                <a:gd name="T24" fmla="*/ 2147483647 w 26"/>
                <a:gd name="T25" fmla="*/ 2147483647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6"/>
                <a:gd name="T40" fmla="*/ 0 h 36"/>
                <a:gd name="T41" fmla="*/ 26 w 26"/>
                <a:gd name="T42" fmla="*/ 36 h 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64" name="Freeform 533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4842173" y="2479262"/>
              <a:ext cx="174745" cy="158606"/>
            </a:xfrm>
            <a:custGeom>
              <a:avLst/>
              <a:gdLst>
                <a:gd name="T0" fmla="*/ 2147483647 w 405"/>
                <a:gd name="T1" fmla="*/ 2147483647 h 302"/>
                <a:gd name="T2" fmla="*/ 2147483647 w 405"/>
                <a:gd name="T3" fmla="*/ 2147483647 h 302"/>
                <a:gd name="T4" fmla="*/ 2147483647 w 405"/>
                <a:gd name="T5" fmla="*/ 2147483647 h 302"/>
                <a:gd name="T6" fmla="*/ 2147483647 w 405"/>
                <a:gd name="T7" fmla="*/ 2147483647 h 302"/>
                <a:gd name="T8" fmla="*/ 2147483647 w 405"/>
                <a:gd name="T9" fmla="*/ 2147483647 h 302"/>
                <a:gd name="T10" fmla="*/ 2147483647 w 405"/>
                <a:gd name="T11" fmla="*/ 2147483647 h 302"/>
                <a:gd name="T12" fmla="*/ 2147483647 w 405"/>
                <a:gd name="T13" fmla="*/ 2147483647 h 302"/>
                <a:gd name="T14" fmla="*/ 2147483647 w 405"/>
                <a:gd name="T15" fmla="*/ 2147483647 h 302"/>
                <a:gd name="T16" fmla="*/ 2147483647 w 405"/>
                <a:gd name="T17" fmla="*/ 2147483647 h 302"/>
                <a:gd name="T18" fmla="*/ 2147483647 w 405"/>
                <a:gd name="T19" fmla="*/ 2147483647 h 302"/>
                <a:gd name="T20" fmla="*/ 2147483647 w 405"/>
                <a:gd name="T21" fmla="*/ 2147483647 h 302"/>
                <a:gd name="T22" fmla="*/ 2147483647 w 405"/>
                <a:gd name="T23" fmla="*/ 2147483647 h 302"/>
                <a:gd name="T24" fmla="*/ 2147483647 w 405"/>
                <a:gd name="T25" fmla="*/ 2147483647 h 302"/>
                <a:gd name="T26" fmla="*/ 2147483647 w 405"/>
                <a:gd name="T27" fmla="*/ 2147483647 h 302"/>
                <a:gd name="T28" fmla="*/ 2147483647 w 405"/>
                <a:gd name="T29" fmla="*/ 2147483647 h 302"/>
                <a:gd name="T30" fmla="*/ 2147483647 w 405"/>
                <a:gd name="T31" fmla="*/ 2147483647 h 302"/>
                <a:gd name="T32" fmla="*/ 2147483647 w 405"/>
                <a:gd name="T33" fmla="*/ 2147483647 h 302"/>
                <a:gd name="T34" fmla="*/ 2147483647 w 405"/>
                <a:gd name="T35" fmla="*/ 2147483647 h 302"/>
                <a:gd name="T36" fmla="*/ 2147483647 w 405"/>
                <a:gd name="T37" fmla="*/ 2147483647 h 302"/>
                <a:gd name="T38" fmla="*/ 2147483647 w 405"/>
                <a:gd name="T39" fmla="*/ 2147483647 h 302"/>
                <a:gd name="T40" fmla="*/ 2147483647 w 405"/>
                <a:gd name="T41" fmla="*/ 2147483647 h 302"/>
                <a:gd name="T42" fmla="*/ 2147483647 w 405"/>
                <a:gd name="T43" fmla="*/ 2147483647 h 302"/>
                <a:gd name="T44" fmla="*/ 2147483647 w 405"/>
                <a:gd name="T45" fmla="*/ 2147483647 h 302"/>
                <a:gd name="T46" fmla="*/ 2147483647 w 405"/>
                <a:gd name="T47" fmla="*/ 2147483647 h 302"/>
                <a:gd name="T48" fmla="*/ 2147483647 w 405"/>
                <a:gd name="T49" fmla="*/ 2147483647 h 302"/>
                <a:gd name="T50" fmla="*/ 2147483647 w 405"/>
                <a:gd name="T51" fmla="*/ 2147483647 h 302"/>
                <a:gd name="T52" fmla="*/ 2147483647 w 405"/>
                <a:gd name="T53" fmla="*/ 2147483647 h 302"/>
                <a:gd name="T54" fmla="*/ 2147483647 w 405"/>
                <a:gd name="T55" fmla="*/ 2147483647 h 302"/>
                <a:gd name="T56" fmla="*/ 2147483647 w 405"/>
                <a:gd name="T57" fmla="*/ 2147483647 h 302"/>
                <a:gd name="T58" fmla="*/ 2147483647 w 405"/>
                <a:gd name="T59" fmla="*/ 2147483647 h 302"/>
                <a:gd name="T60" fmla="*/ 2147483647 w 405"/>
                <a:gd name="T61" fmla="*/ 2147483647 h 302"/>
                <a:gd name="T62" fmla="*/ 2147483647 w 405"/>
                <a:gd name="T63" fmla="*/ 2147483647 h 302"/>
                <a:gd name="T64" fmla="*/ 2147483647 w 405"/>
                <a:gd name="T65" fmla="*/ 2147483647 h 302"/>
                <a:gd name="T66" fmla="*/ 2147483647 w 405"/>
                <a:gd name="T67" fmla="*/ 2147483647 h 302"/>
                <a:gd name="T68" fmla="*/ 2147483647 w 405"/>
                <a:gd name="T69" fmla="*/ 2147483647 h 302"/>
                <a:gd name="T70" fmla="*/ 2147483647 w 405"/>
                <a:gd name="T71" fmla="*/ 2147483647 h 302"/>
                <a:gd name="T72" fmla="*/ 2147483647 w 405"/>
                <a:gd name="T73" fmla="*/ 2147483647 h 302"/>
                <a:gd name="T74" fmla="*/ 2147483647 w 405"/>
                <a:gd name="T75" fmla="*/ 2147483647 h 302"/>
                <a:gd name="T76" fmla="*/ 2147483647 w 405"/>
                <a:gd name="T77" fmla="*/ 2147483647 h 302"/>
                <a:gd name="T78" fmla="*/ 2147483647 w 405"/>
                <a:gd name="T79" fmla="*/ 2147483647 h 302"/>
                <a:gd name="T80" fmla="*/ 2147483647 w 405"/>
                <a:gd name="T81" fmla="*/ 2147483647 h 302"/>
                <a:gd name="T82" fmla="*/ 2147483647 w 405"/>
                <a:gd name="T83" fmla="*/ 2147483647 h 302"/>
                <a:gd name="T84" fmla="*/ 2147483647 w 405"/>
                <a:gd name="T85" fmla="*/ 2147483647 h 302"/>
                <a:gd name="T86" fmla="*/ 2147483647 w 405"/>
                <a:gd name="T87" fmla="*/ 2147483647 h 302"/>
                <a:gd name="T88" fmla="*/ 2147483647 w 405"/>
                <a:gd name="T89" fmla="*/ 2147483647 h 302"/>
                <a:gd name="T90" fmla="*/ 2147483647 w 405"/>
                <a:gd name="T91" fmla="*/ 2147483647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05"/>
                <a:gd name="T139" fmla="*/ 0 h 302"/>
                <a:gd name="T140" fmla="*/ 405 w 405"/>
                <a:gd name="T141" fmla="*/ 302 h 30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chemeClr val="accent1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65" name="Freeform 534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6935788" y="2860675"/>
              <a:ext cx="42862" cy="79375"/>
            </a:xfrm>
            <a:custGeom>
              <a:avLst/>
              <a:gdLst>
                <a:gd name="T0" fmla="*/ 2147483647 w 100"/>
                <a:gd name="T1" fmla="*/ 2147483647 h 155"/>
                <a:gd name="T2" fmla="*/ 2147483647 w 100"/>
                <a:gd name="T3" fmla="*/ 2147483647 h 155"/>
                <a:gd name="T4" fmla="*/ 2147483647 w 100"/>
                <a:gd name="T5" fmla="*/ 2147483647 h 155"/>
                <a:gd name="T6" fmla="*/ 2147483647 w 100"/>
                <a:gd name="T7" fmla="*/ 2147483647 h 155"/>
                <a:gd name="T8" fmla="*/ 2147483647 w 100"/>
                <a:gd name="T9" fmla="*/ 2147483647 h 155"/>
                <a:gd name="T10" fmla="*/ 2147483647 w 100"/>
                <a:gd name="T11" fmla="*/ 2147483647 h 155"/>
                <a:gd name="T12" fmla="*/ 2147483647 w 100"/>
                <a:gd name="T13" fmla="*/ 2147483647 h 155"/>
                <a:gd name="T14" fmla="*/ 2147483647 w 100"/>
                <a:gd name="T15" fmla="*/ 2147483647 h 155"/>
                <a:gd name="T16" fmla="*/ 2147483647 w 100"/>
                <a:gd name="T17" fmla="*/ 2147483647 h 155"/>
                <a:gd name="T18" fmla="*/ 2147483647 w 100"/>
                <a:gd name="T19" fmla="*/ 2147483647 h 155"/>
                <a:gd name="T20" fmla="*/ 2147483647 w 100"/>
                <a:gd name="T21" fmla="*/ 2147483647 h 155"/>
                <a:gd name="T22" fmla="*/ 2147483647 w 100"/>
                <a:gd name="T23" fmla="*/ 2147483647 h 155"/>
                <a:gd name="T24" fmla="*/ 2147483647 w 100"/>
                <a:gd name="T25" fmla="*/ 2147483647 h 155"/>
                <a:gd name="T26" fmla="*/ 2147483647 w 100"/>
                <a:gd name="T27" fmla="*/ 2147483647 h 155"/>
                <a:gd name="T28" fmla="*/ 2147483647 w 100"/>
                <a:gd name="T29" fmla="*/ 2147483647 h 155"/>
                <a:gd name="T30" fmla="*/ 2147483647 w 100"/>
                <a:gd name="T31" fmla="*/ 2147483647 h 155"/>
                <a:gd name="T32" fmla="*/ 2147483647 w 100"/>
                <a:gd name="T33" fmla="*/ 2147483647 h 155"/>
                <a:gd name="T34" fmla="*/ 2147483647 w 100"/>
                <a:gd name="T35" fmla="*/ 2147483647 h 155"/>
                <a:gd name="T36" fmla="*/ 2147483647 w 100"/>
                <a:gd name="T37" fmla="*/ 2147483647 h 155"/>
                <a:gd name="T38" fmla="*/ 2147483647 w 100"/>
                <a:gd name="T39" fmla="*/ 2147483647 h 155"/>
                <a:gd name="T40" fmla="*/ 2147483647 w 100"/>
                <a:gd name="T41" fmla="*/ 2147483647 h 155"/>
                <a:gd name="T42" fmla="*/ 2147483647 w 100"/>
                <a:gd name="T43" fmla="*/ 2147483647 h 155"/>
                <a:gd name="T44" fmla="*/ 2147483647 w 100"/>
                <a:gd name="T45" fmla="*/ 2147483647 h 155"/>
                <a:gd name="T46" fmla="*/ 0 w 100"/>
                <a:gd name="T47" fmla="*/ 2147483647 h 155"/>
                <a:gd name="T48" fmla="*/ 0 w 100"/>
                <a:gd name="T49" fmla="*/ 2147483647 h 155"/>
                <a:gd name="T50" fmla="*/ 0 w 100"/>
                <a:gd name="T51" fmla="*/ 2147483647 h 155"/>
                <a:gd name="T52" fmla="*/ 0 w 100"/>
                <a:gd name="T53" fmla="*/ 2147483647 h 155"/>
                <a:gd name="T54" fmla="*/ 0 w 100"/>
                <a:gd name="T55" fmla="*/ 2147483647 h 155"/>
                <a:gd name="T56" fmla="*/ 0 w 100"/>
                <a:gd name="T57" fmla="*/ 2147483647 h 155"/>
                <a:gd name="T58" fmla="*/ 2147483647 w 100"/>
                <a:gd name="T59" fmla="*/ 2147483647 h 155"/>
                <a:gd name="T60" fmla="*/ 2147483647 w 100"/>
                <a:gd name="T61" fmla="*/ 2147483647 h 155"/>
                <a:gd name="T62" fmla="*/ 2147483647 w 100"/>
                <a:gd name="T63" fmla="*/ 2147483647 h 155"/>
                <a:gd name="T64" fmla="*/ 2147483647 w 100"/>
                <a:gd name="T65" fmla="*/ 2147483647 h 155"/>
                <a:gd name="T66" fmla="*/ 2147483647 w 100"/>
                <a:gd name="T67" fmla="*/ 2147483647 h 155"/>
                <a:gd name="T68" fmla="*/ 2147483647 w 100"/>
                <a:gd name="T69" fmla="*/ 2147483647 h 155"/>
                <a:gd name="T70" fmla="*/ 2147483647 w 100"/>
                <a:gd name="T71" fmla="*/ 2147483647 h 155"/>
                <a:gd name="T72" fmla="*/ 2147483647 w 100"/>
                <a:gd name="T73" fmla="*/ 2147483647 h 155"/>
                <a:gd name="T74" fmla="*/ 2147483647 w 100"/>
                <a:gd name="T75" fmla="*/ 2147483647 h 155"/>
                <a:gd name="T76" fmla="*/ 2147483647 w 100"/>
                <a:gd name="T77" fmla="*/ 2147483647 h 155"/>
                <a:gd name="T78" fmla="*/ 2147483647 w 100"/>
                <a:gd name="T79" fmla="*/ 0 h 155"/>
                <a:gd name="T80" fmla="*/ 2147483647 w 100"/>
                <a:gd name="T81" fmla="*/ 0 h 155"/>
                <a:gd name="T82" fmla="*/ 2147483647 w 100"/>
                <a:gd name="T83" fmla="*/ 0 h 155"/>
                <a:gd name="T84" fmla="*/ 2147483647 w 100"/>
                <a:gd name="T85" fmla="*/ 2147483647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00"/>
                <a:gd name="T130" fmla="*/ 0 h 155"/>
                <a:gd name="T131" fmla="*/ 100 w 100"/>
                <a:gd name="T132" fmla="*/ 155 h 15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15766" name="Group 535"/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4583113" y="2328863"/>
              <a:ext cx="482600" cy="201612"/>
              <a:chOff x="3289" y="1830"/>
              <a:chExt cx="363" cy="128"/>
            </a:xfrm>
          </p:grpSpPr>
          <p:sp>
            <p:nvSpPr>
              <p:cNvPr id="15823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0 w 13"/>
                  <a:gd name="T1" fmla="*/ 0 h 7"/>
                  <a:gd name="T2" fmla="*/ 0 w 13"/>
                  <a:gd name="T3" fmla="*/ 0 h 7"/>
                  <a:gd name="T4" fmla="*/ 0 w 13"/>
                  <a:gd name="T5" fmla="*/ 0 h 7"/>
                  <a:gd name="T6" fmla="*/ 0 w 13"/>
                  <a:gd name="T7" fmla="*/ 0 h 7"/>
                  <a:gd name="T8" fmla="*/ 0 w 13"/>
                  <a:gd name="T9" fmla="*/ 0 h 7"/>
                  <a:gd name="T10" fmla="*/ 0 w 13"/>
                  <a:gd name="T11" fmla="*/ 0 h 7"/>
                  <a:gd name="T12" fmla="*/ 0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3"/>
                  <a:gd name="T22" fmla="*/ 0 h 7"/>
                  <a:gd name="T23" fmla="*/ 13 w 13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24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0 h 8"/>
                  <a:gd name="T2" fmla="*/ 0 w 34"/>
                  <a:gd name="T3" fmla="*/ 0 h 8"/>
                  <a:gd name="T4" fmla="*/ 0 w 34"/>
                  <a:gd name="T5" fmla="*/ 0 h 8"/>
                  <a:gd name="T6" fmla="*/ 0 w 34"/>
                  <a:gd name="T7" fmla="*/ 0 h 8"/>
                  <a:gd name="T8" fmla="*/ 0 w 34"/>
                  <a:gd name="T9" fmla="*/ 0 h 8"/>
                  <a:gd name="T10" fmla="*/ 0 w 34"/>
                  <a:gd name="T11" fmla="*/ 0 h 8"/>
                  <a:gd name="T12" fmla="*/ 0 w 34"/>
                  <a:gd name="T13" fmla="*/ 0 h 8"/>
                  <a:gd name="T14" fmla="*/ 0 w 34"/>
                  <a:gd name="T15" fmla="*/ 0 h 8"/>
                  <a:gd name="T16" fmla="*/ 0 w 34"/>
                  <a:gd name="T17" fmla="*/ 0 h 8"/>
                  <a:gd name="T18" fmla="*/ 0 w 34"/>
                  <a:gd name="T19" fmla="*/ 0 h 8"/>
                  <a:gd name="T20" fmla="*/ 0 w 34"/>
                  <a:gd name="T21" fmla="*/ 0 h 8"/>
                  <a:gd name="T22" fmla="*/ 0 w 34"/>
                  <a:gd name="T23" fmla="*/ 0 h 8"/>
                  <a:gd name="T24" fmla="*/ 0 w 34"/>
                  <a:gd name="T25" fmla="*/ 0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4"/>
                  <a:gd name="T40" fmla="*/ 0 h 8"/>
                  <a:gd name="T41" fmla="*/ 34 w 34"/>
                  <a:gd name="T42" fmla="*/ 8 h 8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25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0 h 24"/>
                  <a:gd name="T2" fmla="*/ 0 w 13"/>
                  <a:gd name="T3" fmla="*/ 0 h 24"/>
                  <a:gd name="T4" fmla="*/ 0 w 13"/>
                  <a:gd name="T5" fmla="*/ 0 h 24"/>
                  <a:gd name="T6" fmla="*/ 0 w 13"/>
                  <a:gd name="T7" fmla="*/ 0 h 2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"/>
                  <a:gd name="T13" fmla="*/ 0 h 24"/>
                  <a:gd name="T14" fmla="*/ 13 w 13"/>
                  <a:gd name="T15" fmla="*/ 24 h 2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26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0 h 69"/>
                  <a:gd name="T2" fmla="*/ 0 w 107"/>
                  <a:gd name="T3" fmla="*/ 0 h 69"/>
                  <a:gd name="T4" fmla="*/ 0 w 107"/>
                  <a:gd name="T5" fmla="*/ 0 h 69"/>
                  <a:gd name="T6" fmla="*/ 0 w 107"/>
                  <a:gd name="T7" fmla="*/ 0 h 69"/>
                  <a:gd name="T8" fmla="*/ 0 w 107"/>
                  <a:gd name="T9" fmla="*/ 0 h 69"/>
                  <a:gd name="T10" fmla="*/ 0 w 107"/>
                  <a:gd name="T11" fmla="*/ 0 h 69"/>
                  <a:gd name="T12" fmla="*/ 0 w 107"/>
                  <a:gd name="T13" fmla="*/ 0 h 69"/>
                  <a:gd name="T14" fmla="*/ 0 w 107"/>
                  <a:gd name="T15" fmla="*/ 0 h 69"/>
                  <a:gd name="T16" fmla="*/ 0 w 107"/>
                  <a:gd name="T17" fmla="*/ 0 h 69"/>
                  <a:gd name="T18" fmla="*/ 0 w 107"/>
                  <a:gd name="T19" fmla="*/ 0 h 69"/>
                  <a:gd name="T20" fmla="*/ 0 w 107"/>
                  <a:gd name="T21" fmla="*/ 0 h 69"/>
                  <a:gd name="T22" fmla="*/ 0 w 107"/>
                  <a:gd name="T23" fmla="*/ 0 h 69"/>
                  <a:gd name="T24" fmla="*/ 0 w 107"/>
                  <a:gd name="T25" fmla="*/ 0 h 69"/>
                  <a:gd name="T26" fmla="*/ 0 w 107"/>
                  <a:gd name="T27" fmla="*/ 0 h 69"/>
                  <a:gd name="T28" fmla="*/ 0 w 107"/>
                  <a:gd name="T29" fmla="*/ 0 h 69"/>
                  <a:gd name="T30" fmla="*/ 0 w 107"/>
                  <a:gd name="T31" fmla="*/ 0 h 69"/>
                  <a:gd name="T32" fmla="*/ 0 w 107"/>
                  <a:gd name="T33" fmla="*/ 0 h 69"/>
                  <a:gd name="T34" fmla="*/ 0 w 107"/>
                  <a:gd name="T35" fmla="*/ 0 h 69"/>
                  <a:gd name="T36" fmla="*/ 0 w 107"/>
                  <a:gd name="T37" fmla="*/ 0 h 69"/>
                  <a:gd name="T38" fmla="*/ 0 w 107"/>
                  <a:gd name="T39" fmla="*/ 0 h 69"/>
                  <a:gd name="T40" fmla="*/ 0 w 107"/>
                  <a:gd name="T41" fmla="*/ 0 h 69"/>
                  <a:gd name="T42" fmla="*/ 0 w 107"/>
                  <a:gd name="T43" fmla="*/ 0 h 69"/>
                  <a:gd name="T44" fmla="*/ 0 w 107"/>
                  <a:gd name="T45" fmla="*/ 0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07"/>
                  <a:gd name="T70" fmla="*/ 0 h 69"/>
                  <a:gd name="T71" fmla="*/ 107 w 107"/>
                  <a:gd name="T72" fmla="*/ 69 h 69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27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0 w 1070"/>
                  <a:gd name="T1" fmla="*/ 0 h 382"/>
                  <a:gd name="T2" fmla="*/ 0 w 1070"/>
                  <a:gd name="T3" fmla="*/ 0 h 382"/>
                  <a:gd name="T4" fmla="*/ 0 w 1070"/>
                  <a:gd name="T5" fmla="*/ 0 h 382"/>
                  <a:gd name="T6" fmla="*/ 0 w 1070"/>
                  <a:gd name="T7" fmla="*/ 0 h 382"/>
                  <a:gd name="T8" fmla="*/ 0 w 1070"/>
                  <a:gd name="T9" fmla="*/ 0 h 382"/>
                  <a:gd name="T10" fmla="*/ 0 w 1070"/>
                  <a:gd name="T11" fmla="*/ 0 h 382"/>
                  <a:gd name="T12" fmla="*/ 0 w 1070"/>
                  <a:gd name="T13" fmla="*/ 0 h 382"/>
                  <a:gd name="T14" fmla="*/ 0 w 1070"/>
                  <a:gd name="T15" fmla="*/ 0 h 382"/>
                  <a:gd name="T16" fmla="*/ 0 w 1070"/>
                  <a:gd name="T17" fmla="*/ 0 h 382"/>
                  <a:gd name="T18" fmla="*/ 0 w 1070"/>
                  <a:gd name="T19" fmla="*/ 0 h 382"/>
                  <a:gd name="T20" fmla="*/ 0 w 1070"/>
                  <a:gd name="T21" fmla="*/ 0 h 382"/>
                  <a:gd name="T22" fmla="*/ 0 w 1070"/>
                  <a:gd name="T23" fmla="*/ 0 h 382"/>
                  <a:gd name="T24" fmla="*/ 0 w 1070"/>
                  <a:gd name="T25" fmla="*/ 0 h 382"/>
                  <a:gd name="T26" fmla="*/ 0 w 1070"/>
                  <a:gd name="T27" fmla="*/ 0 h 382"/>
                  <a:gd name="T28" fmla="*/ 0 w 1070"/>
                  <a:gd name="T29" fmla="*/ 0 h 382"/>
                  <a:gd name="T30" fmla="*/ 0 w 1070"/>
                  <a:gd name="T31" fmla="*/ 0 h 382"/>
                  <a:gd name="T32" fmla="*/ 0 w 1070"/>
                  <a:gd name="T33" fmla="*/ 0 h 382"/>
                  <a:gd name="T34" fmla="*/ 0 w 1070"/>
                  <a:gd name="T35" fmla="*/ 0 h 382"/>
                  <a:gd name="T36" fmla="*/ 0 w 1070"/>
                  <a:gd name="T37" fmla="*/ 0 h 382"/>
                  <a:gd name="T38" fmla="*/ 0 w 1070"/>
                  <a:gd name="T39" fmla="*/ 0 h 382"/>
                  <a:gd name="T40" fmla="*/ 0 w 1070"/>
                  <a:gd name="T41" fmla="*/ 0 h 382"/>
                  <a:gd name="T42" fmla="*/ 0 w 1070"/>
                  <a:gd name="T43" fmla="*/ 0 h 382"/>
                  <a:gd name="T44" fmla="*/ 0 w 1070"/>
                  <a:gd name="T45" fmla="*/ 0 h 382"/>
                  <a:gd name="T46" fmla="*/ 0 w 1070"/>
                  <a:gd name="T47" fmla="*/ 0 h 382"/>
                  <a:gd name="T48" fmla="*/ 0 w 1070"/>
                  <a:gd name="T49" fmla="*/ 0 h 382"/>
                  <a:gd name="T50" fmla="*/ 0 w 1070"/>
                  <a:gd name="T51" fmla="*/ 0 h 382"/>
                  <a:gd name="T52" fmla="*/ 0 w 1070"/>
                  <a:gd name="T53" fmla="*/ 0 h 382"/>
                  <a:gd name="T54" fmla="*/ 0 w 1070"/>
                  <a:gd name="T55" fmla="*/ 0 h 382"/>
                  <a:gd name="T56" fmla="*/ 0 w 1070"/>
                  <a:gd name="T57" fmla="*/ 0 h 382"/>
                  <a:gd name="T58" fmla="*/ 0 w 1070"/>
                  <a:gd name="T59" fmla="*/ 0 h 382"/>
                  <a:gd name="T60" fmla="*/ 0 w 1070"/>
                  <a:gd name="T61" fmla="*/ 0 h 382"/>
                  <a:gd name="T62" fmla="*/ 0 w 1070"/>
                  <a:gd name="T63" fmla="*/ 0 h 382"/>
                  <a:gd name="T64" fmla="*/ 0 w 1070"/>
                  <a:gd name="T65" fmla="*/ 0 h 382"/>
                  <a:gd name="T66" fmla="*/ 0 w 1070"/>
                  <a:gd name="T67" fmla="*/ 0 h 382"/>
                  <a:gd name="T68" fmla="*/ 0 w 1070"/>
                  <a:gd name="T69" fmla="*/ 0 h 382"/>
                  <a:gd name="T70" fmla="*/ 0 w 1070"/>
                  <a:gd name="T71" fmla="*/ 0 h 382"/>
                  <a:gd name="T72" fmla="*/ 0 w 1070"/>
                  <a:gd name="T73" fmla="*/ 0 h 382"/>
                  <a:gd name="T74" fmla="*/ 0 w 1070"/>
                  <a:gd name="T75" fmla="*/ 0 h 382"/>
                  <a:gd name="T76" fmla="*/ 0 w 1070"/>
                  <a:gd name="T77" fmla="*/ 0 h 382"/>
                  <a:gd name="T78" fmla="*/ 0 w 1070"/>
                  <a:gd name="T79" fmla="*/ 0 h 382"/>
                  <a:gd name="T80" fmla="*/ 0 w 1070"/>
                  <a:gd name="T81" fmla="*/ 0 h 382"/>
                  <a:gd name="T82" fmla="*/ 0 w 1070"/>
                  <a:gd name="T83" fmla="*/ 0 h 382"/>
                  <a:gd name="T84" fmla="*/ 0 w 1070"/>
                  <a:gd name="T85" fmla="*/ 0 h 382"/>
                  <a:gd name="T86" fmla="*/ 0 w 1070"/>
                  <a:gd name="T87" fmla="*/ 0 h 382"/>
                  <a:gd name="T88" fmla="*/ 0 w 1070"/>
                  <a:gd name="T89" fmla="*/ 0 h 382"/>
                  <a:gd name="T90" fmla="*/ 0 w 1070"/>
                  <a:gd name="T91" fmla="*/ 0 h 382"/>
                  <a:gd name="T92" fmla="*/ 0 w 1070"/>
                  <a:gd name="T93" fmla="*/ 0 h 382"/>
                  <a:gd name="T94" fmla="*/ 0 w 1070"/>
                  <a:gd name="T95" fmla="*/ 0 h 382"/>
                  <a:gd name="T96" fmla="*/ 0 w 1070"/>
                  <a:gd name="T97" fmla="*/ 0 h 382"/>
                  <a:gd name="T98" fmla="*/ 0 w 1070"/>
                  <a:gd name="T99" fmla="*/ 0 h 382"/>
                  <a:gd name="T100" fmla="*/ 0 w 1070"/>
                  <a:gd name="T101" fmla="*/ 0 h 382"/>
                  <a:gd name="T102" fmla="*/ 0 w 1070"/>
                  <a:gd name="T103" fmla="*/ 0 h 382"/>
                  <a:gd name="T104" fmla="*/ 0 w 1070"/>
                  <a:gd name="T105" fmla="*/ 0 h 382"/>
                  <a:gd name="T106" fmla="*/ 0 w 1070"/>
                  <a:gd name="T107" fmla="*/ 0 h 382"/>
                  <a:gd name="T108" fmla="*/ 0 w 1070"/>
                  <a:gd name="T109" fmla="*/ 0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070"/>
                  <a:gd name="T166" fmla="*/ 0 h 382"/>
                  <a:gd name="T167" fmla="*/ 1070 w 1070"/>
                  <a:gd name="T168" fmla="*/ 382 h 382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5767" name="Freeform 541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2571750" y="3481388"/>
              <a:ext cx="100013" cy="122237"/>
            </a:xfrm>
            <a:custGeom>
              <a:avLst/>
              <a:gdLst>
                <a:gd name="T0" fmla="*/ 2147483647 w 226"/>
                <a:gd name="T1" fmla="*/ 2147483647 h 237"/>
                <a:gd name="T2" fmla="*/ 2147483647 w 226"/>
                <a:gd name="T3" fmla="*/ 2147483647 h 237"/>
                <a:gd name="T4" fmla="*/ 2147483647 w 226"/>
                <a:gd name="T5" fmla="*/ 2147483647 h 237"/>
                <a:gd name="T6" fmla="*/ 2147483647 w 226"/>
                <a:gd name="T7" fmla="*/ 2147483647 h 237"/>
                <a:gd name="T8" fmla="*/ 2147483647 w 226"/>
                <a:gd name="T9" fmla="*/ 2147483647 h 237"/>
                <a:gd name="T10" fmla="*/ 2147483647 w 226"/>
                <a:gd name="T11" fmla="*/ 2147483647 h 237"/>
                <a:gd name="T12" fmla="*/ 2147483647 w 226"/>
                <a:gd name="T13" fmla="*/ 2147483647 h 237"/>
                <a:gd name="T14" fmla="*/ 2147483647 w 226"/>
                <a:gd name="T15" fmla="*/ 2147483647 h 237"/>
                <a:gd name="T16" fmla="*/ 2147483647 w 226"/>
                <a:gd name="T17" fmla="*/ 2147483647 h 237"/>
                <a:gd name="T18" fmla="*/ 2147483647 w 226"/>
                <a:gd name="T19" fmla="*/ 2147483647 h 237"/>
                <a:gd name="T20" fmla="*/ 2147483647 w 226"/>
                <a:gd name="T21" fmla="*/ 2147483647 h 237"/>
                <a:gd name="T22" fmla="*/ 2147483647 w 226"/>
                <a:gd name="T23" fmla="*/ 2147483647 h 237"/>
                <a:gd name="T24" fmla="*/ 2147483647 w 226"/>
                <a:gd name="T25" fmla="*/ 2147483647 h 237"/>
                <a:gd name="T26" fmla="*/ 2147483647 w 226"/>
                <a:gd name="T27" fmla="*/ 2147483647 h 237"/>
                <a:gd name="T28" fmla="*/ 2147483647 w 226"/>
                <a:gd name="T29" fmla="*/ 2147483647 h 237"/>
                <a:gd name="T30" fmla="*/ 2147483647 w 226"/>
                <a:gd name="T31" fmla="*/ 2147483647 h 237"/>
                <a:gd name="T32" fmla="*/ 2147483647 w 226"/>
                <a:gd name="T33" fmla="*/ 2147483647 h 237"/>
                <a:gd name="T34" fmla="*/ 2147483647 w 226"/>
                <a:gd name="T35" fmla="*/ 2147483647 h 237"/>
                <a:gd name="T36" fmla="*/ 2147483647 w 226"/>
                <a:gd name="T37" fmla="*/ 2147483647 h 237"/>
                <a:gd name="T38" fmla="*/ 2147483647 w 226"/>
                <a:gd name="T39" fmla="*/ 2147483647 h 237"/>
                <a:gd name="T40" fmla="*/ 2147483647 w 226"/>
                <a:gd name="T41" fmla="*/ 2147483647 h 237"/>
                <a:gd name="T42" fmla="*/ 2147483647 w 226"/>
                <a:gd name="T43" fmla="*/ 2147483647 h 237"/>
                <a:gd name="T44" fmla="*/ 2147483647 w 226"/>
                <a:gd name="T45" fmla="*/ 2147483647 h 237"/>
                <a:gd name="T46" fmla="*/ 2147483647 w 226"/>
                <a:gd name="T47" fmla="*/ 2147483647 h 237"/>
                <a:gd name="T48" fmla="*/ 2147483647 w 226"/>
                <a:gd name="T49" fmla="*/ 2147483647 h 237"/>
                <a:gd name="T50" fmla="*/ 2147483647 w 226"/>
                <a:gd name="T51" fmla="*/ 2147483647 h 237"/>
                <a:gd name="T52" fmla="*/ 2147483647 w 226"/>
                <a:gd name="T53" fmla="*/ 2147483647 h 237"/>
                <a:gd name="T54" fmla="*/ 2147483647 w 226"/>
                <a:gd name="T55" fmla="*/ 2147483647 h 237"/>
                <a:gd name="T56" fmla="*/ 2147483647 w 226"/>
                <a:gd name="T57" fmla="*/ 2147483647 h 237"/>
                <a:gd name="T58" fmla="*/ 0 w 226"/>
                <a:gd name="T59" fmla="*/ 2147483647 h 237"/>
                <a:gd name="T60" fmla="*/ 2147483647 w 226"/>
                <a:gd name="T61" fmla="*/ 2147483647 h 237"/>
                <a:gd name="T62" fmla="*/ 2147483647 w 226"/>
                <a:gd name="T63" fmla="*/ 2147483647 h 237"/>
                <a:gd name="T64" fmla="*/ 2147483647 w 226"/>
                <a:gd name="T65" fmla="*/ 2147483647 h 237"/>
                <a:gd name="T66" fmla="*/ 2147483647 w 226"/>
                <a:gd name="T67" fmla="*/ 2147483647 h 237"/>
                <a:gd name="T68" fmla="*/ 2147483647 w 226"/>
                <a:gd name="T69" fmla="*/ 2147483647 h 237"/>
                <a:gd name="T70" fmla="*/ 2147483647 w 226"/>
                <a:gd name="T71" fmla="*/ 2147483647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26"/>
                <a:gd name="T109" fmla="*/ 0 h 237"/>
                <a:gd name="T110" fmla="*/ 226 w 226"/>
                <a:gd name="T111" fmla="*/ 237 h 23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68" name="Freeform 542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6516688" y="2917825"/>
              <a:ext cx="207962" cy="458788"/>
            </a:xfrm>
            <a:custGeom>
              <a:avLst/>
              <a:gdLst>
                <a:gd name="T0" fmla="*/ 2147483647 w 478"/>
                <a:gd name="T1" fmla="*/ 2147483647 h 875"/>
                <a:gd name="T2" fmla="*/ 2147483647 w 478"/>
                <a:gd name="T3" fmla="*/ 2147483647 h 875"/>
                <a:gd name="T4" fmla="*/ 2147483647 w 478"/>
                <a:gd name="T5" fmla="*/ 2147483647 h 875"/>
                <a:gd name="T6" fmla="*/ 2147483647 w 478"/>
                <a:gd name="T7" fmla="*/ 2147483647 h 875"/>
                <a:gd name="T8" fmla="*/ 2147483647 w 478"/>
                <a:gd name="T9" fmla="*/ 2147483647 h 875"/>
                <a:gd name="T10" fmla="*/ 2147483647 w 478"/>
                <a:gd name="T11" fmla="*/ 2147483647 h 875"/>
                <a:gd name="T12" fmla="*/ 2147483647 w 478"/>
                <a:gd name="T13" fmla="*/ 2147483647 h 875"/>
                <a:gd name="T14" fmla="*/ 2147483647 w 478"/>
                <a:gd name="T15" fmla="*/ 2147483647 h 875"/>
                <a:gd name="T16" fmla="*/ 2147483647 w 478"/>
                <a:gd name="T17" fmla="*/ 2147483647 h 875"/>
                <a:gd name="T18" fmla="*/ 2147483647 w 478"/>
                <a:gd name="T19" fmla="*/ 2147483647 h 875"/>
                <a:gd name="T20" fmla="*/ 2147483647 w 478"/>
                <a:gd name="T21" fmla="*/ 2147483647 h 875"/>
                <a:gd name="T22" fmla="*/ 2147483647 w 478"/>
                <a:gd name="T23" fmla="*/ 2147483647 h 875"/>
                <a:gd name="T24" fmla="*/ 2147483647 w 478"/>
                <a:gd name="T25" fmla="*/ 2147483647 h 875"/>
                <a:gd name="T26" fmla="*/ 2147483647 w 478"/>
                <a:gd name="T27" fmla="*/ 2147483647 h 875"/>
                <a:gd name="T28" fmla="*/ 2147483647 w 478"/>
                <a:gd name="T29" fmla="*/ 2147483647 h 875"/>
                <a:gd name="T30" fmla="*/ 2147483647 w 478"/>
                <a:gd name="T31" fmla="*/ 2147483647 h 875"/>
                <a:gd name="T32" fmla="*/ 2147483647 w 478"/>
                <a:gd name="T33" fmla="*/ 2147483647 h 875"/>
                <a:gd name="T34" fmla="*/ 2147483647 w 478"/>
                <a:gd name="T35" fmla="*/ 2147483647 h 875"/>
                <a:gd name="T36" fmla="*/ 2147483647 w 478"/>
                <a:gd name="T37" fmla="*/ 2147483647 h 875"/>
                <a:gd name="T38" fmla="*/ 2147483647 w 478"/>
                <a:gd name="T39" fmla="*/ 2147483647 h 875"/>
                <a:gd name="T40" fmla="*/ 2147483647 w 478"/>
                <a:gd name="T41" fmla="*/ 2147483647 h 875"/>
                <a:gd name="T42" fmla="*/ 2147483647 w 478"/>
                <a:gd name="T43" fmla="*/ 2147483647 h 875"/>
                <a:gd name="T44" fmla="*/ 2147483647 w 478"/>
                <a:gd name="T45" fmla="*/ 2147483647 h 875"/>
                <a:gd name="T46" fmla="*/ 2147483647 w 478"/>
                <a:gd name="T47" fmla="*/ 2147483647 h 875"/>
                <a:gd name="T48" fmla="*/ 2147483647 w 478"/>
                <a:gd name="T49" fmla="*/ 2147483647 h 875"/>
                <a:gd name="T50" fmla="*/ 2147483647 w 478"/>
                <a:gd name="T51" fmla="*/ 2147483647 h 875"/>
                <a:gd name="T52" fmla="*/ 2147483647 w 478"/>
                <a:gd name="T53" fmla="*/ 2147483647 h 875"/>
                <a:gd name="T54" fmla="*/ 2147483647 w 478"/>
                <a:gd name="T55" fmla="*/ 2147483647 h 875"/>
                <a:gd name="T56" fmla="*/ 2147483647 w 478"/>
                <a:gd name="T57" fmla="*/ 2147483647 h 875"/>
                <a:gd name="T58" fmla="*/ 2147483647 w 478"/>
                <a:gd name="T59" fmla="*/ 2147483647 h 875"/>
                <a:gd name="T60" fmla="*/ 2147483647 w 478"/>
                <a:gd name="T61" fmla="*/ 2147483647 h 875"/>
                <a:gd name="T62" fmla="*/ 2147483647 w 478"/>
                <a:gd name="T63" fmla="*/ 2147483647 h 875"/>
                <a:gd name="T64" fmla="*/ 2147483647 w 478"/>
                <a:gd name="T65" fmla="*/ 2147483647 h 875"/>
                <a:gd name="T66" fmla="*/ 2147483647 w 478"/>
                <a:gd name="T67" fmla="*/ 2147483647 h 875"/>
                <a:gd name="T68" fmla="*/ 2147483647 w 478"/>
                <a:gd name="T69" fmla="*/ 2147483647 h 875"/>
                <a:gd name="T70" fmla="*/ 2147483647 w 478"/>
                <a:gd name="T71" fmla="*/ 2147483647 h 875"/>
                <a:gd name="T72" fmla="*/ 2147483647 w 478"/>
                <a:gd name="T73" fmla="*/ 2147483647 h 875"/>
                <a:gd name="T74" fmla="*/ 2147483647 w 478"/>
                <a:gd name="T75" fmla="*/ 2147483647 h 875"/>
                <a:gd name="T76" fmla="*/ 2147483647 w 478"/>
                <a:gd name="T77" fmla="*/ 2147483647 h 875"/>
                <a:gd name="T78" fmla="*/ 2147483647 w 478"/>
                <a:gd name="T79" fmla="*/ 2147483647 h 875"/>
                <a:gd name="T80" fmla="*/ 2147483647 w 478"/>
                <a:gd name="T81" fmla="*/ 2147483647 h 875"/>
                <a:gd name="T82" fmla="*/ 2147483647 w 478"/>
                <a:gd name="T83" fmla="*/ 2147483647 h 875"/>
                <a:gd name="T84" fmla="*/ 2147483647 w 478"/>
                <a:gd name="T85" fmla="*/ 2147483647 h 875"/>
                <a:gd name="T86" fmla="*/ 2147483647 w 478"/>
                <a:gd name="T87" fmla="*/ 2147483647 h 875"/>
                <a:gd name="T88" fmla="*/ 2147483647 w 478"/>
                <a:gd name="T89" fmla="*/ 2147483647 h 875"/>
                <a:gd name="T90" fmla="*/ 2147483647 w 478"/>
                <a:gd name="T91" fmla="*/ 2147483647 h 875"/>
                <a:gd name="T92" fmla="*/ 2147483647 w 478"/>
                <a:gd name="T93" fmla="*/ 2147483647 h 875"/>
                <a:gd name="T94" fmla="*/ 2147483647 w 478"/>
                <a:gd name="T95" fmla="*/ 2147483647 h 875"/>
                <a:gd name="T96" fmla="*/ 2147483647 w 478"/>
                <a:gd name="T97" fmla="*/ 2147483647 h 875"/>
                <a:gd name="T98" fmla="*/ 2147483647 w 478"/>
                <a:gd name="T99" fmla="*/ 2147483647 h 875"/>
                <a:gd name="T100" fmla="*/ 2147483647 w 478"/>
                <a:gd name="T101" fmla="*/ 2147483647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78"/>
                <a:gd name="T154" fmla="*/ 0 h 875"/>
                <a:gd name="T155" fmla="*/ 478 w 478"/>
                <a:gd name="T156" fmla="*/ 875 h 87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69" name="Freeform 543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6604000" y="3603625"/>
              <a:ext cx="25400" cy="57150"/>
            </a:xfrm>
            <a:custGeom>
              <a:avLst/>
              <a:gdLst>
                <a:gd name="T0" fmla="*/ 2147483647 w 59"/>
                <a:gd name="T1" fmla="*/ 2147483647 h 31"/>
                <a:gd name="T2" fmla="*/ 2147483647 w 59"/>
                <a:gd name="T3" fmla="*/ 2147483647 h 31"/>
                <a:gd name="T4" fmla="*/ 2147483647 w 59"/>
                <a:gd name="T5" fmla="*/ 2147483647 h 31"/>
                <a:gd name="T6" fmla="*/ 2147483647 w 59"/>
                <a:gd name="T7" fmla="*/ 2147483647 h 31"/>
                <a:gd name="T8" fmla="*/ 2147483647 w 59"/>
                <a:gd name="T9" fmla="*/ 2147483647 h 31"/>
                <a:gd name="T10" fmla="*/ 2147483647 w 59"/>
                <a:gd name="T11" fmla="*/ 2147483647 h 31"/>
                <a:gd name="T12" fmla="*/ 2147483647 w 59"/>
                <a:gd name="T13" fmla="*/ 2147483647 h 31"/>
                <a:gd name="T14" fmla="*/ 2147483647 w 59"/>
                <a:gd name="T15" fmla="*/ 2147483647 h 31"/>
                <a:gd name="T16" fmla="*/ 2147483647 w 59"/>
                <a:gd name="T17" fmla="*/ 2147483647 h 31"/>
                <a:gd name="T18" fmla="*/ 2147483647 w 59"/>
                <a:gd name="T19" fmla="*/ 2147483647 h 31"/>
                <a:gd name="T20" fmla="*/ 2147483647 w 59"/>
                <a:gd name="T21" fmla="*/ 2147483647 h 31"/>
                <a:gd name="T22" fmla="*/ 2147483647 w 59"/>
                <a:gd name="T23" fmla="*/ 2147483647 h 31"/>
                <a:gd name="T24" fmla="*/ 2147483647 w 59"/>
                <a:gd name="T25" fmla="*/ 2147483647 h 31"/>
                <a:gd name="T26" fmla="*/ 2147483647 w 59"/>
                <a:gd name="T27" fmla="*/ 2147483647 h 31"/>
                <a:gd name="T28" fmla="*/ 0 w 59"/>
                <a:gd name="T29" fmla="*/ 2147483647 h 31"/>
                <a:gd name="T30" fmla="*/ 2147483647 w 59"/>
                <a:gd name="T31" fmla="*/ 2147483647 h 31"/>
                <a:gd name="T32" fmla="*/ 2147483647 w 59"/>
                <a:gd name="T33" fmla="*/ 2147483647 h 31"/>
                <a:gd name="T34" fmla="*/ 2147483647 w 59"/>
                <a:gd name="T35" fmla="*/ 2147483647 h 31"/>
                <a:gd name="T36" fmla="*/ 2147483647 w 59"/>
                <a:gd name="T37" fmla="*/ 2147483647 h 31"/>
                <a:gd name="T38" fmla="*/ 2147483647 w 59"/>
                <a:gd name="T39" fmla="*/ 2147483647 h 31"/>
                <a:gd name="T40" fmla="*/ 2147483647 w 59"/>
                <a:gd name="T41" fmla="*/ 0 h 31"/>
                <a:gd name="T42" fmla="*/ 2147483647 w 59"/>
                <a:gd name="T43" fmla="*/ 0 h 31"/>
                <a:gd name="T44" fmla="*/ 2147483647 w 59"/>
                <a:gd name="T45" fmla="*/ 2147483647 h 31"/>
                <a:gd name="T46" fmla="*/ 2147483647 w 59"/>
                <a:gd name="T47" fmla="*/ 2147483647 h 31"/>
                <a:gd name="T48" fmla="*/ 2147483647 w 59"/>
                <a:gd name="T49" fmla="*/ 2147483647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9"/>
                <a:gd name="T76" fmla="*/ 0 h 31"/>
                <a:gd name="T77" fmla="*/ 59 w 59"/>
                <a:gd name="T78" fmla="*/ 31 h 3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70" name="Freeform 544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5295900" y="2862263"/>
              <a:ext cx="174625" cy="271462"/>
            </a:xfrm>
            <a:custGeom>
              <a:avLst/>
              <a:gdLst>
                <a:gd name="T0" fmla="*/ 2147483647 w 399"/>
                <a:gd name="T1" fmla="*/ 2147483647 h 518"/>
                <a:gd name="T2" fmla="*/ 2147483647 w 399"/>
                <a:gd name="T3" fmla="*/ 2147483647 h 518"/>
                <a:gd name="T4" fmla="*/ 2147483647 w 399"/>
                <a:gd name="T5" fmla="*/ 2147483647 h 518"/>
                <a:gd name="T6" fmla="*/ 2147483647 w 399"/>
                <a:gd name="T7" fmla="*/ 2147483647 h 518"/>
                <a:gd name="T8" fmla="*/ 2147483647 w 399"/>
                <a:gd name="T9" fmla="*/ 2147483647 h 518"/>
                <a:gd name="T10" fmla="*/ 2147483647 w 399"/>
                <a:gd name="T11" fmla="*/ 2147483647 h 518"/>
                <a:gd name="T12" fmla="*/ 2147483647 w 399"/>
                <a:gd name="T13" fmla="*/ 2147483647 h 518"/>
                <a:gd name="T14" fmla="*/ 2147483647 w 399"/>
                <a:gd name="T15" fmla="*/ 2147483647 h 518"/>
                <a:gd name="T16" fmla="*/ 2147483647 w 399"/>
                <a:gd name="T17" fmla="*/ 2147483647 h 518"/>
                <a:gd name="T18" fmla="*/ 2147483647 w 399"/>
                <a:gd name="T19" fmla="*/ 2147483647 h 518"/>
                <a:gd name="T20" fmla="*/ 2147483647 w 399"/>
                <a:gd name="T21" fmla="*/ 2147483647 h 518"/>
                <a:gd name="T22" fmla="*/ 2147483647 w 399"/>
                <a:gd name="T23" fmla="*/ 2147483647 h 518"/>
                <a:gd name="T24" fmla="*/ 2147483647 w 399"/>
                <a:gd name="T25" fmla="*/ 2147483647 h 518"/>
                <a:gd name="T26" fmla="*/ 2147483647 w 399"/>
                <a:gd name="T27" fmla="*/ 2147483647 h 518"/>
                <a:gd name="T28" fmla="*/ 2147483647 w 399"/>
                <a:gd name="T29" fmla="*/ 2147483647 h 518"/>
                <a:gd name="T30" fmla="*/ 2147483647 w 399"/>
                <a:gd name="T31" fmla="*/ 2147483647 h 518"/>
                <a:gd name="T32" fmla="*/ 2147483647 w 399"/>
                <a:gd name="T33" fmla="*/ 2147483647 h 518"/>
                <a:gd name="T34" fmla="*/ 2147483647 w 399"/>
                <a:gd name="T35" fmla="*/ 2147483647 h 518"/>
                <a:gd name="T36" fmla="*/ 2147483647 w 399"/>
                <a:gd name="T37" fmla="*/ 2147483647 h 518"/>
                <a:gd name="T38" fmla="*/ 2147483647 w 399"/>
                <a:gd name="T39" fmla="*/ 2147483647 h 518"/>
                <a:gd name="T40" fmla="*/ 2147483647 w 399"/>
                <a:gd name="T41" fmla="*/ 2147483647 h 518"/>
                <a:gd name="T42" fmla="*/ 2147483647 w 399"/>
                <a:gd name="T43" fmla="*/ 2147483647 h 518"/>
                <a:gd name="T44" fmla="*/ 2147483647 w 399"/>
                <a:gd name="T45" fmla="*/ 2147483647 h 518"/>
                <a:gd name="T46" fmla="*/ 2147483647 w 399"/>
                <a:gd name="T47" fmla="*/ 2147483647 h 518"/>
                <a:gd name="T48" fmla="*/ 2147483647 w 399"/>
                <a:gd name="T49" fmla="*/ 2147483647 h 518"/>
                <a:gd name="T50" fmla="*/ 2147483647 w 399"/>
                <a:gd name="T51" fmla="*/ 2147483647 h 518"/>
                <a:gd name="T52" fmla="*/ 2147483647 w 399"/>
                <a:gd name="T53" fmla="*/ 2147483647 h 518"/>
                <a:gd name="T54" fmla="*/ 2147483647 w 399"/>
                <a:gd name="T55" fmla="*/ 2147483647 h 518"/>
                <a:gd name="T56" fmla="*/ 2147483647 w 399"/>
                <a:gd name="T57" fmla="*/ 2147483647 h 518"/>
                <a:gd name="T58" fmla="*/ 2147483647 w 399"/>
                <a:gd name="T59" fmla="*/ 2147483647 h 518"/>
                <a:gd name="T60" fmla="*/ 2147483647 w 399"/>
                <a:gd name="T61" fmla="*/ 2147483647 h 518"/>
                <a:gd name="T62" fmla="*/ 2147483647 w 399"/>
                <a:gd name="T63" fmla="*/ 2147483647 h 518"/>
                <a:gd name="T64" fmla="*/ 2147483647 w 399"/>
                <a:gd name="T65" fmla="*/ 2147483647 h 518"/>
                <a:gd name="T66" fmla="*/ 2147483647 w 399"/>
                <a:gd name="T67" fmla="*/ 2147483647 h 518"/>
                <a:gd name="T68" fmla="*/ 2147483647 w 399"/>
                <a:gd name="T69" fmla="*/ 2147483647 h 518"/>
                <a:gd name="T70" fmla="*/ 2147483647 w 399"/>
                <a:gd name="T71" fmla="*/ 2147483647 h 518"/>
                <a:gd name="T72" fmla="*/ 2147483647 w 399"/>
                <a:gd name="T73" fmla="*/ 2147483647 h 518"/>
                <a:gd name="T74" fmla="*/ 2147483647 w 399"/>
                <a:gd name="T75" fmla="*/ 2147483647 h 518"/>
                <a:gd name="T76" fmla="*/ 2147483647 w 399"/>
                <a:gd name="T77" fmla="*/ 2147483647 h 518"/>
                <a:gd name="T78" fmla="*/ 2147483647 w 399"/>
                <a:gd name="T79" fmla="*/ 2147483647 h 518"/>
                <a:gd name="T80" fmla="*/ 2147483647 w 399"/>
                <a:gd name="T81" fmla="*/ 2147483647 h 518"/>
                <a:gd name="T82" fmla="*/ 2147483647 w 399"/>
                <a:gd name="T83" fmla="*/ 2147483647 h 518"/>
                <a:gd name="T84" fmla="*/ 2147483647 w 399"/>
                <a:gd name="T85" fmla="*/ 2147483647 h 518"/>
                <a:gd name="T86" fmla="*/ 0 w 399"/>
                <a:gd name="T87" fmla="*/ 2147483647 h 518"/>
                <a:gd name="T88" fmla="*/ 2147483647 w 399"/>
                <a:gd name="T89" fmla="*/ 2147483647 h 518"/>
                <a:gd name="T90" fmla="*/ 2147483647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99"/>
                <a:gd name="T139" fmla="*/ 0 h 518"/>
                <a:gd name="T140" fmla="*/ 399 w 399"/>
                <a:gd name="T141" fmla="*/ 518 h 51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71" name="Freeform 545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4022725" y="2916238"/>
              <a:ext cx="376238" cy="385762"/>
            </a:xfrm>
            <a:custGeom>
              <a:avLst/>
              <a:gdLst>
                <a:gd name="T0" fmla="*/ 2147483647 w 866"/>
                <a:gd name="T1" fmla="*/ 2147483647 h 740"/>
                <a:gd name="T2" fmla="*/ 2147483647 w 866"/>
                <a:gd name="T3" fmla="*/ 2147483647 h 740"/>
                <a:gd name="T4" fmla="*/ 2147483647 w 866"/>
                <a:gd name="T5" fmla="*/ 2147483647 h 740"/>
                <a:gd name="T6" fmla="*/ 2147483647 w 866"/>
                <a:gd name="T7" fmla="*/ 2147483647 h 740"/>
                <a:gd name="T8" fmla="*/ 2147483647 w 866"/>
                <a:gd name="T9" fmla="*/ 2147483647 h 740"/>
                <a:gd name="T10" fmla="*/ 2147483647 w 866"/>
                <a:gd name="T11" fmla="*/ 2147483647 h 740"/>
                <a:gd name="T12" fmla="*/ 2147483647 w 866"/>
                <a:gd name="T13" fmla="*/ 2147483647 h 740"/>
                <a:gd name="T14" fmla="*/ 2147483647 w 866"/>
                <a:gd name="T15" fmla="*/ 2147483647 h 740"/>
                <a:gd name="T16" fmla="*/ 2147483647 w 866"/>
                <a:gd name="T17" fmla="*/ 2147483647 h 740"/>
                <a:gd name="T18" fmla="*/ 2147483647 w 866"/>
                <a:gd name="T19" fmla="*/ 2147483647 h 740"/>
                <a:gd name="T20" fmla="*/ 2147483647 w 866"/>
                <a:gd name="T21" fmla="*/ 2147483647 h 740"/>
                <a:gd name="T22" fmla="*/ 2147483647 w 866"/>
                <a:gd name="T23" fmla="*/ 2147483647 h 740"/>
                <a:gd name="T24" fmla="*/ 2147483647 w 866"/>
                <a:gd name="T25" fmla="*/ 2147483647 h 740"/>
                <a:gd name="T26" fmla="*/ 2147483647 w 866"/>
                <a:gd name="T27" fmla="*/ 2147483647 h 740"/>
                <a:gd name="T28" fmla="*/ 2147483647 w 866"/>
                <a:gd name="T29" fmla="*/ 2147483647 h 740"/>
                <a:gd name="T30" fmla="*/ 2147483647 w 866"/>
                <a:gd name="T31" fmla="*/ 2147483647 h 740"/>
                <a:gd name="T32" fmla="*/ 2147483647 w 866"/>
                <a:gd name="T33" fmla="*/ 2147483647 h 740"/>
                <a:gd name="T34" fmla="*/ 2147483647 w 866"/>
                <a:gd name="T35" fmla="*/ 2147483647 h 740"/>
                <a:gd name="T36" fmla="*/ 2147483647 w 866"/>
                <a:gd name="T37" fmla="*/ 2147483647 h 740"/>
                <a:gd name="T38" fmla="*/ 2147483647 w 866"/>
                <a:gd name="T39" fmla="*/ 2147483647 h 740"/>
                <a:gd name="T40" fmla="*/ 2147483647 w 866"/>
                <a:gd name="T41" fmla="*/ 2147483647 h 740"/>
                <a:gd name="T42" fmla="*/ 2147483647 w 866"/>
                <a:gd name="T43" fmla="*/ 2147483647 h 740"/>
                <a:gd name="T44" fmla="*/ 2147483647 w 866"/>
                <a:gd name="T45" fmla="*/ 2147483647 h 740"/>
                <a:gd name="T46" fmla="*/ 2147483647 w 866"/>
                <a:gd name="T47" fmla="*/ 2147483647 h 740"/>
                <a:gd name="T48" fmla="*/ 2147483647 w 866"/>
                <a:gd name="T49" fmla="*/ 2147483647 h 740"/>
                <a:gd name="T50" fmla="*/ 2147483647 w 866"/>
                <a:gd name="T51" fmla="*/ 2147483647 h 740"/>
                <a:gd name="T52" fmla="*/ 2147483647 w 866"/>
                <a:gd name="T53" fmla="*/ 2147483647 h 740"/>
                <a:gd name="T54" fmla="*/ 2147483647 w 866"/>
                <a:gd name="T55" fmla="*/ 2147483647 h 740"/>
                <a:gd name="T56" fmla="*/ 2147483647 w 866"/>
                <a:gd name="T57" fmla="*/ 2147483647 h 740"/>
                <a:gd name="T58" fmla="*/ 2147483647 w 866"/>
                <a:gd name="T59" fmla="*/ 2147483647 h 740"/>
                <a:gd name="T60" fmla="*/ 2147483647 w 866"/>
                <a:gd name="T61" fmla="*/ 2147483647 h 740"/>
                <a:gd name="T62" fmla="*/ 2147483647 w 866"/>
                <a:gd name="T63" fmla="*/ 2147483647 h 740"/>
                <a:gd name="T64" fmla="*/ 2147483647 w 866"/>
                <a:gd name="T65" fmla="*/ 2147483647 h 740"/>
                <a:gd name="T66" fmla="*/ 2147483647 w 866"/>
                <a:gd name="T67" fmla="*/ 2147483647 h 740"/>
                <a:gd name="T68" fmla="*/ 2147483647 w 866"/>
                <a:gd name="T69" fmla="*/ 2147483647 h 740"/>
                <a:gd name="T70" fmla="*/ 2147483647 w 866"/>
                <a:gd name="T71" fmla="*/ 2147483647 h 740"/>
                <a:gd name="T72" fmla="*/ 2147483647 w 866"/>
                <a:gd name="T73" fmla="*/ 2147483647 h 740"/>
                <a:gd name="T74" fmla="*/ 2147483647 w 866"/>
                <a:gd name="T75" fmla="*/ 2147483647 h 740"/>
                <a:gd name="T76" fmla="*/ 2147483647 w 866"/>
                <a:gd name="T77" fmla="*/ 2147483647 h 740"/>
                <a:gd name="T78" fmla="*/ 2147483647 w 866"/>
                <a:gd name="T79" fmla="*/ 2147483647 h 740"/>
                <a:gd name="T80" fmla="*/ 2147483647 w 866"/>
                <a:gd name="T81" fmla="*/ 2147483647 h 740"/>
                <a:gd name="T82" fmla="*/ 2147483647 w 866"/>
                <a:gd name="T83" fmla="*/ 2147483647 h 740"/>
                <a:gd name="T84" fmla="*/ 2147483647 w 866"/>
                <a:gd name="T85" fmla="*/ 2147483647 h 740"/>
                <a:gd name="T86" fmla="*/ 2147483647 w 866"/>
                <a:gd name="T87" fmla="*/ 2147483647 h 740"/>
                <a:gd name="T88" fmla="*/ 2147483647 w 866"/>
                <a:gd name="T89" fmla="*/ 2147483647 h 740"/>
                <a:gd name="T90" fmla="*/ 2147483647 w 866"/>
                <a:gd name="T91" fmla="*/ 2147483647 h 740"/>
                <a:gd name="T92" fmla="*/ 2147483647 w 866"/>
                <a:gd name="T93" fmla="*/ 2147483647 h 740"/>
                <a:gd name="T94" fmla="*/ 2147483647 w 866"/>
                <a:gd name="T95" fmla="*/ 2147483647 h 740"/>
                <a:gd name="T96" fmla="*/ 2147483647 w 866"/>
                <a:gd name="T97" fmla="*/ 2147483647 h 740"/>
                <a:gd name="T98" fmla="*/ 2147483647 w 866"/>
                <a:gd name="T99" fmla="*/ 2147483647 h 740"/>
                <a:gd name="T100" fmla="*/ 2147483647 w 866"/>
                <a:gd name="T101" fmla="*/ 2147483647 h 740"/>
                <a:gd name="T102" fmla="*/ 2147483647 w 866"/>
                <a:gd name="T103" fmla="*/ 2147483647 h 740"/>
                <a:gd name="T104" fmla="*/ 2147483647 w 866"/>
                <a:gd name="T105" fmla="*/ 2147483647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866"/>
                <a:gd name="T160" fmla="*/ 0 h 740"/>
                <a:gd name="T161" fmla="*/ 866 w 866"/>
                <a:gd name="T162" fmla="*/ 740 h 74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72" name="Freeform 546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3692525" y="2533650"/>
              <a:ext cx="300038" cy="260350"/>
            </a:xfrm>
            <a:custGeom>
              <a:avLst/>
              <a:gdLst>
                <a:gd name="T0" fmla="*/ 2147483647 w 697"/>
                <a:gd name="T1" fmla="*/ 2147483647 h 500"/>
                <a:gd name="T2" fmla="*/ 2147483647 w 697"/>
                <a:gd name="T3" fmla="*/ 2147483647 h 500"/>
                <a:gd name="T4" fmla="*/ 2147483647 w 697"/>
                <a:gd name="T5" fmla="*/ 2147483647 h 500"/>
                <a:gd name="T6" fmla="*/ 2147483647 w 697"/>
                <a:gd name="T7" fmla="*/ 2147483647 h 500"/>
                <a:gd name="T8" fmla="*/ 2147483647 w 697"/>
                <a:gd name="T9" fmla="*/ 2147483647 h 500"/>
                <a:gd name="T10" fmla="*/ 2147483647 w 697"/>
                <a:gd name="T11" fmla="*/ 2147483647 h 500"/>
                <a:gd name="T12" fmla="*/ 2147483647 w 697"/>
                <a:gd name="T13" fmla="*/ 2147483647 h 500"/>
                <a:gd name="T14" fmla="*/ 2147483647 w 697"/>
                <a:gd name="T15" fmla="*/ 2147483647 h 500"/>
                <a:gd name="T16" fmla="*/ 2147483647 w 697"/>
                <a:gd name="T17" fmla="*/ 2147483647 h 500"/>
                <a:gd name="T18" fmla="*/ 2147483647 w 697"/>
                <a:gd name="T19" fmla="*/ 2147483647 h 500"/>
                <a:gd name="T20" fmla="*/ 2147483647 w 697"/>
                <a:gd name="T21" fmla="*/ 2147483647 h 500"/>
                <a:gd name="T22" fmla="*/ 2147483647 w 697"/>
                <a:gd name="T23" fmla="*/ 2147483647 h 500"/>
                <a:gd name="T24" fmla="*/ 2147483647 w 697"/>
                <a:gd name="T25" fmla="*/ 2147483647 h 500"/>
                <a:gd name="T26" fmla="*/ 2147483647 w 697"/>
                <a:gd name="T27" fmla="*/ 2147483647 h 500"/>
                <a:gd name="T28" fmla="*/ 2147483647 w 697"/>
                <a:gd name="T29" fmla="*/ 2147483647 h 500"/>
                <a:gd name="T30" fmla="*/ 2147483647 w 697"/>
                <a:gd name="T31" fmla="*/ 2147483647 h 500"/>
                <a:gd name="T32" fmla="*/ 2147483647 w 697"/>
                <a:gd name="T33" fmla="*/ 2147483647 h 500"/>
                <a:gd name="T34" fmla="*/ 2147483647 w 697"/>
                <a:gd name="T35" fmla="*/ 2147483647 h 500"/>
                <a:gd name="T36" fmla="*/ 2147483647 w 697"/>
                <a:gd name="T37" fmla="*/ 2147483647 h 500"/>
                <a:gd name="T38" fmla="*/ 2147483647 w 697"/>
                <a:gd name="T39" fmla="*/ 2147483647 h 500"/>
                <a:gd name="T40" fmla="*/ 2147483647 w 697"/>
                <a:gd name="T41" fmla="*/ 2147483647 h 500"/>
                <a:gd name="T42" fmla="*/ 2147483647 w 697"/>
                <a:gd name="T43" fmla="*/ 2147483647 h 500"/>
                <a:gd name="T44" fmla="*/ 2147483647 w 697"/>
                <a:gd name="T45" fmla="*/ 2147483647 h 500"/>
                <a:gd name="T46" fmla="*/ 2147483647 w 697"/>
                <a:gd name="T47" fmla="*/ 2147483647 h 500"/>
                <a:gd name="T48" fmla="*/ 2147483647 w 697"/>
                <a:gd name="T49" fmla="*/ 2147483647 h 500"/>
                <a:gd name="T50" fmla="*/ 2147483647 w 697"/>
                <a:gd name="T51" fmla="*/ 2147483647 h 500"/>
                <a:gd name="T52" fmla="*/ 2147483647 w 697"/>
                <a:gd name="T53" fmla="*/ 2147483647 h 500"/>
                <a:gd name="T54" fmla="*/ 2147483647 w 697"/>
                <a:gd name="T55" fmla="*/ 2147483647 h 500"/>
                <a:gd name="T56" fmla="*/ 2147483647 w 697"/>
                <a:gd name="T57" fmla="*/ 2147483647 h 500"/>
                <a:gd name="T58" fmla="*/ 2147483647 w 697"/>
                <a:gd name="T59" fmla="*/ 2147483647 h 500"/>
                <a:gd name="T60" fmla="*/ 2147483647 w 697"/>
                <a:gd name="T61" fmla="*/ 2147483647 h 500"/>
                <a:gd name="T62" fmla="*/ 2147483647 w 697"/>
                <a:gd name="T63" fmla="*/ 2147483647 h 500"/>
                <a:gd name="T64" fmla="*/ 2147483647 w 697"/>
                <a:gd name="T65" fmla="*/ 2147483647 h 500"/>
                <a:gd name="T66" fmla="*/ 2147483647 w 697"/>
                <a:gd name="T67" fmla="*/ 2147483647 h 500"/>
                <a:gd name="T68" fmla="*/ 2147483647 w 697"/>
                <a:gd name="T69" fmla="*/ 2147483647 h 500"/>
                <a:gd name="T70" fmla="*/ 2147483647 w 697"/>
                <a:gd name="T71" fmla="*/ 2147483647 h 500"/>
                <a:gd name="T72" fmla="*/ 2147483647 w 697"/>
                <a:gd name="T73" fmla="*/ 2147483647 h 500"/>
                <a:gd name="T74" fmla="*/ 2147483647 w 697"/>
                <a:gd name="T75" fmla="*/ 2147483647 h 500"/>
                <a:gd name="T76" fmla="*/ 2147483647 w 697"/>
                <a:gd name="T77" fmla="*/ 2147483647 h 500"/>
                <a:gd name="T78" fmla="*/ 2147483647 w 697"/>
                <a:gd name="T79" fmla="*/ 2147483647 h 500"/>
                <a:gd name="T80" fmla="*/ 2147483647 w 697"/>
                <a:gd name="T81" fmla="*/ 2147483647 h 500"/>
                <a:gd name="T82" fmla="*/ 2147483647 w 697"/>
                <a:gd name="T83" fmla="*/ 2147483647 h 500"/>
                <a:gd name="T84" fmla="*/ 2147483647 w 697"/>
                <a:gd name="T85" fmla="*/ 2147483647 h 500"/>
                <a:gd name="T86" fmla="*/ 2147483647 w 697"/>
                <a:gd name="T87" fmla="*/ 2147483647 h 500"/>
                <a:gd name="T88" fmla="*/ 2147483647 w 697"/>
                <a:gd name="T89" fmla="*/ 2147483647 h 500"/>
                <a:gd name="T90" fmla="*/ 2147483647 w 697"/>
                <a:gd name="T91" fmla="*/ 2147483647 h 500"/>
                <a:gd name="T92" fmla="*/ 2147483647 w 697"/>
                <a:gd name="T93" fmla="*/ 2147483647 h 500"/>
                <a:gd name="T94" fmla="*/ 2147483647 w 697"/>
                <a:gd name="T95" fmla="*/ 2147483647 h 500"/>
                <a:gd name="T96" fmla="*/ 2147483647 w 697"/>
                <a:gd name="T97" fmla="*/ 2147483647 h 500"/>
                <a:gd name="T98" fmla="*/ 2147483647 w 697"/>
                <a:gd name="T99" fmla="*/ 2147483647 h 500"/>
                <a:gd name="T100" fmla="*/ 2147483647 w 697"/>
                <a:gd name="T101" fmla="*/ 2147483647 h 500"/>
                <a:gd name="T102" fmla="*/ 2147483647 w 697"/>
                <a:gd name="T103" fmla="*/ 2147483647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97"/>
                <a:gd name="T157" fmla="*/ 0 h 500"/>
                <a:gd name="T158" fmla="*/ 697 w 697"/>
                <a:gd name="T159" fmla="*/ 500 h 50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73" name="Freeform 547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4392613" y="1463675"/>
              <a:ext cx="236537" cy="92075"/>
            </a:xfrm>
            <a:custGeom>
              <a:avLst/>
              <a:gdLst>
                <a:gd name="T0" fmla="*/ 2147483647 w 546"/>
                <a:gd name="T1" fmla="*/ 2147483647 h 173"/>
                <a:gd name="T2" fmla="*/ 2147483647 w 546"/>
                <a:gd name="T3" fmla="*/ 2147483647 h 173"/>
                <a:gd name="T4" fmla="*/ 2147483647 w 546"/>
                <a:gd name="T5" fmla="*/ 2147483647 h 173"/>
                <a:gd name="T6" fmla="*/ 2147483647 w 546"/>
                <a:gd name="T7" fmla="*/ 2147483647 h 173"/>
                <a:gd name="T8" fmla="*/ 2147483647 w 546"/>
                <a:gd name="T9" fmla="*/ 2147483647 h 173"/>
                <a:gd name="T10" fmla="*/ 2147483647 w 546"/>
                <a:gd name="T11" fmla="*/ 2147483647 h 173"/>
                <a:gd name="T12" fmla="*/ 2147483647 w 546"/>
                <a:gd name="T13" fmla="*/ 2147483647 h 173"/>
                <a:gd name="T14" fmla="*/ 2147483647 w 546"/>
                <a:gd name="T15" fmla="*/ 2147483647 h 173"/>
                <a:gd name="T16" fmla="*/ 2147483647 w 546"/>
                <a:gd name="T17" fmla="*/ 2147483647 h 173"/>
                <a:gd name="T18" fmla="*/ 2147483647 w 546"/>
                <a:gd name="T19" fmla="*/ 2147483647 h 173"/>
                <a:gd name="T20" fmla="*/ 2147483647 w 546"/>
                <a:gd name="T21" fmla="*/ 2147483647 h 173"/>
                <a:gd name="T22" fmla="*/ 2147483647 w 546"/>
                <a:gd name="T23" fmla="*/ 2147483647 h 173"/>
                <a:gd name="T24" fmla="*/ 2147483647 w 546"/>
                <a:gd name="T25" fmla="*/ 2147483647 h 173"/>
                <a:gd name="T26" fmla="*/ 2147483647 w 546"/>
                <a:gd name="T27" fmla="*/ 2147483647 h 173"/>
                <a:gd name="T28" fmla="*/ 2147483647 w 546"/>
                <a:gd name="T29" fmla="*/ 0 h 173"/>
                <a:gd name="T30" fmla="*/ 2147483647 w 546"/>
                <a:gd name="T31" fmla="*/ 2147483647 h 173"/>
                <a:gd name="T32" fmla="*/ 2147483647 w 546"/>
                <a:gd name="T33" fmla="*/ 2147483647 h 173"/>
                <a:gd name="T34" fmla="*/ 2147483647 w 546"/>
                <a:gd name="T35" fmla="*/ 2147483647 h 173"/>
                <a:gd name="T36" fmla="*/ 2147483647 w 546"/>
                <a:gd name="T37" fmla="*/ 2147483647 h 173"/>
                <a:gd name="T38" fmla="*/ 2147483647 w 546"/>
                <a:gd name="T39" fmla="*/ 2147483647 h 173"/>
                <a:gd name="T40" fmla="*/ 2147483647 w 546"/>
                <a:gd name="T41" fmla="*/ 2147483647 h 173"/>
                <a:gd name="T42" fmla="*/ 2147483647 w 546"/>
                <a:gd name="T43" fmla="*/ 2147483647 h 173"/>
                <a:gd name="T44" fmla="*/ 2147483647 w 546"/>
                <a:gd name="T45" fmla="*/ 2147483647 h 173"/>
                <a:gd name="T46" fmla="*/ 2147483647 w 546"/>
                <a:gd name="T47" fmla="*/ 2147483647 h 173"/>
                <a:gd name="T48" fmla="*/ 2147483647 w 546"/>
                <a:gd name="T49" fmla="*/ 2147483647 h 173"/>
                <a:gd name="T50" fmla="*/ 2147483647 w 546"/>
                <a:gd name="T51" fmla="*/ 2147483647 h 173"/>
                <a:gd name="T52" fmla="*/ 2147483647 w 546"/>
                <a:gd name="T53" fmla="*/ 2147483647 h 173"/>
                <a:gd name="T54" fmla="*/ 2147483647 w 546"/>
                <a:gd name="T55" fmla="*/ 2147483647 h 173"/>
                <a:gd name="T56" fmla="*/ 2147483647 w 546"/>
                <a:gd name="T57" fmla="*/ 2147483647 h 173"/>
                <a:gd name="T58" fmla="*/ 2147483647 w 546"/>
                <a:gd name="T59" fmla="*/ 2147483647 h 173"/>
                <a:gd name="T60" fmla="*/ 2147483647 w 546"/>
                <a:gd name="T61" fmla="*/ 2147483647 h 173"/>
                <a:gd name="T62" fmla="*/ 2147483647 w 546"/>
                <a:gd name="T63" fmla="*/ 2147483647 h 173"/>
                <a:gd name="T64" fmla="*/ 2147483647 w 546"/>
                <a:gd name="T65" fmla="*/ 2147483647 h 173"/>
                <a:gd name="T66" fmla="*/ 2147483647 w 546"/>
                <a:gd name="T67" fmla="*/ 2147483647 h 173"/>
                <a:gd name="T68" fmla="*/ 2147483647 w 546"/>
                <a:gd name="T69" fmla="*/ 2147483647 h 173"/>
                <a:gd name="T70" fmla="*/ 2147483647 w 546"/>
                <a:gd name="T71" fmla="*/ 2147483647 h 173"/>
                <a:gd name="T72" fmla="*/ 2147483647 w 546"/>
                <a:gd name="T73" fmla="*/ 2147483647 h 173"/>
                <a:gd name="T74" fmla="*/ 2147483647 w 546"/>
                <a:gd name="T75" fmla="*/ 2147483647 h 173"/>
                <a:gd name="T76" fmla="*/ 2147483647 w 546"/>
                <a:gd name="T77" fmla="*/ 2147483647 h 173"/>
                <a:gd name="T78" fmla="*/ 2147483647 w 546"/>
                <a:gd name="T79" fmla="*/ 2147483647 h 173"/>
                <a:gd name="T80" fmla="*/ 2147483647 w 546"/>
                <a:gd name="T81" fmla="*/ 2147483647 h 173"/>
                <a:gd name="T82" fmla="*/ 2147483647 w 546"/>
                <a:gd name="T83" fmla="*/ 2147483647 h 173"/>
                <a:gd name="T84" fmla="*/ 2147483647 w 546"/>
                <a:gd name="T85" fmla="*/ 2147483647 h 173"/>
                <a:gd name="T86" fmla="*/ 2147483647 w 546"/>
                <a:gd name="T87" fmla="*/ 2147483647 h 173"/>
                <a:gd name="T88" fmla="*/ 2147483647 w 546"/>
                <a:gd name="T89" fmla="*/ 2147483647 h 173"/>
                <a:gd name="T90" fmla="*/ 2147483647 w 546"/>
                <a:gd name="T91" fmla="*/ 2147483647 h 173"/>
                <a:gd name="T92" fmla="*/ 2147483647 w 546"/>
                <a:gd name="T93" fmla="*/ 2147483647 h 173"/>
                <a:gd name="T94" fmla="*/ 2147483647 w 546"/>
                <a:gd name="T95" fmla="*/ 2147483647 h 173"/>
                <a:gd name="T96" fmla="*/ 2147483647 w 546"/>
                <a:gd name="T97" fmla="*/ 2147483647 h 173"/>
                <a:gd name="T98" fmla="*/ 2147483647 w 546"/>
                <a:gd name="T99" fmla="*/ 2147483647 h 173"/>
                <a:gd name="T100" fmla="*/ 2147483647 w 546"/>
                <a:gd name="T101" fmla="*/ 214748364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46"/>
                <a:gd name="T154" fmla="*/ 0 h 173"/>
                <a:gd name="T155" fmla="*/ 546 w 546"/>
                <a:gd name="T156" fmla="*/ 173 h 17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74" name="Freeform 548"/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4903788" y="1447800"/>
              <a:ext cx="107950" cy="60325"/>
            </a:xfrm>
            <a:custGeom>
              <a:avLst/>
              <a:gdLst>
                <a:gd name="T0" fmla="*/ 2147483647 w 246"/>
                <a:gd name="T1" fmla="*/ 2147483647 h 42"/>
                <a:gd name="T2" fmla="*/ 2147483647 w 246"/>
                <a:gd name="T3" fmla="*/ 2147483647 h 42"/>
                <a:gd name="T4" fmla="*/ 2147483647 w 246"/>
                <a:gd name="T5" fmla="*/ 2147483647 h 42"/>
                <a:gd name="T6" fmla="*/ 2147483647 w 246"/>
                <a:gd name="T7" fmla="*/ 2147483647 h 42"/>
                <a:gd name="T8" fmla="*/ 2147483647 w 246"/>
                <a:gd name="T9" fmla="*/ 2147483647 h 42"/>
                <a:gd name="T10" fmla="*/ 2147483647 w 246"/>
                <a:gd name="T11" fmla="*/ 2147483647 h 42"/>
                <a:gd name="T12" fmla="*/ 2147483647 w 246"/>
                <a:gd name="T13" fmla="*/ 2147483647 h 42"/>
                <a:gd name="T14" fmla="*/ 2147483647 w 246"/>
                <a:gd name="T15" fmla="*/ 2147483647 h 42"/>
                <a:gd name="T16" fmla="*/ 2147483647 w 246"/>
                <a:gd name="T17" fmla="*/ 2147483647 h 42"/>
                <a:gd name="T18" fmla="*/ 2147483647 w 246"/>
                <a:gd name="T19" fmla="*/ 2147483647 h 42"/>
                <a:gd name="T20" fmla="*/ 2147483647 w 246"/>
                <a:gd name="T21" fmla="*/ 2147483647 h 42"/>
                <a:gd name="T22" fmla="*/ 2147483647 w 246"/>
                <a:gd name="T23" fmla="*/ 2147483647 h 42"/>
                <a:gd name="T24" fmla="*/ 2147483647 w 246"/>
                <a:gd name="T25" fmla="*/ 2147483647 h 42"/>
                <a:gd name="T26" fmla="*/ 2147483647 w 246"/>
                <a:gd name="T27" fmla="*/ 2147483647 h 42"/>
                <a:gd name="T28" fmla="*/ 2147483647 w 246"/>
                <a:gd name="T29" fmla="*/ 2147483647 h 42"/>
                <a:gd name="T30" fmla="*/ 2147483647 w 246"/>
                <a:gd name="T31" fmla="*/ 2147483647 h 42"/>
                <a:gd name="T32" fmla="*/ 2147483647 w 246"/>
                <a:gd name="T33" fmla="*/ 2147483647 h 42"/>
                <a:gd name="T34" fmla="*/ 2147483647 w 246"/>
                <a:gd name="T35" fmla="*/ 2147483647 h 42"/>
                <a:gd name="T36" fmla="*/ 2147483647 w 246"/>
                <a:gd name="T37" fmla="*/ 2147483647 h 42"/>
                <a:gd name="T38" fmla="*/ 2147483647 w 246"/>
                <a:gd name="T39" fmla="*/ 2147483647 h 42"/>
                <a:gd name="T40" fmla="*/ 2147483647 w 246"/>
                <a:gd name="T41" fmla="*/ 2147483647 h 42"/>
                <a:gd name="T42" fmla="*/ 2147483647 w 246"/>
                <a:gd name="T43" fmla="*/ 2147483647 h 42"/>
                <a:gd name="T44" fmla="*/ 2147483647 w 246"/>
                <a:gd name="T45" fmla="*/ 2147483647 h 42"/>
                <a:gd name="T46" fmla="*/ 2147483647 w 246"/>
                <a:gd name="T47" fmla="*/ 2147483647 h 42"/>
                <a:gd name="T48" fmla="*/ 2147483647 w 246"/>
                <a:gd name="T49" fmla="*/ 2147483647 h 42"/>
                <a:gd name="T50" fmla="*/ 2147483647 w 246"/>
                <a:gd name="T51" fmla="*/ 2147483647 h 42"/>
                <a:gd name="T52" fmla="*/ 2147483647 w 246"/>
                <a:gd name="T53" fmla="*/ 2147483647 h 42"/>
                <a:gd name="T54" fmla="*/ 2147483647 w 246"/>
                <a:gd name="T55" fmla="*/ 2147483647 h 42"/>
                <a:gd name="T56" fmla="*/ 2147483647 w 246"/>
                <a:gd name="T57" fmla="*/ 2147483647 h 42"/>
                <a:gd name="T58" fmla="*/ 2147483647 w 246"/>
                <a:gd name="T59" fmla="*/ 2147483647 h 42"/>
                <a:gd name="T60" fmla="*/ 2147483647 w 246"/>
                <a:gd name="T61" fmla="*/ 2147483647 h 42"/>
                <a:gd name="T62" fmla="*/ 2147483647 w 246"/>
                <a:gd name="T63" fmla="*/ 2147483647 h 42"/>
                <a:gd name="T64" fmla="*/ 2147483647 w 246"/>
                <a:gd name="T65" fmla="*/ 0 h 42"/>
                <a:gd name="T66" fmla="*/ 2147483647 w 246"/>
                <a:gd name="T67" fmla="*/ 2147483647 h 42"/>
                <a:gd name="T68" fmla="*/ 2147483647 w 246"/>
                <a:gd name="T69" fmla="*/ 2147483647 h 42"/>
                <a:gd name="T70" fmla="*/ 2147483647 w 246"/>
                <a:gd name="T71" fmla="*/ 2147483647 h 42"/>
                <a:gd name="T72" fmla="*/ 2147483647 w 246"/>
                <a:gd name="T73" fmla="*/ 2147483647 h 42"/>
                <a:gd name="T74" fmla="*/ 2147483647 w 246"/>
                <a:gd name="T75" fmla="*/ 2147483647 h 42"/>
                <a:gd name="T76" fmla="*/ 2147483647 w 246"/>
                <a:gd name="T77" fmla="*/ 2147483647 h 42"/>
                <a:gd name="T78" fmla="*/ 2147483647 w 246"/>
                <a:gd name="T79" fmla="*/ 2147483647 h 42"/>
                <a:gd name="T80" fmla="*/ 2147483647 w 246"/>
                <a:gd name="T81" fmla="*/ 2147483647 h 42"/>
                <a:gd name="T82" fmla="*/ 2147483647 w 246"/>
                <a:gd name="T83" fmla="*/ 2147483647 h 42"/>
                <a:gd name="T84" fmla="*/ 2147483647 w 246"/>
                <a:gd name="T85" fmla="*/ 2147483647 h 42"/>
                <a:gd name="T86" fmla="*/ 2147483647 w 246"/>
                <a:gd name="T87" fmla="*/ 2147483647 h 42"/>
                <a:gd name="T88" fmla="*/ 2147483647 w 246"/>
                <a:gd name="T89" fmla="*/ 2147483647 h 42"/>
                <a:gd name="T90" fmla="*/ 2147483647 w 246"/>
                <a:gd name="T91" fmla="*/ 2147483647 h 42"/>
                <a:gd name="T92" fmla="*/ 0 w 246"/>
                <a:gd name="T93" fmla="*/ 2147483647 h 42"/>
                <a:gd name="T94" fmla="*/ 2147483647 w 246"/>
                <a:gd name="T95" fmla="*/ 2147483647 h 42"/>
                <a:gd name="T96" fmla="*/ 2147483647 w 246"/>
                <a:gd name="T97" fmla="*/ 2147483647 h 42"/>
                <a:gd name="T98" fmla="*/ 2147483647 w 246"/>
                <a:gd name="T99" fmla="*/ 2147483647 h 42"/>
                <a:gd name="T100" fmla="*/ 2147483647 w 246"/>
                <a:gd name="T101" fmla="*/ 2147483647 h 42"/>
                <a:gd name="T102" fmla="*/ 2147483647 w 246"/>
                <a:gd name="T103" fmla="*/ 2147483647 h 42"/>
                <a:gd name="T104" fmla="*/ 2147483647 w 246"/>
                <a:gd name="T105" fmla="*/ 214748364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46"/>
                <a:gd name="T160" fmla="*/ 0 h 42"/>
                <a:gd name="T161" fmla="*/ 246 w 246"/>
                <a:gd name="T162" fmla="*/ 42 h 4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75" name="Freeform 549"/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5046663" y="1430338"/>
              <a:ext cx="63500" cy="57150"/>
            </a:xfrm>
            <a:custGeom>
              <a:avLst/>
              <a:gdLst>
                <a:gd name="T0" fmla="*/ 2147483647 w 149"/>
                <a:gd name="T1" fmla="*/ 0 h 61"/>
                <a:gd name="T2" fmla="*/ 2147483647 w 149"/>
                <a:gd name="T3" fmla="*/ 2147483647 h 61"/>
                <a:gd name="T4" fmla="*/ 2147483647 w 149"/>
                <a:gd name="T5" fmla="*/ 2147483647 h 61"/>
                <a:gd name="T6" fmla="*/ 2147483647 w 149"/>
                <a:gd name="T7" fmla="*/ 2147483647 h 61"/>
                <a:gd name="T8" fmla="*/ 2147483647 w 149"/>
                <a:gd name="T9" fmla="*/ 2147483647 h 61"/>
                <a:gd name="T10" fmla="*/ 2147483647 w 149"/>
                <a:gd name="T11" fmla="*/ 2147483647 h 61"/>
                <a:gd name="T12" fmla="*/ 2147483647 w 149"/>
                <a:gd name="T13" fmla="*/ 2147483647 h 61"/>
                <a:gd name="T14" fmla="*/ 2147483647 w 149"/>
                <a:gd name="T15" fmla="*/ 2147483647 h 61"/>
                <a:gd name="T16" fmla="*/ 2147483647 w 149"/>
                <a:gd name="T17" fmla="*/ 2147483647 h 61"/>
                <a:gd name="T18" fmla="*/ 2147483647 w 149"/>
                <a:gd name="T19" fmla="*/ 2147483647 h 61"/>
                <a:gd name="T20" fmla="*/ 2147483647 w 149"/>
                <a:gd name="T21" fmla="*/ 2147483647 h 61"/>
                <a:gd name="T22" fmla="*/ 2147483647 w 149"/>
                <a:gd name="T23" fmla="*/ 2147483647 h 61"/>
                <a:gd name="T24" fmla="*/ 2147483647 w 149"/>
                <a:gd name="T25" fmla="*/ 2147483647 h 61"/>
                <a:gd name="T26" fmla="*/ 2147483647 w 149"/>
                <a:gd name="T27" fmla="*/ 2147483647 h 61"/>
                <a:gd name="T28" fmla="*/ 2147483647 w 149"/>
                <a:gd name="T29" fmla="*/ 2147483647 h 61"/>
                <a:gd name="T30" fmla="*/ 2147483647 w 149"/>
                <a:gd name="T31" fmla="*/ 2147483647 h 61"/>
                <a:gd name="T32" fmla="*/ 2147483647 w 149"/>
                <a:gd name="T33" fmla="*/ 2147483647 h 61"/>
                <a:gd name="T34" fmla="*/ 2147483647 w 149"/>
                <a:gd name="T35" fmla="*/ 2147483647 h 61"/>
                <a:gd name="T36" fmla="*/ 2147483647 w 149"/>
                <a:gd name="T37" fmla="*/ 2147483647 h 61"/>
                <a:gd name="T38" fmla="*/ 2147483647 w 149"/>
                <a:gd name="T39" fmla="*/ 2147483647 h 61"/>
                <a:gd name="T40" fmla="*/ 2147483647 w 149"/>
                <a:gd name="T41" fmla="*/ 2147483647 h 61"/>
                <a:gd name="T42" fmla="*/ 2147483647 w 149"/>
                <a:gd name="T43" fmla="*/ 2147483647 h 61"/>
                <a:gd name="T44" fmla="*/ 2147483647 w 149"/>
                <a:gd name="T45" fmla="*/ 2147483647 h 61"/>
                <a:gd name="T46" fmla="*/ 2147483647 w 149"/>
                <a:gd name="T47" fmla="*/ 2147483647 h 61"/>
                <a:gd name="T48" fmla="*/ 2147483647 w 149"/>
                <a:gd name="T49" fmla="*/ 2147483647 h 61"/>
                <a:gd name="T50" fmla="*/ 2147483647 w 149"/>
                <a:gd name="T51" fmla="*/ 2147483647 h 61"/>
                <a:gd name="T52" fmla="*/ 2147483647 w 149"/>
                <a:gd name="T53" fmla="*/ 2147483647 h 61"/>
                <a:gd name="T54" fmla="*/ 2147483647 w 149"/>
                <a:gd name="T55" fmla="*/ 2147483647 h 61"/>
                <a:gd name="T56" fmla="*/ 2147483647 w 149"/>
                <a:gd name="T57" fmla="*/ 2147483647 h 61"/>
                <a:gd name="T58" fmla="*/ 2147483647 w 149"/>
                <a:gd name="T59" fmla="*/ 2147483647 h 61"/>
                <a:gd name="T60" fmla="*/ 2147483647 w 149"/>
                <a:gd name="T61" fmla="*/ 2147483647 h 61"/>
                <a:gd name="T62" fmla="*/ 2147483647 w 149"/>
                <a:gd name="T63" fmla="*/ 2147483647 h 61"/>
                <a:gd name="T64" fmla="*/ 0 w 149"/>
                <a:gd name="T65" fmla="*/ 2147483647 h 61"/>
                <a:gd name="T66" fmla="*/ 0 w 149"/>
                <a:gd name="T67" fmla="*/ 2147483647 h 61"/>
                <a:gd name="T68" fmla="*/ 2147483647 w 149"/>
                <a:gd name="T69" fmla="*/ 2147483647 h 61"/>
                <a:gd name="T70" fmla="*/ 2147483647 w 149"/>
                <a:gd name="T71" fmla="*/ 2147483647 h 61"/>
                <a:gd name="T72" fmla="*/ 2147483647 w 149"/>
                <a:gd name="T73" fmla="*/ 2147483647 h 61"/>
                <a:gd name="T74" fmla="*/ 2147483647 w 149"/>
                <a:gd name="T75" fmla="*/ 2147483647 h 61"/>
                <a:gd name="T76" fmla="*/ 2147483647 w 149"/>
                <a:gd name="T77" fmla="*/ 2147483647 h 61"/>
                <a:gd name="T78" fmla="*/ 2147483647 w 149"/>
                <a:gd name="T79" fmla="*/ 2147483647 h 61"/>
                <a:gd name="T80" fmla="*/ 2147483647 w 149"/>
                <a:gd name="T81" fmla="*/ 2147483647 h 61"/>
                <a:gd name="T82" fmla="*/ 2147483647 w 149"/>
                <a:gd name="T83" fmla="*/ 2147483647 h 61"/>
                <a:gd name="T84" fmla="*/ 2147483647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49"/>
                <a:gd name="T130" fmla="*/ 0 h 61"/>
                <a:gd name="T131" fmla="*/ 149 w 149"/>
                <a:gd name="T132" fmla="*/ 61 h 6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76" name="Freeform 550"/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5083175" y="1438275"/>
              <a:ext cx="130175" cy="57150"/>
            </a:xfrm>
            <a:custGeom>
              <a:avLst/>
              <a:gdLst>
                <a:gd name="T0" fmla="*/ 2147483647 w 299"/>
                <a:gd name="T1" fmla="*/ 2147483647 h 74"/>
                <a:gd name="T2" fmla="*/ 2147483647 w 299"/>
                <a:gd name="T3" fmla="*/ 2147483647 h 74"/>
                <a:gd name="T4" fmla="*/ 2147483647 w 299"/>
                <a:gd name="T5" fmla="*/ 2147483647 h 74"/>
                <a:gd name="T6" fmla="*/ 2147483647 w 299"/>
                <a:gd name="T7" fmla="*/ 2147483647 h 74"/>
                <a:gd name="T8" fmla="*/ 2147483647 w 299"/>
                <a:gd name="T9" fmla="*/ 2147483647 h 74"/>
                <a:gd name="T10" fmla="*/ 2147483647 w 299"/>
                <a:gd name="T11" fmla="*/ 2147483647 h 74"/>
                <a:gd name="T12" fmla="*/ 2147483647 w 299"/>
                <a:gd name="T13" fmla="*/ 2147483647 h 74"/>
                <a:gd name="T14" fmla="*/ 2147483647 w 299"/>
                <a:gd name="T15" fmla="*/ 2147483647 h 74"/>
                <a:gd name="T16" fmla="*/ 2147483647 w 299"/>
                <a:gd name="T17" fmla="*/ 2147483647 h 74"/>
                <a:gd name="T18" fmla="*/ 2147483647 w 299"/>
                <a:gd name="T19" fmla="*/ 2147483647 h 74"/>
                <a:gd name="T20" fmla="*/ 2147483647 w 299"/>
                <a:gd name="T21" fmla="*/ 2147483647 h 74"/>
                <a:gd name="T22" fmla="*/ 2147483647 w 299"/>
                <a:gd name="T23" fmla="*/ 2147483647 h 74"/>
                <a:gd name="T24" fmla="*/ 2147483647 w 299"/>
                <a:gd name="T25" fmla="*/ 2147483647 h 74"/>
                <a:gd name="T26" fmla="*/ 2147483647 w 299"/>
                <a:gd name="T27" fmla="*/ 2147483647 h 74"/>
                <a:gd name="T28" fmla="*/ 2147483647 w 299"/>
                <a:gd name="T29" fmla="*/ 2147483647 h 74"/>
                <a:gd name="T30" fmla="*/ 2147483647 w 299"/>
                <a:gd name="T31" fmla="*/ 2147483647 h 74"/>
                <a:gd name="T32" fmla="*/ 2147483647 w 299"/>
                <a:gd name="T33" fmla="*/ 2147483647 h 74"/>
                <a:gd name="T34" fmla="*/ 2147483647 w 299"/>
                <a:gd name="T35" fmla="*/ 2147483647 h 74"/>
                <a:gd name="T36" fmla="*/ 2147483647 w 299"/>
                <a:gd name="T37" fmla="*/ 2147483647 h 74"/>
                <a:gd name="T38" fmla="*/ 2147483647 w 299"/>
                <a:gd name="T39" fmla="*/ 2147483647 h 74"/>
                <a:gd name="T40" fmla="*/ 2147483647 w 299"/>
                <a:gd name="T41" fmla="*/ 2147483647 h 74"/>
                <a:gd name="T42" fmla="*/ 2147483647 w 299"/>
                <a:gd name="T43" fmla="*/ 2147483647 h 74"/>
                <a:gd name="T44" fmla="*/ 2147483647 w 299"/>
                <a:gd name="T45" fmla="*/ 0 h 74"/>
                <a:gd name="T46" fmla="*/ 2147483647 w 299"/>
                <a:gd name="T47" fmla="*/ 2147483647 h 74"/>
                <a:gd name="T48" fmla="*/ 2147483647 w 299"/>
                <a:gd name="T49" fmla="*/ 2147483647 h 74"/>
                <a:gd name="T50" fmla="*/ 2147483647 w 299"/>
                <a:gd name="T51" fmla="*/ 2147483647 h 74"/>
                <a:gd name="T52" fmla="*/ 2147483647 w 299"/>
                <a:gd name="T53" fmla="*/ 2147483647 h 74"/>
                <a:gd name="T54" fmla="*/ 2147483647 w 299"/>
                <a:gd name="T55" fmla="*/ 2147483647 h 74"/>
                <a:gd name="T56" fmla="*/ 2147483647 w 299"/>
                <a:gd name="T57" fmla="*/ 2147483647 h 74"/>
                <a:gd name="T58" fmla="*/ 2147483647 w 299"/>
                <a:gd name="T59" fmla="*/ 2147483647 h 74"/>
                <a:gd name="T60" fmla="*/ 2147483647 w 299"/>
                <a:gd name="T61" fmla="*/ 2147483647 h 74"/>
                <a:gd name="T62" fmla="*/ 2147483647 w 299"/>
                <a:gd name="T63" fmla="*/ 2147483647 h 74"/>
                <a:gd name="T64" fmla="*/ 2147483647 w 299"/>
                <a:gd name="T65" fmla="*/ 2147483647 h 74"/>
                <a:gd name="T66" fmla="*/ 2147483647 w 299"/>
                <a:gd name="T67" fmla="*/ 2147483647 h 74"/>
                <a:gd name="T68" fmla="*/ 2147483647 w 299"/>
                <a:gd name="T69" fmla="*/ 2147483647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99"/>
                <a:gd name="T106" fmla="*/ 0 h 74"/>
                <a:gd name="T107" fmla="*/ 299 w 299"/>
                <a:gd name="T108" fmla="*/ 74 h 7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50" name="Freeform 549"/>
            <p:cNvSpPr/>
            <p:nvPr/>
          </p:nvSpPr>
          <p:spPr>
            <a:xfrm>
              <a:off x="4608284" y="3273636"/>
              <a:ext cx="255397" cy="98120"/>
            </a:xfrm>
            <a:custGeom>
              <a:avLst/>
              <a:gdLst>
                <a:gd name="connsiteX0" fmla="*/ 0 w 254543"/>
                <a:gd name="connsiteY0" fmla="*/ 76753 h 105750"/>
                <a:gd name="connsiteX1" fmla="*/ 45244 w 254543"/>
                <a:gd name="connsiteY1" fmla="*/ 41034 h 105750"/>
                <a:gd name="connsiteX2" fmla="*/ 66675 w 254543"/>
                <a:gd name="connsiteY2" fmla="*/ 60084 h 105750"/>
                <a:gd name="connsiteX3" fmla="*/ 85725 w 254543"/>
                <a:gd name="connsiteY3" fmla="*/ 33891 h 105750"/>
                <a:gd name="connsiteX4" fmla="*/ 104775 w 254543"/>
                <a:gd name="connsiteY4" fmla="*/ 55322 h 105750"/>
                <a:gd name="connsiteX5" fmla="*/ 119063 w 254543"/>
                <a:gd name="connsiteY5" fmla="*/ 31509 h 105750"/>
                <a:gd name="connsiteX6" fmla="*/ 159544 w 254543"/>
                <a:gd name="connsiteY6" fmla="*/ 69609 h 105750"/>
                <a:gd name="connsiteX7" fmla="*/ 164306 w 254543"/>
                <a:gd name="connsiteY7" fmla="*/ 71991 h 105750"/>
                <a:gd name="connsiteX8" fmla="*/ 164306 w 254543"/>
                <a:gd name="connsiteY8" fmla="*/ 55322 h 105750"/>
                <a:gd name="connsiteX9" fmla="*/ 147638 w 254543"/>
                <a:gd name="connsiteY9" fmla="*/ 19603 h 105750"/>
                <a:gd name="connsiteX10" fmla="*/ 178594 w 254543"/>
                <a:gd name="connsiteY10" fmla="*/ 553 h 105750"/>
                <a:gd name="connsiteX11" fmla="*/ 207169 w 254543"/>
                <a:gd name="connsiteY11" fmla="*/ 7697 h 105750"/>
                <a:gd name="connsiteX12" fmla="*/ 207169 w 254543"/>
                <a:gd name="connsiteY12" fmla="*/ 33891 h 105750"/>
                <a:gd name="connsiteX13" fmla="*/ 211931 w 254543"/>
                <a:gd name="connsiteY13" fmla="*/ 91041 h 105750"/>
                <a:gd name="connsiteX14" fmla="*/ 252413 w 254543"/>
                <a:gd name="connsiteY14" fmla="*/ 105328 h 105750"/>
                <a:gd name="connsiteX15" fmla="*/ 245269 w 254543"/>
                <a:gd name="connsiteY15" fmla="*/ 100566 h 105750"/>
                <a:gd name="connsiteX0" fmla="*/ 0 w 256924"/>
                <a:gd name="connsiteY0" fmla="*/ 79135 h 105750"/>
                <a:gd name="connsiteX1" fmla="*/ 47625 w 256924"/>
                <a:gd name="connsiteY1" fmla="*/ 41034 h 105750"/>
                <a:gd name="connsiteX2" fmla="*/ 69056 w 256924"/>
                <a:gd name="connsiteY2" fmla="*/ 60084 h 105750"/>
                <a:gd name="connsiteX3" fmla="*/ 88106 w 256924"/>
                <a:gd name="connsiteY3" fmla="*/ 33891 h 105750"/>
                <a:gd name="connsiteX4" fmla="*/ 107156 w 256924"/>
                <a:gd name="connsiteY4" fmla="*/ 55322 h 105750"/>
                <a:gd name="connsiteX5" fmla="*/ 121444 w 256924"/>
                <a:gd name="connsiteY5" fmla="*/ 31509 h 105750"/>
                <a:gd name="connsiteX6" fmla="*/ 161925 w 256924"/>
                <a:gd name="connsiteY6" fmla="*/ 69609 h 105750"/>
                <a:gd name="connsiteX7" fmla="*/ 166687 w 256924"/>
                <a:gd name="connsiteY7" fmla="*/ 71991 h 105750"/>
                <a:gd name="connsiteX8" fmla="*/ 166687 w 256924"/>
                <a:gd name="connsiteY8" fmla="*/ 55322 h 105750"/>
                <a:gd name="connsiteX9" fmla="*/ 150019 w 256924"/>
                <a:gd name="connsiteY9" fmla="*/ 19603 h 105750"/>
                <a:gd name="connsiteX10" fmla="*/ 180975 w 256924"/>
                <a:gd name="connsiteY10" fmla="*/ 553 h 105750"/>
                <a:gd name="connsiteX11" fmla="*/ 209550 w 256924"/>
                <a:gd name="connsiteY11" fmla="*/ 7697 h 105750"/>
                <a:gd name="connsiteX12" fmla="*/ 209550 w 256924"/>
                <a:gd name="connsiteY12" fmla="*/ 33891 h 105750"/>
                <a:gd name="connsiteX13" fmla="*/ 214312 w 256924"/>
                <a:gd name="connsiteY13" fmla="*/ 91041 h 105750"/>
                <a:gd name="connsiteX14" fmla="*/ 254794 w 256924"/>
                <a:gd name="connsiteY14" fmla="*/ 105328 h 105750"/>
                <a:gd name="connsiteX15" fmla="*/ 247650 w 256924"/>
                <a:gd name="connsiteY15" fmla="*/ 100566 h 105750"/>
                <a:gd name="connsiteX0" fmla="*/ 0 w 256924"/>
                <a:gd name="connsiteY0" fmla="*/ 79135 h 105750"/>
                <a:gd name="connsiteX1" fmla="*/ 47625 w 256924"/>
                <a:gd name="connsiteY1" fmla="*/ 41034 h 105750"/>
                <a:gd name="connsiteX2" fmla="*/ 69056 w 256924"/>
                <a:gd name="connsiteY2" fmla="*/ 60084 h 105750"/>
                <a:gd name="connsiteX3" fmla="*/ 88106 w 256924"/>
                <a:gd name="connsiteY3" fmla="*/ 33891 h 105750"/>
                <a:gd name="connsiteX4" fmla="*/ 107156 w 256924"/>
                <a:gd name="connsiteY4" fmla="*/ 55322 h 105750"/>
                <a:gd name="connsiteX5" fmla="*/ 128588 w 256924"/>
                <a:gd name="connsiteY5" fmla="*/ 41034 h 105750"/>
                <a:gd name="connsiteX6" fmla="*/ 161925 w 256924"/>
                <a:gd name="connsiteY6" fmla="*/ 69609 h 105750"/>
                <a:gd name="connsiteX7" fmla="*/ 166687 w 256924"/>
                <a:gd name="connsiteY7" fmla="*/ 71991 h 105750"/>
                <a:gd name="connsiteX8" fmla="*/ 166687 w 256924"/>
                <a:gd name="connsiteY8" fmla="*/ 55322 h 105750"/>
                <a:gd name="connsiteX9" fmla="*/ 150019 w 256924"/>
                <a:gd name="connsiteY9" fmla="*/ 19603 h 105750"/>
                <a:gd name="connsiteX10" fmla="*/ 180975 w 256924"/>
                <a:gd name="connsiteY10" fmla="*/ 553 h 105750"/>
                <a:gd name="connsiteX11" fmla="*/ 209550 w 256924"/>
                <a:gd name="connsiteY11" fmla="*/ 7697 h 105750"/>
                <a:gd name="connsiteX12" fmla="*/ 209550 w 256924"/>
                <a:gd name="connsiteY12" fmla="*/ 33891 h 105750"/>
                <a:gd name="connsiteX13" fmla="*/ 214312 w 256924"/>
                <a:gd name="connsiteY13" fmla="*/ 91041 h 105750"/>
                <a:gd name="connsiteX14" fmla="*/ 254794 w 256924"/>
                <a:gd name="connsiteY14" fmla="*/ 105328 h 105750"/>
                <a:gd name="connsiteX15" fmla="*/ 247650 w 256924"/>
                <a:gd name="connsiteY15" fmla="*/ 100566 h 105750"/>
                <a:gd name="connsiteX0" fmla="*/ 0 w 256924"/>
                <a:gd name="connsiteY0" fmla="*/ 79135 h 105750"/>
                <a:gd name="connsiteX1" fmla="*/ 47625 w 256924"/>
                <a:gd name="connsiteY1" fmla="*/ 41034 h 105750"/>
                <a:gd name="connsiteX2" fmla="*/ 69056 w 256924"/>
                <a:gd name="connsiteY2" fmla="*/ 60084 h 105750"/>
                <a:gd name="connsiteX3" fmla="*/ 88106 w 256924"/>
                <a:gd name="connsiteY3" fmla="*/ 33891 h 105750"/>
                <a:gd name="connsiteX4" fmla="*/ 107156 w 256924"/>
                <a:gd name="connsiteY4" fmla="*/ 55322 h 105750"/>
                <a:gd name="connsiteX5" fmla="*/ 128588 w 256924"/>
                <a:gd name="connsiteY5" fmla="*/ 41034 h 105750"/>
                <a:gd name="connsiteX6" fmla="*/ 161925 w 256924"/>
                <a:gd name="connsiteY6" fmla="*/ 69609 h 105750"/>
                <a:gd name="connsiteX7" fmla="*/ 166687 w 256924"/>
                <a:gd name="connsiteY7" fmla="*/ 71991 h 105750"/>
                <a:gd name="connsiteX8" fmla="*/ 176212 w 256924"/>
                <a:gd name="connsiteY8" fmla="*/ 55322 h 105750"/>
                <a:gd name="connsiteX9" fmla="*/ 150019 w 256924"/>
                <a:gd name="connsiteY9" fmla="*/ 19603 h 105750"/>
                <a:gd name="connsiteX10" fmla="*/ 180975 w 256924"/>
                <a:gd name="connsiteY10" fmla="*/ 553 h 105750"/>
                <a:gd name="connsiteX11" fmla="*/ 209550 w 256924"/>
                <a:gd name="connsiteY11" fmla="*/ 7697 h 105750"/>
                <a:gd name="connsiteX12" fmla="*/ 209550 w 256924"/>
                <a:gd name="connsiteY12" fmla="*/ 33891 h 105750"/>
                <a:gd name="connsiteX13" fmla="*/ 214312 w 256924"/>
                <a:gd name="connsiteY13" fmla="*/ 91041 h 105750"/>
                <a:gd name="connsiteX14" fmla="*/ 254794 w 256924"/>
                <a:gd name="connsiteY14" fmla="*/ 105328 h 105750"/>
                <a:gd name="connsiteX15" fmla="*/ 247650 w 256924"/>
                <a:gd name="connsiteY15" fmla="*/ 100566 h 105750"/>
                <a:gd name="connsiteX0" fmla="*/ 0 w 256924"/>
                <a:gd name="connsiteY0" fmla="*/ 79135 h 105750"/>
                <a:gd name="connsiteX1" fmla="*/ 47625 w 256924"/>
                <a:gd name="connsiteY1" fmla="*/ 41034 h 105750"/>
                <a:gd name="connsiteX2" fmla="*/ 69056 w 256924"/>
                <a:gd name="connsiteY2" fmla="*/ 60084 h 105750"/>
                <a:gd name="connsiteX3" fmla="*/ 88106 w 256924"/>
                <a:gd name="connsiteY3" fmla="*/ 33891 h 105750"/>
                <a:gd name="connsiteX4" fmla="*/ 107156 w 256924"/>
                <a:gd name="connsiteY4" fmla="*/ 55322 h 105750"/>
                <a:gd name="connsiteX5" fmla="*/ 128588 w 256924"/>
                <a:gd name="connsiteY5" fmla="*/ 41034 h 105750"/>
                <a:gd name="connsiteX6" fmla="*/ 161925 w 256924"/>
                <a:gd name="connsiteY6" fmla="*/ 69609 h 105750"/>
                <a:gd name="connsiteX7" fmla="*/ 166687 w 256924"/>
                <a:gd name="connsiteY7" fmla="*/ 71991 h 105750"/>
                <a:gd name="connsiteX8" fmla="*/ 176212 w 256924"/>
                <a:gd name="connsiteY8" fmla="*/ 55322 h 105750"/>
                <a:gd name="connsiteX9" fmla="*/ 157163 w 256924"/>
                <a:gd name="connsiteY9" fmla="*/ 19603 h 105750"/>
                <a:gd name="connsiteX10" fmla="*/ 180975 w 256924"/>
                <a:gd name="connsiteY10" fmla="*/ 553 h 105750"/>
                <a:gd name="connsiteX11" fmla="*/ 209550 w 256924"/>
                <a:gd name="connsiteY11" fmla="*/ 7697 h 105750"/>
                <a:gd name="connsiteX12" fmla="*/ 209550 w 256924"/>
                <a:gd name="connsiteY12" fmla="*/ 33891 h 105750"/>
                <a:gd name="connsiteX13" fmla="*/ 214312 w 256924"/>
                <a:gd name="connsiteY13" fmla="*/ 91041 h 105750"/>
                <a:gd name="connsiteX14" fmla="*/ 254794 w 256924"/>
                <a:gd name="connsiteY14" fmla="*/ 105328 h 105750"/>
                <a:gd name="connsiteX15" fmla="*/ 247650 w 256924"/>
                <a:gd name="connsiteY15" fmla="*/ 100566 h 105750"/>
                <a:gd name="connsiteX0" fmla="*/ 0 w 256924"/>
                <a:gd name="connsiteY0" fmla="*/ 73898 h 100513"/>
                <a:gd name="connsiteX1" fmla="*/ 47625 w 256924"/>
                <a:gd name="connsiteY1" fmla="*/ 35797 h 100513"/>
                <a:gd name="connsiteX2" fmla="*/ 69056 w 256924"/>
                <a:gd name="connsiteY2" fmla="*/ 54847 h 100513"/>
                <a:gd name="connsiteX3" fmla="*/ 88106 w 256924"/>
                <a:gd name="connsiteY3" fmla="*/ 28654 h 100513"/>
                <a:gd name="connsiteX4" fmla="*/ 107156 w 256924"/>
                <a:gd name="connsiteY4" fmla="*/ 50085 h 100513"/>
                <a:gd name="connsiteX5" fmla="*/ 128588 w 256924"/>
                <a:gd name="connsiteY5" fmla="*/ 35797 h 100513"/>
                <a:gd name="connsiteX6" fmla="*/ 161925 w 256924"/>
                <a:gd name="connsiteY6" fmla="*/ 64372 h 100513"/>
                <a:gd name="connsiteX7" fmla="*/ 166687 w 256924"/>
                <a:gd name="connsiteY7" fmla="*/ 66754 h 100513"/>
                <a:gd name="connsiteX8" fmla="*/ 176212 w 256924"/>
                <a:gd name="connsiteY8" fmla="*/ 50085 h 100513"/>
                <a:gd name="connsiteX9" fmla="*/ 157163 w 256924"/>
                <a:gd name="connsiteY9" fmla="*/ 14366 h 100513"/>
                <a:gd name="connsiteX10" fmla="*/ 180975 w 256924"/>
                <a:gd name="connsiteY10" fmla="*/ 2460 h 100513"/>
                <a:gd name="connsiteX11" fmla="*/ 209550 w 256924"/>
                <a:gd name="connsiteY11" fmla="*/ 2460 h 100513"/>
                <a:gd name="connsiteX12" fmla="*/ 209550 w 256924"/>
                <a:gd name="connsiteY12" fmla="*/ 28654 h 100513"/>
                <a:gd name="connsiteX13" fmla="*/ 214312 w 256924"/>
                <a:gd name="connsiteY13" fmla="*/ 85804 h 100513"/>
                <a:gd name="connsiteX14" fmla="*/ 254794 w 256924"/>
                <a:gd name="connsiteY14" fmla="*/ 100091 h 100513"/>
                <a:gd name="connsiteX15" fmla="*/ 247650 w 256924"/>
                <a:gd name="connsiteY15" fmla="*/ 95329 h 100513"/>
                <a:gd name="connsiteX0" fmla="*/ 0 w 256924"/>
                <a:gd name="connsiteY0" fmla="*/ 72545 h 99160"/>
                <a:gd name="connsiteX1" fmla="*/ 47625 w 256924"/>
                <a:gd name="connsiteY1" fmla="*/ 34444 h 99160"/>
                <a:gd name="connsiteX2" fmla="*/ 69056 w 256924"/>
                <a:gd name="connsiteY2" fmla="*/ 53494 h 99160"/>
                <a:gd name="connsiteX3" fmla="*/ 88106 w 256924"/>
                <a:gd name="connsiteY3" fmla="*/ 27301 h 99160"/>
                <a:gd name="connsiteX4" fmla="*/ 107156 w 256924"/>
                <a:gd name="connsiteY4" fmla="*/ 48732 h 99160"/>
                <a:gd name="connsiteX5" fmla="*/ 128588 w 256924"/>
                <a:gd name="connsiteY5" fmla="*/ 34444 h 99160"/>
                <a:gd name="connsiteX6" fmla="*/ 161925 w 256924"/>
                <a:gd name="connsiteY6" fmla="*/ 63019 h 99160"/>
                <a:gd name="connsiteX7" fmla="*/ 166687 w 256924"/>
                <a:gd name="connsiteY7" fmla="*/ 65401 h 99160"/>
                <a:gd name="connsiteX8" fmla="*/ 176212 w 256924"/>
                <a:gd name="connsiteY8" fmla="*/ 48732 h 99160"/>
                <a:gd name="connsiteX9" fmla="*/ 157163 w 256924"/>
                <a:gd name="connsiteY9" fmla="*/ 13013 h 99160"/>
                <a:gd name="connsiteX10" fmla="*/ 180975 w 256924"/>
                <a:gd name="connsiteY10" fmla="*/ 1107 h 99160"/>
                <a:gd name="connsiteX11" fmla="*/ 200025 w 256924"/>
                <a:gd name="connsiteY11" fmla="*/ 3488 h 99160"/>
                <a:gd name="connsiteX12" fmla="*/ 209550 w 256924"/>
                <a:gd name="connsiteY12" fmla="*/ 27301 h 99160"/>
                <a:gd name="connsiteX13" fmla="*/ 214312 w 256924"/>
                <a:gd name="connsiteY13" fmla="*/ 84451 h 99160"/>
                <a:gd name="connsiteX14" fmla="*/ 254794 w 256924"/>
                <a:gd name="connsiteY14" fmla="*/ 98738 h 99160"/>
                <a:gd name="connsiteX15" fmla="*/ 247650 w 256924"/>
                <a:gd name="connsiteY15" fmla="*/ 93976 h 99160"/>
                <a:gd name="connsiteX0" fmla="*/ 0 w 256924"/>
                <a:gd name="connsiteY0" fmla="*/ 72544 h 99159"/>
                <a:gd name="connsiteX1" fmla="*/ 47625 w 256924"/>
                <a:gd name="connsiteY1" fmla="*/ 34443 h 99159"/>
                <a:gd name="connsiteX2" fmla="*/ 69056 w 256924"/>
                <a:gd name="connsiteY2" fmla="*/ 53493 h 99159"/>
                <a:gd name="connsiteX3" fmla="*/ 88106 w 256924"/>
                <a:gd name="connsiteY3" fmla="*/ 27300 h 99159"/>
                <a:gd name="connsiteX4" fmla="*/ 107156 w 256924"/>
                <a:gd name="connsiteY4" fmla="*/ 48731 h 99159"/>
                <a:gd name="connsiteX5" fmla="*/ 128588 w 256924"/>
                <a:gd name="connsiteY5" fmla="*/ 34443 h 99159"/>
                <a:gd name="connsiteX6" fmla="*/ 161925 w 256924"/>
                <a:gd name="connsiteY6" fmla="*/ 63018 h 99159"/>
                <a:gd name="connsiteX7" fmla="*/ 166687 w 256924"/>
                <a:gd name="connsiteY7" fmla="*/ 65400 h 99159"/>
                <a:gd name="connsiteX8" fmla="*/ 176212 w 256924"/>
                <a:gd name="connsiteY8" fmla="*/ 48731 h 99159"/>
                <a:gd name="connsiteX9" fmla="*/ 157163 w 256924"/>
                <a:gd name="connsiteY9" fmla="*/ 13012 h 99159"/>
                <a:gd name="connsiteX10" fmla="*/ 180975 w 256924"/>
                <a:gd name="connsiteY10" fmla="*/ 1106 h 99159"/>
                <a:gd name="connsiteX11" fmla="*/ 200025 w 256924"/>
                <a:gd name="connsiteY11" fmla="*/ 3487 h 99159"/>
                <a:gd name="connsiteX12" fmla="*/ 202406 w 256924"/>
                <a:gd name="connsiteY12" fmla="*/ 27300 h 99159"/>
                <a:gd name="connsiteX13" fmla="*/ 214312 w 256924"/>
                <a:gd name="connsiteY13" fmla="*/ 84450 h 99159"/>
                <a:gd name="connsiteX14" fmla="*/ 254794 w 256924"/>
                <a:gd name="connsiteY14" fmla="*/ 98737 h 99159"/>
                <a:gd name="connsiteX15" fmla="*/ 247650 w 256924"/>
                <a:gd name="connsiteY15" fmla="*/ 93975 h 99159"/>
                <a:gd name="connsiteX0" fmla="*/ 0 w 256924"/>
                <a:gd name="connsiteY0" fmla="*/ 72544 h 99159"/>
                <a:gd name="connsiteX1" fmla="*/ 47625 w 256924"/>
                <a:gd name="connsiteY1" fmla="*/ 34443 h 99159"/>
                <a:gd name="connsiteX2" fmla="*/ 69056 w 256924"/>
                <a:gd name="connsiteY2" fmla="*/ 53493 h 99159"/>
                <a:gd name="connsiteX3" fmla="*/ 88106 w 256924"/>
                <a:gd name="connsiteY3" fmla="*/ 27300 h 99159"/>
                <a:gd name="connsiteX4" fmla="*/ 107156 w 256924"/>
                <a:gd name="connsiteY4" fmla="*/ 48731 h 99159"/>
                <a:gd name="connsiteX5" fmla="*/ 128588 w 256924"/>
                <a:gd name="connsiteY5" fmla="*/ 34443 h 99159"/>
                <a:gd name="connsiteX6" fmla="*/ 161925 w 256924"/>
                <a:gd name="connsiteY6" fmla="*/ 63018 h 99159"/>
                <a:gd name="connsiteX7" fmla="*/ 166687 w 256924"/>
                <a:gd name="connsiteY7" fmla="*/ 65400 h 99159"/>
                <a:gd name="connsiteX8" fmla="*/ 176212 w 256924"/>
                <a:gd name="connsiteY8" fmla="*/ 48731 h 99159"/>
                <a:gd name="connsiteX9" fmla="*/ 157163 w 256924"/>
                <a:gd name="connsiteY9" fmla="*/ 13012 h 99159"/>
                <a:gd name="connsiteX10" fmla="*/ 180975 w 256924"/>
                <a:gd name="connsiteY10" fmla="*/ 1106 h 99159"/>
                <a:gd name="connsiteX11" fmla="*/ 200025 w 256924"/>
                <a:gd name="connsiteY11" fmla="*/ 3487 h 99159"/>
                <a:gd name="connsiteX12" fmla="*/ 209550 w 256924"/>
                <a:gd name="connsiteY12" fmla="*/ 27300 h 99159"/>
                <a:gd name="connsiteX13" fmla="*/ 214312 w 256924"/>
                <a:gd name="connsiteY13" fmla="*/ 84450 h 99159"/>
                <a:gd name="connsiteX14" fmla="*/ 254794 w 256924"/>
                <a:gd name="connsiteY14" fmla="*/ 98737 h 99159"/>
                <a:gd name="connsiteX15" fmla="*/ 247650 w 256924"/>
                <a:gd name="connsiteY15" fmla="*/ 93975 h 99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56924" h="99159">
                  <a:moveTo>
                    <a:pt x="0" y="72544"/>
                  </a:moveTo>
                  <a:cubicBezTo>
                    <a:pt x="17066" y="56073"/>
                    <a:pt x="36116" y="37618"/>
                    <a:pt x="47625" y="34443"/>
                  </a:cubicBezTo>
                  <a:cubicBezTo>
                    <a:pt x="59134" y="31268"/>
                    <a:pt x="62309" y="54683"/>
                    <a:pt x="69056" y="53493"/>
                  </a:cubicBezTo>
                  <a:cubicBezTo>
                    <a:pt x="75803" y="52302"/>
                    <a:pt x="81756" y="28094"/>
                    <a:pt x="88106" y="27300"/>
                  </a:cubicBezTo>
                  <a:cubicBezTo>
                    <a:pt x="94456" y="26506"/>
                    <a:pt x="100409" y="47541"/>
                    <a:pt x="107156" y="48731"/>
                  </a:cubicBezTo>
                  <a:cubicBezTo>
                    <a:pt x="113903" y="49922"/>
                    <a:pt x="119460" y="32062"/>
                    <a:pt x="128588" y="34443"/>
                  </a:cubicBezTo>
                  <a:cubicBezTo>
                    <a:pt x="137716" y="36824"/>
                    <a:pt x="155575" y="57859"/>
                    <a:pt x="161925" y="63018"/>
                  </a:cubicBezTo>
                  <a:cubicBezTo>
                    <a:pt x="168275" y="68177"/>
                    <a:pt x="164306" y="67781"/>
                    <a:pt x="166687" y="65400"/>
                  </a:cubicBezTo>
                  <a:cubicBezTo>
                    <a:pt x="169068" y="63019"/>
                    <a:pt x="177799" y="57462"/>
                    <a:pt x="176212" y="48731"/>
                  </a:cubicBezTo>
                  <a:cubicBezTo>
                    <a:pt x="174625" y="40000"/>
                    <a:pt x="156369" y="20949"/>
                    <a:pt x="157163" y="13012"/>
                  </a:cubicBezTo>
                  <a:cubicBezTo>
                    <a:pt x="157957" y="5075"/>
                    <a:pt x="173831" y="2694"/>
                    <a:pt x="180975" y="1106"/>
                  </a:cubicBezTo>
                  <a:cubicBezTo>
                    <a:pt x="188119" y="-481"/>
                    <a:pt x="195263" y="-879"/>
                    <a:pt x="200025" y="3487"/>
                  </a:cubicBezTo>
                  <a:cubicBezTo>
                    <a:pt x="204787" y="7853"/>
                    <a:pt x="207169" y="13806"/>
                    <a:pt x="209550" y="27300"/>
                  </a:cubicBezTo>
                  <a:cubicBezTo>
                    <a:pt x="211931" y="40794"/>
                    <a:pt x="206771" y="72544"/>
                    <a:pt x="214312" y="84450"/>
                  </a:cubicBezTo>
                  <a:cubicBezTo>
                    <a:pt x="221853" y="96356"/>
                    <a:pt x="249238" y="97150"/>
                    <a:pt x="254794" y="98737"/>
                  </a:cubicBezTo>
                  <a:cubicBezTo>
                    <a:pt x="260350" y="100324"/>
                    <a:pt x="254000" y="97149"/>
                    <a:pt x="247650" y="93975"/>
                  </a:cubicBezTo>
                </a:path>
              </a:pathLst>
            </a:cu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endParaRPr lang="en-US" altLang="en-US" sz="1800" baseline="-25000" smtClean="0">
                <a:solidFill>
                  <a:srgbClr val="FFFFFF"/>
                </a:solidFill>
              </a:endParaRPr>
            </a:p>
          </p:txBody>
        </p:sp>
        <p:sp>
          <p:nvSpPr>
            <p:cNvPr id="582" name="Freeform 337"/>
            <p:cNvSpPr>
              <a:spLocks/>
            </p:cNvSpPr>
            <p:nvPr>
              <p:custDataLst>
                <p:tags r:id="rId382"/>
              </p:custDataLst>
            </p:nvPr>
          </p:nvSpPr>
          <p:spPr bwMode="auto">
            <a:xfrm rot="9659074">
              <a:off x="8247015" y="4246776"/>
              <a:ext cx="47046" cy="45700"/>
            </a:xfrm>
            <a:custGeom>
              <a:avLst/>
              <a:gdLst>
                <a:gd name="T0" fmla="*/ 6510658 w 193"/>
                <a:gd name="T1" fmla="*/ 9639407 h 121"/>
                <a:gd name="T2" fmla="*/ 9469726 w 193"/>
                <a:gd name="T3" fmla="*/ 6885290 h 121"/>
                <a:gd name="T4" fmla="*/ 13415740 w 193"/>
                <a:gd name="T5" fmla="*/ 3305149 h 121"/>
                <a:gd name="T6" fmla="*/ 16572021 w 193"/>
                <a:gd name="T7" fmla="*/ 1101542 h 121"/>
                <a:gd name="T8" fmla="*/ 18545028 w 193"/>
                <a:gd name="T9" fmla="*/ 275517 h 121"/>
                <a:gd name="T10" fmla="*/ 20715247 w 193"/>
                <a:gd name="T11" fmla="*/ 275517 h 121"/>
                <a:gd name="T12" fmla="*/ 22885466 w 193"/>
                <a:gd name="T13" fmla="*/ 826025 h 121"/>
                <a:gd name="T14" fmla="*/ 25844532 w 193"/>
                <a:gd name="T15" fmla="*/ 2754116 h 121"/>
                <a:gd name="T16" fmla="*/ 29198473 w 193"/>
                <a:gd name="T17" fmla="*/ 5783749 h 121"/>
                <a:gd name="T18" fmla="*/ 31960771 w 193"/>
                <a:gd name="T19" fmla="*/ 7711314 h 121"/>
                <a:gd name="T20" fmla="*/ 34130990 w 193"/>
                <a:gd name="T21" fmla="*/ 8262347 h 121"/>
                <a:gd name="T22" fmla="*/ 35314705 w 193"/>
                <a:gd name="T23" fmla="*/ 13219546 h 121"/>
                <a:gd name="T24" fmla="*/ 35117049 w 193"/>
                <a:gd name="T25" fmla="*/ 18176747 h 121"/>
                <a:gd name="T26" fmla="*/ 35906341 w 193"/>
                <a:gd name="T27" fmla="*/ 20655871 h 121"/>
                <a:gd name="T28" fmla="*/ 36892844 w 193"/>
                <a:gd name="T29" fmla="*/ 24511527 h 121"/>
                <a:gd name="T30" fmla="*/ 37090056 w 193"/>
                <a:gd name="T31" fmla="*/ 28091666 h 121"/>
                <a:gd name="T32" fmla="*/ 37682136 w 193"/>
                <a:gd name="T33" fmla="*/ 30019232 h 121"/>
                <a:gd name="T34" fmla="*/ 37090056 w 193"/>
                <a:gd name="T35" fmla="*/ 31396290 h 121"/>
                <a:gd name="T36" fmla="*/ 34919837 w 193"/>
                <a:gd name="T37" fmla="*/ 32498355 h 121"/>
                <a:gd name="T38" fmla="*/ 31368691 w 193"/>
                <a:gd name="T39" fmla="*/ 33324380 h 121"/>
                <a:gd name="T40" fmla="*/ 22885466 w 193"/>
                <a:gd name="T41" fmla="*/ 32773347 h 121"/>
                <a:gd name="T42" fmla="*/ 14204587 w 193"/>
                <a:gd name="T43" fmla="*/ 31947322 h 121"/>
                <a:gd name="T44" fmla="*/ 12429236 w 193"/>
                <a:gd name="T45" fmla="*/ 30294748 h 121"/>
                <a:gd name="T46" fmla="*/ 11048309 w 193"/>
                <a:gd name="T47" fmla="*/ 27540633 h 121"/>
                <a:gd name="T48" fmla="*/ 10653441 w 193"/>
                <a:gd name="T49" fmla="*/ 23960494 h 121"/>
                <a:gd name="T50" fmla="*/ 9272514 w 193"/>
                <a:gd name="T51" fmla="*/ 21757412 h 121"/>
                <a:gd name="T52" fmla="*/ 6115790 w 193"/>
                <a:gd name="T53" fmla="*/ 20655871 h 121"/>
                <a:gd name="T54" fmla="*/ 2564643 w 193"/>
                <a:gd name="T55" fmla="*/ 19003297 h 121"/>
                <a:gd name="T56" fmla="*/ 592080 w 193"/>
                <a:gd name="T57" fmla="*/ 17075202 h 121"/>
                <a:gd name="T58" fmla="*/ 0 w 193"/>
                <a:gd name="T59" fmla="*/ 15973661 h 121"/>
                <a:gd name="T60" fmla="*/ 197212 w 193"/>
                <a:gd name="T61" fmla="*/ 14045571 h 121"/>
                <a:gd name="T62" fmla="*/ 1380928 w 193"/>
                <a:gd name="T63" fmla="*/ 12393522 h 121"/>
                <a:gd name="T64" fmla="*/ 3945571 w 193"/>
                <a:gd name="T65" fmla="*/ 10465431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93"/>
                <a:gd name="T100" fmla="*/ 0 h 121"/>
                <a:gd name="T101" fmla="*/ 193 w 193"/>
                <a:gd name="T102" fmla="*/ 121 h 12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US" altLang="en-US" sz="1800" baseline="-25000" smtClean="0"/>
            </a:p>
          </p:txBody>
        </p:sp>
        <p:sp>
          <p:nvSpPr>
            <p:cNvPr id="585" name="Freeform 450"/>
            <p:cNvSpPr>
              <a:spLocks/>
            </p:cNvSpPr>
            <p:nvPr>
              <p:custDataLst>
                <p:tags r:id="rId383"/>
              </p:custDataLst>
            </p:nvPr>
          </p:nvSpPr>
          <p:spPr bwMode="auto">
            <a:xfrm>
              <a:off x="2038186" y="3285732"/>
              <a:ext cx="298411" cy="524206"/>
            </a:xfrm>
            <a:custGeom>
              <a:avLst/>
              <a:gdLst>
                <a:gd name="T0" fmla="*/ 127747954 w 684"/>
                <a:gd name="T1" fmla="*/ 157887973 h 998"/>
                <a:gd name="T2" fmla="*/ 129461422 w 684"/>
                <a:gd name="T3" fmla="*/ 151550557 h 998"/>
                <a:gd name="T4" fmla="*/ 127747954 w 684"/>
                <a:gd name="T5" fmla="*/ 135293081 h 998"/>
                <a:gd name="T6" fmla="*/ 125463328 w 684"/>
                <a:gd name="T7" fmla="*/ 116555893 h 998"/>
                <a:gd name="T8" fmla="*/ 129080506 w 684"/>
                <a:gd name="T9" fmla="*/ 107187561 h 998"/>
                <a:gd name="T10" fmla="*/ 106043987 w 684"/>
                <a:gd name="T11" fmla="*/ 99472218 h 998"/>
                <a:gd name="T12" fmla="*/ 101474736 w 684"/>
                <a:gd name="T13" fmla="*/ 89828301 h 998"/>
                <a:gd name="T14" fmla="*/ 87957661 w 684"/>
                <a:gd name="T15" fmla="*/ 85419458 h 998"/>
                <a:gd name="T16" fmla="*/ 76534535 w 684"/>
                <a:gd name="T17" fmla="*/ 74397614 h 998"/>
                <a:gd name="T18" fmla="*/ 71394129 w 684"/>
                <a:gd name="T19" fmla="*/ 55384824 h 998"/>
                <a:gd name="T20" fmla="*/ 71394129 w 684"/>
                <a:gd name="T21" fmla="*/ 36647636 h 998"/>
                <a:gd name="T22" fmla="*/ 75201983 w 684"/>
                <a:gd name="T23" fmla="*/ 23146039 h 998"/>
                <a:gd name="T24" fmla="*/ 82817255 w 684"/>
                <a:gd name="T25" fmla="*/ 13226007 h 998"/>
                <a:gd name="T26" fmla="*/ 88147901 w 684"/>
                <a:gd name="T27" fmla="*/ 3030916 h 998"/>
                <a:gd name="T28" fmla="*/ 74059670 w 684"/>
                <a:gd name="T29" fmla="*/ 10746263 h 998"/>
                <a:gd name="T30" fmla="*/ 63778857 w 684"/>
                <a:gd name="T31" fmla="*/ 18737196 h 998"/>
                <a:gd name="T32" fmla="*/ 57876617 w 684"/>
                <a:gd name="T33" fmla="*/ 21492526 h 998"/>
                <a:gd name="T34" fmla="*/ 52926873 w 684"/>
                <a:gd name="T35" fmla="*/ 23146039 h 998"/>
                <a:gd name="T36" fmla="*/ 45882758 w 684"/>
                <a:gd name="T37" fmla="*/ 22319282 h 998"/>
                <a:gd name="T38" fmla="*/ 41313507 w 684"/>
                <a:gd name="T39" fmla="*/ 29759041 h 998"/>
                <a:gd name="T40" fmla="*/ 37315413 w 684"/>
                <a:gd name="T41" fmla="*/ 48220651 h 998"/>
                <a:gd name="T42" fmla="*/ 29890381 w 684"/>
                <a:gd name="T43" fmla="*/ 62548996 h 998"/>
                <a:gd name="T44" fmla="*/ 20370957 w 684"/>
                <a:gd name="T45" fmla="*/ 78255285 h 998"/>
                <a:gd name="T46" fmla="*/ 17134696 w 684"/>
                <a:gd name="T47" fmla="*/ 87348031 h 998"/>
                <a:gd name="T48" fmla="*/ 16372863 w 684"/>
                <a:gd name="T49" fmla="*/ 98094290 h 998"/>
                <a:gd name="T50" fmla="*/ 18467248 w 684"/>
                <a:gd name="T51" fmla="*/ 105258463 h 998"/>
                <a:gd name="T52" fmla="*/ 18467248 w 684"/>
                <a:gd name="T53" fmla="*/ 124271236 h 998"/>
                <a:gd name="T54" fmla="*/ 18086332 w 684"/>
                <a:gd name="T55" fmla="*/ 144661970 h 998"/>
                <a:gd name="T56" fmla="*/ 13707755 w 684"/>
                <a:gd name="T57" fmla="*/ 155132643 h 998"/>
                <a:gd name="T58" fmla="*/ 7044117 w 684"/>
                <a:gd name="T59" fmla="*/ 163123572 h 998"/>
                <a:gd name="T60" fmla="*/ 2094386 w 684"/>
                <a:gd name="T61" fmla="*/ 168634232 h 998"/>
                <a:gd name="T62" fmla="*/ 5711565 w 684"/>
                <a:gd name="T63" fmla="*/ 184064919 h 998"/>
                <a:gd name="T64" fmla="*/ 23417415 w 684"/>
                <a:gd name="T65" fmla="*/ 199771192 h 998"/>
                <a:gd name="T66" fmla="*/ 33317319 w 684"/>
                <a:gd name="T67" fmla="*/ 200597423 h 998"/>
                <a:gd name="T68" fmla="*/ 44549769 w 684"/>
                <a:gd name="T69" fmla="*/ 205557437 h 998"/>
                <a:gd name="T70" fmla="*/ 56924968 w 684"/>
                <a:gd name="T71" fmla="*/ 219059026 h 998"/>
                <a:gd name="T72" fmla="*/ 64159337 w 684"/>
                <a:gd name="T73" fmla="*/ 234214127 h 998"/>
                <a:gd name="T74" fmla="*/ 69870900 w 684"/>
                <a:gd name="T75" fmla="*/ 242756227 h 998"/>
                <a:gd name="T76" fmla="*/ 78438244 w 684"/>
                <a:gd name="T77" fmla="*/ 244133630 h 998"/>
                <a:gd name="T78" fmla="*/ 87957661 w 684"/>
                <a:gd name="T79" fmla="*/ 241378300 h 998"/>
                <a:gd name="T80" fmla="*/ 93669224 w 684"/>
                <a:gd name="T81" fmla="*/ 241929471 h 998"/>
                <a:gd name="T82" fmla="*/ 98047799 w 684"/>
                <a:gd name="T83" fmla="*/ 249093643 h 998"/>
                <a:gd name="T84" fmla="*/ 97667319 w 684"/>
                <a:gd name="T85" fmla="*/ 254053657 h 998"/>
                <a:gd name="T86" fmla="*/ 92907392 w 684"/>
                <a:gd name="T87" fmla="*/ 258186914 h 998"/>
                <a:gd name="T88" fmla="*/ 92907392 w 684"/>
                <a:gd name="T89" fmla="*/ 265351087 h 998"/>
                <a:gd name="T90" fmla="*/ 97286402 w 684"/>
                <a:gd name="T91" fmla="*/ 273892662 h 998"/>
                <a:gd name="T92" fmla="*/ 103188205 w 684"/>
                <a:gd name="T93" fmla="*/ 265075502 h 998"/>
                <a:gd name="T94" fmla="*/ 107757456 w 684"/>
                <a:gd name="T95" fmla="*/ 237245043 h 998"/>
                <a:gd name="T96" fmla="*/ 108709528 w 684"/>
                <a:gd name="T97" fmla="*/ 221263710 h 998"/>
                <a:gd name="T98" fmla="*/ 105663070 w 684"/>
                <a:gd name="T99" fmla="*/ 212446024 h 998"/>
                <a:gd name="T100" fmla="*/ 99571027 w 684"/>
                <a:gd name="T101" fmla="*/ 206384193 h 998"/>
                <a:gd name="T102" fmla="*/ 99190111 w 684"/>
                <a:gd name="T103" fmla="*/ 199220021 h 998"/>
                <a:gd name="T104" fmla="*/ 107757456 w 684"/>
                <a:gd name="T105" fmla="*/ 192882080 h 998"/>
                <a:gd name="T106" fmla="*/ 105853747 w 684"/>
                <a:gd name="T107" fmla="*/ 183238163 h 998"/>
                <a:gd name="T108" fmla="*/ 105853747 w 684"/>
                <a:gd name="T109" fmla="*/ 178829320 h 998"/>
                <a:gd name="T110" fmla="*/ 124701496 w 684"/>
                <a:gd name="T111" fmla="*/ 173043075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84"/>
                <a:gd name="T169" fmla="*/ 0 h 998"/>
                <a:gd name="T170" fmla="*/ 684 w 684"/>
                <a:gd name="T171" fmla="*/ 998 h 99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US" altLang="en-US" sz="1800" baseline="-25000" smtClean="0"/>
            </a:p>
          </p:txBody>
        </p:sp>
        <p:sp>
          <p:nvSpPr>
            <p:cNvPr id="555" name="Freeform 275"/>
            <p:cNvSpPr>
              <a:spLocks/>
            </p:cNvSpPr>
            <p:nvPr>
              <p:custDataLst>
                <p:tags r:id="rId384"/>
              </p:custDataLst>
            </p:nvPr>
          </p:nvSpPr>
          <p:spPr bwMode="auto">
            <a:xfrm>
              <a:off x="6164859" y="2843518"/>
              <a:ext cx="133076" cy="166670"/>
            </a:xfrm>
            <a:custGeom>
              <a:avLst/>
              <a:gdLst>
                <a:gd name="T0" fmla="*/ 49186098 w 306"/>
                <a:gd name="T1" fmla="*/ 43143632 h 321"/>
                <a:gd name="T2" fmla="*/ 47856956 w 306"/>
                <a:gd name="T3" fmla="*/ 46649271 h 321"/>
                <a:gd name="T4" fmla="*/ 46147811 w 306"/>
                <a:gd name="T5" fmla="*/ 49075853 h 321"/>
                <a:gd name="T6" fmla="*/ 44248664 w 306"/>
                <a:gd name="T7" fmla="*/ 50154910 h 321"/>
                <a:gd name="T8" fmla="*/ 42349516 w 306"/>
                <a:gd name="T9" fmla="*/ 49615382 h 321"/>
                <a:gd name="T10" fmla="*/ 40640371 w 306"/>
                <a:gd name="T11" fmla="*/ 47997314 h 321"/>
                <a:gd name="T12" fmla="*/ 39690797 w 306"/>
                <a:gd name="T13" fmla="*/ 45570733 h 321"/>
                <a:gd name="T14" fmla="*/ 39121227 w 306"/>
                <a:gd name="T15" fmla="*/ 43143632 h 321"/>
                <a:gd name="T16" fmla="*/ 39690797 w 306"/>
                <a:gd name="T17" fmla="*/ 39908016 h 321"/>
                <a:gd name="T18" fmla="*/ 40450369 w 306"/>
                <a:gd name="T19" fmla="*/ 36672401 h 321"/>
                <a:gd name="T20" fmla="*/ 43678658 w 306"/>
                <a:gd name="T21" fmla="*/ 30740172 h 321"/>
                <a:gd name="T22" fmla="*/ 46717381 w 306"/>
                <a:gd name="T23" fmla="*/ 25077455 h 321"/>
                <a:gd name="T24" fmla="*/ 47476953 w 306"/>
                <a:gd name="T25" fmla="*/ 22111345 h 321"/>
                <a:gd name="T26" fmla="*/ 48046522 w 306"/>
                <a:gd name="T27" fmla="*/ 18605705 h 321"/>
                <a:gd name="T28" fmla="*/ 24498048 w 306"/>
                <a:gd name="T29" fmla="*/ 18336200 h 321"/>
                <a:gd name="T30" fmla="*/ 22598901 w 306"/>
                <a:gd name="T31" fmla="*/ 15909095 h 321"/>
                <a:gd name="T32" fmla="*/ 21269759 w 306"/>
                <a:gd name="T33" fmla="*/ 12133951 h 321"/>
                <a:gd name="T34" fmla="*/ 20510187 w 306"/>
                <a:gd name="T35" fmla="*/ 7550290 h 321"/>
                <a:gd name="T36" fmla="*/ 19180610 w 306"/>
                <a:gd name="T37" fmla="*/ 5123190 h 321"/>
                <a:gd name="T38" fmla="*/ 17091897 w 306"/>
                <a:gd name="T39" fmla="*/ 4584180 h 321"/>
                <a:gd name="T40" fmla="*/ 15192749 w 306"/>
                <a:gd name="T41" fmla="*/ 3235616 h 321"/>
                <a:gd name="T42" fmla="*/ 14243172 w 306"/>
                <a:gd name="T43" fmla="*/ 1078539 h 321"/>
                <a:gd name="T44" fmla="*/ 12344025 w 306"/>
                <a:gd name="T45" fmla="*/ 0 h 321"/>
                <a:gd name="T46" fmla="*/ 9305302 w 306"/>
                <a:gd name="T47" fmla="*/ 0 h 321"/>
                <a:gd name="T48" fmla="*/ 6457015 w 306"/>
                <a:gd name="T49" fmla="*/ 269505 h 321"/>
                <a:gd name="T50" fmla="*/ 4177864 w 306"/>
                <a:gd name="T51" fmla="*/ 1348044 h 321"/>
                <a:gd name="T52" fmla="*/ 1899148 w 306"/>
                <a:gd name="T53" fmla="*/ 3775145 h 321"/>
                <a:gd name="T54" fmla="*/ 190002 w 306"/>
                <a:gd name="T55" fmla="*/ 6741257 h 321"/>
                <a:gd name="T56" fmla="*/ 380004 w 306"/>
                <a:gd name="T57" fmla="*/ 9437865 h 321"/>
                <a:gd name="T58" fmla="*/ 2848722 w 306"/>
                <a:gd name="T59" fmla="*/ 12403975 h 321"/>
                <a:gd name="T60" fmla="*/ 6646581 w 306"/>
                <a:gd name="T61" fmla="*/ 15639591 h 321"/>
                <a:gd name="T62" fmla="*/ 10254876 w 306"/>
                <a:gd name="T63" fmla="*/ 18066696 h 321"/>
                <a:gd name="T64" fmla="*/ 8925734 w 306"/>
                <a:gd name="T65" fmla="*/ 21302311 h 321"/>
                <a:gd name="T66" fmla="*/ 4747870 w 306"/>
                <a:gd name="T67" fmla="*/ 26155994 h 321"/>
                <a:gd name="T68" fmla="*/ 3228290 w 306"/>
                <a:gd name="T69" fmla="*/ 28852599 h 321"/>
                <a:gd name="T70" fmla="*/ 2658720 w 306"/>
                <a:gd name="T71" fmla="*/ 30740172 h 321"/>
                <a:gd name="T72" fmla="*/ 2658720 w 306"/>
                <a:gd name="T73" fmla="*/ 32897248 h 321"/>
                <a:gd name="T74" fmla="*/ 3418292 w 306"/>
                <a:gd name="T75" fmla="*/ 34784829 h 321"/>
                <a:gd name="T76" fmla="*/ 5317440 w 306"/>
                <a:gd name="T77" fmla="*/ 38020444 h 321"/>
                <a:gd name="T78" fmla="*/ 8925734 w 306"/>
                <a:gd name="T79" fmla="*/ 42065093 h 321"/>
                <a:gd name="T80" fmla="*/ 12154023 w 306"/>
                <a:gd name="T81" fmla="*/ 44222170 h 321"/>
                <a:gd name="T82" fmla="*/ 14243172 w 306"/>
                <a:gd name="T83" fmla="*/ 44761699 h 321"/>
                <a:gd name="T84" fmla="*/ 20320185 w 306"/>
                <a:gd name="T85" fmla="*/ 73074778 h 321"/>
                <a:gd name="T86" fmla="*/ 20510187 w 306"/>
                <a:gd name="T87" fmla="*/ 70917701 h 321"/>
                <a:gd name="T88" fmla="*/ 21269759 w 306"/>
                <a:gd name="T89" fmla="*/ 69030129 h 321"/>
                <a:gd name="T90" fmla="*/ 24118480 w 306"/>
                <a:gd name="T91" fmla="*/ 66333507 h 321"/>
                <a:gd name="T92" fmla="*/ 28106341 w 306"/>
                <a:gd name="T93" fmla="*/ 64715959 h 321"/>
                <a:gd name="T94" fmla="*/ 33043782 w 306"/>
                <a:gd name="T95" fmla="*/ 63367396 h 321"/>
                <a:gd name="T96" fmla="*/ 33043782 w 306"/>
                <a:gd name="T97" fmla="*/ 56626141 h 321"/>
                <a:gd name="T98" fmla="*/ 34753363 w 306"/>
                <a:gd name="T99" fmla="*/ 57165670 h 321"/>
                <a:gd name="T100" fmla="*/ 36652074 w 306"/>
                <a:gd name="T101" fmla="*/ 57165670 h 321"/>
                <a:gd name="T102" fmla="*/ 40450369 w 306"/>
                <a:gd name="T103" fmla="*/ 56626141 h 321"/>
                <a:gd name="T104" fmla="*/ 44058662 w 306"/>
                <a:gd name="T105" fmla="*/ 70378172 h 321"/>
                <a:gd name="T106" fmla="*/ 49186098 w 306"/>
                <a:gd name="T107" fmla="*/ 86557287 h 321"/>
                <a:gd name="T108" fmla="*/ 51654815 w 306"/>
                <a:gd name="T109" fmla="*/ 83860681 h 321"/>
                <a:gd name="T110" fmla="*/ 53553962 w 306"/>
                <a:gd name="T111" fmla="*/ 81434100 h 321"/>
                <a:gd name="T112" fmla="*/ 56022680 w 306"/>
                <a:gd name="T113" fmla="*/ 75501879 h 321"/>
                <a:gd name="T114" fmla="*/ 58111842 w 306"/>
                <a:gd name="T115" fmla="*/ 63367396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6"/>
                <a:gd name="T175" fmla="*/ 0 h 321"/>
                <a:gd name="T176" fmla="*/ 306 w 306"/>
                <a:gd name="T177" fmla="*/ 321 h 32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US" altLang="en-US" sz="1800" baseline="-25000" smtClean="0"/>
            </a:p>
          </p:txBody>
        </p:sp>
        <p:sp>
          <p:nvSpPr>
            <p:cNvPr id="556" name="Freeform 273"/>
            <p:cNvSpPr>
              <a:spLocks/>
            </p:cNvSpPr>
            <p:nvPr>
              <p:custDataLst>
                <p:tags r:id="rId385"/>
              </p:custDataLst>
            </p:nvPr>
          </p:nvSpPr>
          <p:spPr bwMode="auto">
            <a:xfrm>
              <a:off x="5951133" y="2705074"/>
              <a:ext cx="207006" cy="111562"/>
            </a:xfrm>
            <a:custGeom>
              <a:avLst/>
              <a:gdLst>
                <a:gd name="T0" fmla="*/ 2147483647 w 471"/>
                <a:gd name="T1" fmla="*/ 0 h 237"/>
                <a:gd name="T2" fmla="*/ 2147483647 w 471"/>
                <a:gd name="T3" fmla="*/ 998263048 h 237"/>
                <a:gd name="T4" fmla="*/ 2147483647 w 471"/>
                <a:gd name="T5" fmla="*/ 1854033337 h 237"/>
                <a:gd name="T6" fmla="*/ 2147483647 w 471"/>
                <a:gd name="T7" fmla="*/ 2147483647 h 237"/>
                <a:gd name="T8" fmla="*/ 2147483647 w 471"/>
                <a:gd name="T9" fmla="*/ 2147483647 h 237"/>
                <a:gd name="T10" fmla="*/ 2147483647 w 471"/>
                <a:gd name="T11" fmla="*/ 2147483647 h 237"/>
                <a:gd name="T12" fmla="*/ 2147483647 w 471"/>
                <a:gd name="T13" fmla="*/ 2147483647 h 237"/>
                <a:gd name="T14" fmla="*/ 2147483647 w 471"/>
                <a:gd name="T15" fmla="*/ 2147483647 h 237"/>
                <a:gd name="T16" fmla="*/ 2147483647 w 471"/>
                <a:gd name="T17" fmla="*/ 2147483647 h 237"/>
                <a:gd name="T18" fmla="*/ 2147483647 w 471"/>
                <a:gd name="T19" fmla="*/ 2147483647 h 237"/>
                <a:gd name="T20" fmla="*/ 2147483647 w 471"/>
                <a:gd name="T21" fmla="*/ 2147483647 h 237"/>
                <a:gd name="T22" fmla="*/ 2147483647 w 471"/>
                <a:gd name="T23" fmla="*/ 2147483647 h 237"/>
                <a:gd name="T24" fmla="*/ 2147483647 w 471"/>
                <a:gd name="T25" fmla="*/ 2147483647 h 237"/>
                <a:gd name="T26" fmla="*/ 2147483647 w 471"/>
                <a:gd name="T27" fmla="*/ 2147483647 h 237"/>
                <a:gd name="T28" fmla="*/ 2147483647 w 471"/>
                <a:gd name="T29" fmla="*/ 2147483647 h 237"/>
                <a:gd name="T30" fmla="*/ 2147483647 w 471"/>
                <a:gd name="T31" fmla="*/ 2147483647 h 237"/>
                <a:gd name="T32" fmla="*/ 2147483647 w 471"/>
                <a:gd name="T33" fmla="*/ 2147483647 h 237"/>
                <a:gd name="T34" fmla="*/ 2147483647 w 471"/>
                <a:gd name="T35" fmla="*/ 2147483647 h 237"/>
                <a:gd name="T36" fmla="*/ 2147483647 w 471"/>
                <a:gd name="T37" fmla="*/ 2147483647 h 237"/>
                <a:gd name="T38" fmla="*/ 2147483647 w 471"/>
                <a:gd name="T39" fmla="*/ 2147483647 h 237"/>
                <a:gd name="T40" fmla="*/ 2147483647 w 471"/>
                <a:gd name="T41" fmla="*/ 2147483647 h 237"/>
                <a:gd name="T42" fmla="*/ 2147483647 w 471"/>
                <a:gd name="T43" fmla="*/ 2147483647 h 237"/>
                <a:gd name="T44" fmla="*/ 2147483647 w 471"/>
                <a:gd name="T45" fmla="*/ 2147483647 h 237"/>
                <a:gd name="T46" fmla="*/ 2147483647 w 471"/>
                <a:gd name="T47" fmla="*/ 2147483647 h 237"/>
                <a:gd name="T48" fmla="*/ 2147483647 w 471"/>
                <a:gd name="T49" fmla="*/ 2147483647 h 237"/>
                <a:gd name="T50" fmla="*/ 2147483647 w 471"/>
                <a:gd name="T51" fmla="*/ 2147483647 h 237"/>
                <a:gd name="T52" fmla="*/ 2147483647 w 471"/>
                <a:gd name="T53" fmla="*/ 2147483647 h 237"/>
                <a:gd name="T54" fmla="*/ 2147483647 w 471"/>
                <a:gd name="T55" fmla="*/ 2147483647 h 237"/>
                <a:gd name="T56" fmla="*/ 2147483647 w 471"/>
                <a:gd name="T57" fmla="*/ 2147483647 h 237"/>
                <a:gd name="T58" fmla="*/ 2147483647 w 471"/>
                <a:gd name="T59" fmla="*/ 2147483647 h 237"/>
                <a:gd name="T60" fmla="*/ 2147483647 w 471"/>
                <a:gd name="T61" fmla="*/ 2147483647 h 237"/>
                <a:gd name="T62" fmla="*/ 2147483647 w 471"/>
                <a:gd name="T63" fmla="*/ 2147483647 h 237"/>
                <a:gd name="T64" fmla="*/ 2147483647 w 471"/>
                <a:gd name="T65" fmla="*/ 2147483647 h 237"/>
                <a:gd name="T66" fmla="*/ 2147483647 w 471"/>
                <a:gd name="T67" fmla="*/ 2147483647 h 237"/>
                <a:gd name="T68" fmla="*/ 2147483647 w 471"/>
                <a:gd name="T69" fmla="*/ 2147483647 h 237"/>
                <a:gd name="T70" fmla="*/ 2147483647 w 471"/>
                <a:gd name="T71" fmla="*/ 2147483647 h 237"/>
                <a:gd name="T72" fmla="*/ 1009469249 w 471"/>
                <a:gd name="T73" fmla="*/ 2147483647 h 237"/>
                <a:gd name="T74" fmla="*/ 58882474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71"/>
                <a:gd name="T115" fmla="*/ 0 h 237"/>
                <a:gd name="T116" fmla="*/ 471 w 471"/>
                <a:gd name="T117" fmla="*/ 237 h 23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US" altLang="en-US" sz="1800" baseline="-25000" smtClean="0"/>
            </a:p>
          </p:txBody>
        </p:sp>
        <p:sp>
          <p:nvSpPr>
            <p:cNvPr id="15782" name="Freeform 196"/>
            <p:cNvSpPr>
              <a:spLocks/>
            </p:cNvSpPr>
            <p:nvPr>
              <p:custDataLst>
                <p:tags r:id="rId386"/>
              </p:custDataLst>
            </p:nvPr>
          </p:nvSpPr>
          <p:spPr bwMode="auto">
            <a:xfrm>
              <a:off x="2170113" y="3046413"/>
              <a:ext cx="69850" cy="58737"/>
            </a:xfrm>
            <a:custGeom>
              <a:avLst/>
              <a:gdLst>
                <a:gd name="T0" fmla="*/ 2147483647 w 164"/>
                <a:gd name="T1" fmla="*/ 2147483647 h 104"/>
                <a:gd name="T2" fmla="*/ 2147483647 w 164"/>
                <a:gd name="T3" fmla="*/ 2147483647 h 104"/>
                <a:gd name="T4" fmla="*/ 2147483647 w 164"/>
                <a:gd name="T5" fmla="*/ 2147483647 h 104"/>
                <a:gd name="T6" fmla="*/ 2147483647 w 164"/>
                <a:gd name="T7" fmla="*/ 2147483647 h 104"/>
                <a:gd name="T8" fmla="*/ 2147483647 w 164"/>
                <a:gd name="T9" fmla="*/ 2147483647 h 104"/>
                <a:gd name="T10" fmla="*/ 2147483647 w 164"/>
                <a:gd name="T11" fmla="*/ 2147483647 h 104"/>
                <a:gd name="T12" fmla="*/ 2147483647 w 164"/>
                <a:gd name="T13" fmla="*/ 2147483647 h 104"/>
                <a:gd name="T14" fmla="*/ 2147483647 w 164"/>
                <a:gd name="T15" fmla="*/ 2147483647 h 104"/>
                <a:gd name="T16" fmla="*/ 2147483647 w 164"/>
                <a:gd name="T17" fmla="*/ 2147483647 h 104"/>
                <a:gd name="T18" fmla="*/ 2147483647 w 164"/>
                <a:gd name="T19" fmla="*/ 2147483647 h 104"/>
                <a:gd name="T20" fmla="*/ 2147483647 w 164"/>
                <a:gd name="T21" fmla="*/ 2147483647 h 104"/>
                <a:gd name="T22" fmla="*/ 2147483647 w 164"/>
                <a:gd name="T23" fmla="*/ 2147483647 h 104"/>
                <a:gd name="T24" fmla="*/ 2147483647 w 164"/>
                <a:gd name="T25" fmla="*/ 2147483647 h 104"/>
                <a:gd name="T26" fmla="*/ 2147483647 w 164"/>
                <a:gd name="T27" fmla="*/ 2147483647 h 104"/>
                <a:gd name="T28" fmla="*/ 2147483647 w 164"/>
                <a:gd name="T29" fmla="*/ 2147483647 h 104"/>
                <a:gd name="T30" fmla="*/ 2147483647 w 164"/>
                <a:gd name="T31" fmla="*/ 2147483647 h 104"/>
                <a:gd name="T32" fmla="*/ 2147483647 w 164"/>
                <a:gd name="T33" fmla="*/ 2147483647 h 104"/>
                <a:gd name="T34" fmla="*/ 0 w 164"/>
                <a:gd name="T35" fmla="*/ 2147483647 h 104"/>
                <a:gd name="T36" fmla="*/ 0 w 164"/>
                <a:gd name="T37" fmla="*/ 2147483647 h 104"/>
                <a:gd name="T38" fmla="*/ 0 w 164"/>
                <a:gd name="T39" fmla="*/ 2147483647 h 104"/>
                <a:gd name="T40" fmla="*/ 2147483647 w 164"/>
                <a:gd name="T41" fmla="*/ 2147483647 h 104"/>
                <a:gd name="T42" fmla="*/ 2147483647 w 164"/>
                <a:gd name="T43" fmla="*/ 2147483647 h 104"/>
                <a:gd name="T44" fmla="*/ 2147483647 w 164"/>
                <a:gd name="T45" fmla="*/ 2147483647 h 104"/>
                <a:gd name="T46" fmla="*/ 2147483647 w 164"/>
                <a:gd name="T47" fmla="*/ 2147483647 h 104"/>
                <a:gd name="T48" fmla="*/ 2147483647 w 164"/>
                <a:gd name="T49" fmla="*/ 2147483647 h 104"/>
                <a:gd name="T50" fmla="*/ 2147483647 w 164"/>
                <a:gd name="T51" fmla="*/ 2147483647 h 104"/>
                <a:gd name="T52" fmla="*/ 2147483647 w 164"/>
                <a:gd name="T53" fmla="*/ 2147483647 h 104"/>
                <a:gd name="T54" fmla="*/ 2147483647 w 164"/>
                <a:gd name="T55" fmla="*/ 2147483647 h 104"/>
                <a:gd name="T56" fmla="*/ 2147483647 w 164"/>
                <a:gd name="T57" fmla="*/ 2147483647 h 104"/>
                <a:gd name="T58" fmla="*/ 2147483647 w 164"/>
                <a:gd name="T59" fmla="*/ 2147483647 h 104"/>
                <a:gd name="T60" fmla="*/ 2147483647 w 164"/>
                <a:gd name="T61" fmla="*/ 2147483647 h 104"/>
                <a:gd name="T62" fmla="*/ 2147483647 w 164"/>
                <a:gd name="T63" fmla="*/ 2147483647 h 104"/>
                <a:gd name="T64" fmla="*/ 2147483647 w 164"/>
                <a:gd name="T65" fmla="*/ 2147483647 h 104"/>
                <a:gd name="T66" fmla="*/ 2147483647 w 164"/>
                <a:gd name="T67" fmla="*/ 2147483647 h 104"/>
                <a:gd name="T68" fmla="*/ 2147483647 w 164"/>
                <a:gd name="T69" fmla="*/ 2147483647 h 104"/>
                <a:gd name="T70" fmla="*/ 2147483647 w 164"/>
                <a:gd name="T71" fmla="*/ 2147483647 h 104"/>
                <a:gd name="T72" fmla="*/ 2147483647 w 164"/>
                <a:gd name="T73" fmla="*/ 2147483647 h 104"/>
                <a:gd name="T74" fmla="*/ 2147483647 w 164"/>
                <a:gd name="T75" fmla="*/ 2147483647 h 104"/>
                <a:gd name="T76" fmla="*/ 2147483647 w 164"/>
                <a:gd name="T77" fmla="*/ 2147483647 h 104"/>
                <a:gd name="T78" fmla="*/ 2147483647 w 164"/>
                <a:gd name="T79" fmla="*/ 2147483647 h 104"/>
                <a:gd name="T80" fmla="*/ 2147483647 w 164"/>
                <a:gd name="T81" fmla="*/ 0 h 104"/>
                <a:gd name="T82" fmla="*/ 2147483647 w 164"/>
                <a:gd name="T83" fmla="*/ 0 h 104"/>
                <a:gd name="T84" fmla="*/ 2147483647 w 164"/>
                <a:gd name="T85" fmla="*/ 2147483647 h 104"/>
                <a:gd name="T86" fmla="*/ 2147483647 w 164"/>
                <a:gd name="T87" fmla="*/ 2147483647 h 104"/>
                <a:gd name="T88" fmla="*/ 2147483647 w 164"/>
                <a:gd name="T89" fmla="*/ 2147483647 h 104"/>
                <a:gd name="T90" fmla="*/ 2147483647 w 164"/>
                <a:gd name="T91" fmla="*/ 2147483647 h 104"/>
                <a:gd name="T92" fmla="*/ 2147483647 w 164"/>
                <a:gd name="T93" fmla="*/ 2147483647 h 104"/>
                <a:gd name="T94" fmla="*/ 2147483647 w 164"/>
                <a:gd name="T95" fmla="*/ 2147483647 h 104"/>
                <a:gd name="T96" fmla="*/ 2147483647 w 164"/>
                <a:gd name="T97" fmla="*/ 2147483647 h 104"/>
                <a:gd name="T98" fmla="*/ 2147483647 w 164"/>
                <a:gd name="T99" fmla="*/ 2147483647 h 104"/>
                <a:gd name="T100" fmla="*/ 2147483647 w 164"/>
                <a:gd name="T101" fmla="*/ 2147483647 h 104"/>
                <a:gd name="T102" fmla="*/ 2147483647 w 164"/>
                <a:gd name="T103" fmla="*/ 2147483647 h 104"/>
                <a:gd name="T104" fmla="*/ 2147483647 w 164"/>
                <a:gd name="T105" fmla="*/ 2147483647 h 104"/>
                <a:gd name="T106" fmla="*/ 2147483647 w 164"/>
                <a:gd name="T107" fmla="*/ 2147483647 h 104"/>
                <a:gd name="T108" fmla="*/ 2147483647 w 164"/>
                <a:gd name="T109" fmla="*/ 214748364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64"/>
                <a:gd name="T166" fmla="*/ 0 h 104"/>
                <a:gd name="T167" fmla="*/ 164 w 164"/>
                <a:gd name="T168" fmla="*/ 104 h 10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83" name="Freeform 220"/>
            <p:cNvSpPr>
              <a:spLocks/>
            </p:cNvSpPr>
            <p:nvPr>
              <p:custDataLst>
                <p:tags r:id="rId387"/>
              </p:custDataLst>
            </p:nvPr>
          </p:nvSpPr>
          <p:spPr bwMode="auto">
            <a:xfrm>
              <a:off x="1768475" y="3217863"/>
              <a:ext cx="71438" cy="57150"/>
            </a:xfrm>
            <a:custGeom>
              <a:avLst/>
              <a:gdLst>
                <a:gd name="T0" fmla="*/ 2147483647 w 153"/>
                <a:gd name="T1" fmla="*/ 0 h 80"/>
                <a:gd name="T2" fmla="*/ 2147483647 w 153"/>
                <a:gd name="T3" fmla="*/ 2147483647 h 80"/>
                <a:gd name="T4" fmla="*/ 2147483647 w 153"/>
                <a:gd name="T5" fmla="*/ 2147483647 h 80"/>
                <a:gd name="T6" fmla="*/ 2147483647 w 153"/>
                <a:gd name="T7" fmla="*/ 2147483647 h 80"/>
                <a:gd name="T8" fmla="*/ 2147483647 w 153"/>
                <a:gd name="T9" fmla="*/ 2147483647 h 80"/>
                <a:gd name="T10" fmla="*/ 2147483647 w 153"/>
                <a:gd name="T11" fmla="*/ 2147483647 h 80"/>
                <a:gd name="T12" fmla="*/ 2147483647 w 153"/>
                <a:gd name="T13" fmla="*/ 2147483647 h 80"/>
                <a:gd name="T14" fmla="*/ 2147483647 w 153"/>
                <a:gd name="T15" fmla="*/ 2147483647 h 80"/>
                <a:gd name="T16" fmla="*/ 2147483647 w 153"/>
                <a:gd name="T17" fmla="*/ 2147483647 h 80"/>
                <a:gd name="T18" fmla="*/ 2147483647 w 153"/>
                <a:gd name="T19" fmla="*/ 2147483647 h 80"/>
                <a:gd name="T20" fmla="*/ 2147483647 w 153"/>
                <a:gd name="T21" fmla="*/ 2147483647 h 80"/>
                <a:gd name="T22" fmla="*/ 2147483647 w 153"/>
                <a:gd name="T23" fmla="*/ 2147483647 h 80"/>
                <a:gd name="T24" fmla="*/ 2147483647 w 153"/>
                <a:gd name="T25" fmla="*/ 2147483647 h 80"/>
                <a:gd name="T26" fmla="*/ 2147483647 w 153"/>
                <a:gd name="T27" fmla="*/ 2147483647 h 80"/>
                <a:gd name="T28" fmla="*/ 2147483647 w 153"/>
                <a:gd name="T29" fmla="*/ 2147483647 h 80"/>
                <a:gd name="T30" fmla="*/ 2147483647 w 153"/>
                <a:gd name="T31" fmla="*/ 2147483647 h 80"/>
                <a:gd name="T32" fmla="*/ 2147483647 w 153"/>
                <a:gd name="T33" fmla="*/ 2147483647 h 80"/>
                <a:gd name="T34" fmla="*/ 2147483647 w 153"/>
                <a:gd name="T35" fmla="*/ 2147483647 h 80"/>
                <a:gd name="T36" fmla="*/ 2147483647 w 153"/>
                <a:gd name="T37" fmla="*/ 2147483647 h 80"/>
                <a:gd name="T38" fmla="*/ 2147483647 w 153"/>
                <a:gd name="T39" fmla="*/ 2147483647 h 80"/>
                <a:gd name="T40" fmla="*/ 2147483647 w 153"/>
                <a:gd name="T41" fmla="*/ 2147483647 h 80"/>
                <a:gd name="T42" fmla="*/ 2147483647 w 153"/>
                <a:gd name="T43" fmla="*/ 2147483647 h 80"/>
                <a:gd name="T44" fmla="*/ 2147483647 w 153"/>
                <a:gd name="T45" fmla="*/ 2147483647 h 80"/>
                <a:gd name="T46" fmla="*/ 2147483647 w 153"/>
                <a:gd name="T47" fmla="*/ 2147483647 h 80"/>
                <a:gd name="T48" fmla="*/ 2147483647 w 153"/>
                <a:gd name="T49" fmla="*/ 2147483647 h 80"/>
                <a:gd name="T50" fmla="*/ 0 w 153"/>
                <a:gd name="T51" fmla="*/ 2147483647 h 80"/>
                <a:gd name="T52" fmla="*/ 2147483647 w 153"/>
                <a:gd name="T53" fmla="*/ 2147483647 h 80"/>
                <a:gd name="T54" fmla="*/ 2147483647 w 153"/>
                <a:gd name="T55" fmla="*/ 2147483647 h 80"/>
                <a:gd name="T56" fmla="*/ 2147483647 w 153"/>
                <a:gd name="T57" fmla="*/ 2147483647 h 80"/>
                <a:gd name="T58" fmla="*/ 2147483647 w 153"/>
                <a:gd name="T59" fmla="*/ 2147483647 h 80"/>
                <a:gd name="T60" fmla="*/ 2147483647 w 153"/>
                <a:gd name="T61" fmla="*/ 2147483647 h 80"/>
                <a:gd name="T62" fmla="*/ 2147483647 w 153"/>
                <a:gd name="T63" fmla="*/ 2147483647 h 80"/>
                <a:gd name="T64" fmla="*/ 2147483647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3"/>
                <a:gd name="T100" fmla="*/ 0 h 80"/>
                <a:gd name="T101" fmla="*/ 153 w 153"/>
                <a:gd name="T102" fmla="*/ 80 h 8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149C4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84" name="Freeform 236"/>
            <p:cNvSpPr>
              <a:spLocks/>
            </p:cNvSpPr>
            <p:nvPr>
              <p:custDataLst>
                <p:tags r:id="rId388"/>
              </p:custDataLst>
            </p:nvPr>
          </p:nvSpPr>
          <p:spPr bwMode="auto">
            <a:xfrm>
              <a:off x="3710363" y="2873089"/>
              <a:ext cx="414011" cy="469096"/>
            </a:xfrm>
            <a:custGeom>
              <a:avLst/>
              <a:gdLst>
                <a:gd name="T0" fmla="*/ 2147483647 w 948"/>
                <a:gd name="T1" fmla="*/ 2147483647 h 893"/>
                <a:gd name="T2" fmla="*/ 2147483647 w 948"/>
                <a:gd name="T3" fmla="*/ 2147483647 h 893"/>
                <a:gd name="T4" fmla="*/ 2147483647 w 948"/>
                <a:gd name="T5" fmla="*/ 2147483647 h 893"/>
                <a:gd name="T6" fmla="*/ 2147483647 w 948"/>
                <a:gd name="T7" fmla="*/ 2147483647 h 893"/>
                <a:gd name="T8" fmla="*/ 2147483647 w 948"/>
                <a:gd name="T9" fmla="*/ 2147483647 h 893"/>
                <a:gd name="T10" fmla="*/ 2147483647 w 948"/>
                <a:gd name="T11" fmla="*/ 2147483647 h 893"/>
                <a:gd name="T12" fmla="*/ 2147483647 w 948"/>
                <a:gd name="T13" fmla="*/ 2147483647 h 893"/>
                <a:gd name="T14" fmla="*/ 2147483647 w 948"/>
                <a:gd name="T15" fmla="*/ 2147483647 h 893"/>
                <a:gd name="T16" fmla="*/ 2147483647 w 948"/>
                <a:gd name="T17" fmla="*/ 2147483647 h 893"/>
                <a:gd name="T18" fmla="*/ 2147483647 w 948"/>
                <a:gd name="T19" fmla="*/ 2147483647 h 893"/>
                <a:gd name="T20" fmla="*/ 2147483647 w 948"/>
                <a:gd name="T21" fmla="*/ 2147483647 h 893"/>
                <a:gd name="T22" fmla="*/ 2147483647 w 948"/>
                <a:gd name="T23" fmla="*/ 2147483647 h 893"/>
                <a:gd name="T24" fmla="*/ 2147483647 w 948"/>
                <a:gd name="T25" fmla="*/ 2147483647 h 893"/>
                <a:gd name="T26" fmla="*/ 2147483647 w 948"/>
                <a:gd name="T27" fmla="*/ 2147483647 h 893"/>
                <a:gd name="T28" fmla="*/ 2147483647 w 948"/>
                <a:gd name="T29" fmla="*/ 2147483647 h 893"/>
                <a:gd name="T30" fmla="*/ 2147483647 w 948"/>
                <a:gd name="T31" fmla="*/ 2147483647 h 893"/>
                <a:gd name="T32" fmla="*/ 2147483647 w 948"/>
                <a:gd name="T33" fmla="*/ 2147483647 h 893"/>
                <a:gd name="T34" fmla="*/ 2147483647 w 948"/>
                <a:gd name="T35" fmla="*/ 2147483647 h 893"/>
                <a:gd name="T36" fmla="*/ 2147483647 w 948"/>
                <a:gd name="T37" fmla="*/ 2147483647 h 893"/>
                <a:gd name="T38" fmla="*/ 2147483647 w 948"/>
                <a:gd name="T39" fmla="*/ 2147483647 h 893"/>
                <a:gd name="T40" fmla="*/ 2147483647 w 948"/>
                <a:gd name="T41" fmla="*/ 2147483647 h 893"/>
                <a:gd name="T42" fmla="*/ 2147483647 w 948"/>
                <a:gd name="T43" fmla="*/ 2147483647 h 893"/>
                <a:gd name="T44" fmla="*/ 2147483647 w 948"/>
                <a:gd name="T45" fmla="*/ 2147483647 h 893"/>
                <a:gd name="T46" fmla="*/ 2147483647 w 948"/>
                <a:gd name="T47" fmla="*/ 2147483647 h 893"/>
                <a:gd name="T48" fmla="*/ 2147483647 w 948"/>
                <a:gd name="T49" fmla="*/ 2147483647 h 893"/>
                <a:gd name="T50" fmla="*/ 2147483647 w 948"/>
                <a:gd name="T51" fmla="*/ 2147483647 h 893"/>
                <a:gd name="T52" fmla="*/ 2147483647 w 948"/>
                <a:gd name="T53" fmla="*/ 2147483647 h 893"/>
                <a:gd name="T54" fmla="*/ 2147483647 w 948"/>
                <a:gd name="T55" fmla="*/ 2147483647 h 893"/>
                <a:gd name="T56" fmla="*/ 2147483647 w 948"/>
                <a:gd name="T57" fmla="*/ 2147483647 h 893"/>
                <a:gd name="T58" fmla="*/ 2147483647 w 948"/>
                <a:gd name="T59" fmla="*/ 2147483647 h 893"/>
                <a:gd name="T60" fmla="*/ 2147483647 w 948"/>
                <a:gd name="T61" fmla="*/ 2147483647 h 893"/>
                <a:gd name="T62" fmla="*/ 2147483647 w 948"/>
                <a:gd name="T63" fmla="*/ 2147483647 h 893"/>
                <a:gd name="T64" fmla="*/ 2147483647 w 948"/>
                <a:gd name="T65" fmla="*/ 2147483647 h 893"/>
                <a:gd name="T66" fmla="*/ 2147483647 w 948"/>
                <a:gd name="T67" fmla="*/ 2147483647 h 893"/>
                <a:gd name="T68" fmla="*/ 2147483647 w 948"/>
                <a:gd name="T69" fmla="*/ 2147483647 h 893"/>
                <a:gd name="T70" fmla="*/ 2147483647 w 948"/>
                <a:gd name="T71" fmla="*/ 2147483647 h 893"/>
                <a:gd name="T72" fmla="*/ 2147483647 w 948"/>
                <a:gd name="T73" fmla="*/ 2147483647 h 893"/>
                <a:gd name="T74" fmla="*/ 2147483647 w 948"/>
                <a:gd name="T75" fmla="*/ 2147483647 h 893"/>
                <a:gd name="T76" fmla="*/ 2147483647 w 948"/>
                <a:gd name="T77" fmla="*/ 2147483647 h 893"/>
                <a:gd name="T78" fmla="*/ 2147483647 w 948"/>
                <a:gd name="T79" fmla="*/ 2147483647 h 893"/>
                <a:gd name="T80" fmla="*/ 2147483647 w 948"/>
                <a:gd name="T81" fmla="*/ 2147483647 h 893"/>
                <a:gd name="T82" fmla="*/ 2147483647 w 948"/>
                <a:gd name="T83" fmla="*/ 2147483647 h 893"/>
                <a:gd name="T84" fmla="*/ 2147483647 w 948"/>
                <a:gd name="T85" fmla="*/ 2147483647 h 893"/>
                <a:gd name="T86" fmla="*/ 2147483647 w 948"/>
                <a:gd name="T87" fmla="*/ 2147483647 h 893"/>
                <a:gd name="T88" fmla="*/ 2147483647 w 948"/>
                <a:gd name="T89" fmla="*/ 2147483647 h 893"/>
                <a:gd name="T90" fmla="*/ 2147483647 w 948"/>
                <a:gd name="T91" fmla="*/ 2147483647 h 893"/>
                <a:gd name="T92" fmla="*/ 2147483647 w 948"/>
                <a:gd name="T93" fmla="*/ 2147483647 h 893"/>
                <a:gd name="T94" fmla="*/ 2147483647 w 948"/>
                <a:gd name="T95" fmla="*/ 2147483647 h 893"/>
                <a:gd name="T96" fmla="*/ 2147483647 w 948"/>
                <a:gd name="T97" fmla="*/ 2147483647 h 893"/>
                <a:gd name="T98" fmla="*/ 2147483647 w 948"/>
                <a:gd name="T99" fmla="*/ 2147483647 h 893"/>
                <a:gd name="T100" fmla="*/ 2147483647 w 948"/>
                <a:gd name="T101" fmla="*/ 2147483647 h 893"/>
                <a:gd name="T102" fmla="*/ 2147483647 w 948"/>
                <a:gd name="T103" fmla="*/ 2147483647 h 893"/>
                <a:gd name="T104" fmla="*/ 2147483647 w 948"/>
                <a:gd name="T105" fmla="*/ 2147483647 h 893"/>
                <a:gd name="T106" fmla="*/ 2147483647 w 948"/>
                <a:gd name="T107" fmla="*/ 2147483647 h 893"/>
                <a:gd name="T108" fmla="*/ 2147483647 w 948"/>
                <a:gd name="T109" fmla="*/ 2147483647 h 893"/>
                <a:gd name="T110" fmla="*/ 2147483647 w 948"/>
                <a:gd name="T111" fmla="*/ 2147483647 h 893"/>
                <a:gd name="T112" fmla="*/ 2147483647 w 948"/>
                <a:gd name="T113" fmla="*/ 2147483647 h 893"/>
                <a:gd name="T114" fmla="*/ 2147483647 w 948"/>
                <a:gd name="T115" fmla="*/ 2147483647 h 893"/>
                <a:gd name="T116" fmla="*/ 2147483647 w 948"/>
                <a:gd name="T117" fmla="*/ 2147483647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48"/>
                <a:gd name="T178" fmla="*/ 0 h 893"/>
                <a:gd name="T179" fmla="*/ 948 w 948"/>
                <a:gd name="T180" fmla="*/ 893 h 89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chemeClr val="accent1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85" name="Freeform 247"/>
            <p:cNvSpPr>
              <a:spLocks/>
            </p:cNvSpPr>
            <p:nvPr>
              <p:custDataLst>
                <p:tags r:id="rId389"/>
              </p:custDataLst>
            </p:nvPr>
          </p:nvSpPr>
          <p:spPr bwMode="auto">
            <a:xfrm>
              <a:off x="4378427" y="3322024"/>
              <a:ext cx="325295" cy="244629"/>
            </a:xfrm>
            <a:custGeom>
              <a:avLst/>
              <a:gdLst>
                <a:gd name="T0" fmla="*/ 2147483647 w 746"/>
                <a:gd name="T1" fmla="*/ 2147483647 h 469"/>
                <a:gd name="T2" fmla="*/ 2147483647 w 746"/>
                <a:gd name="T3" fmla="*/ 2147483647 h 469"/>
                <a:gd name="T4" fmla="*/ 2147483647 w 746"/>
                <a:gd name="T5" fmla="*/ 2147483647 h 469"/>
                <a:gd name="T6" fmla="*/ 2147483647 w 746"/>
                <a:gd name="T7" fmla="*/ 2147483647 h 469"/>
                <a:gd name="T8" fmla="*/ 0 w 746"/>
                <a:gd name="T9" fmla="*/ 2147483647 h 469"/>
                <a:gd name="T10" fmla="*/ 2147483647 w 746"/>
                <a:gd name="T11" fmla="*/ 2147483647 h 469"/>
                <a:gd name="T12" fmla="*/ 2147483647 w 746"/>
                <a:gd name="T13" fmla="*/ 2147483647 h 469"/>
                <a:gd name="T14" fmla="*/ 2147483647 w 746"/>
                <a:gd name="T15" fmla="*/ 2147483647 h 469"/>
                <a:gd name="T16" fmla="*/ 2147483647 w 746"/>
                <a:gd name="T17" fmla="*/ 2147483647 h 469"/>
                <a:gd name="T18" fmla="*/ 2147483647 w 746"/>
                <a:gd name="T19" fmla="*/ 2147483647 h 469"/>
                <a:gd name="T20" fmla="*/ 2147483647 w 746"/>
                <a:gd name="T21" fmla="*/ 2147483647 h 469"/>
                <a:gd name="T22" fmla="*/ 2147483647 w 746"/>
                <a:gd name="T23" fmla="*/ 2147483647 h 469"/>
                <a:gd name="T24" fmla="*/ 2147483647 w 746"/>
                <a:gd name="T25" fmla="*/ 2147483647 h 469"/>
                <a:gd name="T26" fmla="*/ 2147483647 w 746"/>
                <a:gd name="T27" fmla="*/ 2147483647 h 469"/>
                <a:gd name="T28" fmla="*/ 2147483647 w 746"/>
                <a:gd name="T29" fmla="*/ 2147483647 h 469"/>
                <a:gd name="T30" fmla="*/ 2147483647 w 746"/>
                <a:gd name="T31" fmla="*/ 2147483647 h 469"/>
                <a:gd name="T32" fmla="*/ 2147483647 w 746"/>
                <a:gd name="T33" fmla="*/ 2147483647 h 469"/>
                <a:gd name="T34" fmla="*/ 2147483647 w 746"/>
                <a:gd name="T35" fmla="*/ 2147483647 h 469"/>
                <a:gd name="T36" fmla="*/ 2147483647 w 746"/>
                <a:gd name="T37" fmla="*/ 2147483647 h 469"/>
                <a:gd name="T38" fmla="*/ 2147483647 w 746"/>
                <a:gd name="T39" fmla="*/ 0 h 469"/>
                <a:gd name="T40" fmla="*/ 2147483647 w 746"/>
                <a:gd name="T41" fmla="*/ 2147483647 h 469"/>
                <a:gd name="T42" fmla="*/ 2147483647 w 746"/>
                <a:gd name="T43" fmla="*/ 2147483647 h 469"/>
                <a:gd name="T44" fmla="*/ 2147483647 w 746"/>
                <a:gd name="T45" fmla="*/ 2147483647 h 469"/>
                <a:gd name="T46" fmla="*/ 2147483647 w 746"/>
                <a:gd name="T47" fmla="*/ 2147483647 h 469"/>
                <a:gd name="T48" fmla="*/ 2147483647 w 746"/>
                <a:gd name="T49" fmla="*/ 2147483647 h 469"/>
                <a:gd name="T50" fmla="*/ 2147483647 w 746"/>
                <a:gd name="T51" fmla="*/ 2147483647 h 469"/>
                <a:gd name="T52" fmla="*/ 2147483647 w 746"/>
                <a:gd name="T53" fmla="*/ 2147483647 h 469"/>
                <a:gd name="T54" fmla="*/ 2147483647 w 746"/>
                <a:gd name="T55" fmla="*/ 2147483647 h 469"/>
                <a:gd name="T56" fmla="*/ 2147483647 w 746"/>
                <a:gd name="T57" fmla="*/ 2147483647 h 469"/>
                <a:gd name="T58" fmla="*/ 2147483647 w 746"/>
                <a:gd name="T59" fmla="*/ 2147483647 h 469"/>
                <a:gd name="T60" fmla="*/ 2147483647 w 746"/>
                <a:gd name="T61" fmla="*/ 2147483647 h 469"/>
                <a:gd name="T62" fmla="*/ 2147483647 w 746"/>
                <a:gd name="T63" fmla="*/ 2147483647 h 469"/>
                <a:gd name="T64" fmla="*/ 2147483647 w 746"/>
                <a:gd name="T65" fmla="*/ 2147483647 h 469"/>
                <a:gd name="T66" fmla="*/ 2147483647 w 746"/>
                <a:gd name="T67" fmla="*/ 2147483647 h 469"/>
                <a:gd name="T68" fmla="*/ 2147483647 w 746"/>
                <a:gd name="T69" fmla="*/ 2147483647 h 469"/>
                <a:gd name="T70" fmla="*/ 2147483647 w 746"/>
                <a:gd name="T71" fmla="*/ 2147483647 h 469"/>
                <a:gd name="T72" fmla="*/ 2147483647 w 746"/>
                <a:gd name="T73" fmla="*/ 2147483647 h 469"/>
                <a:gd name="T74" fmla="*/ 2147483647 w 746"/>
                <a:gd name="T75" fmla="*/ 2147483647 h 469"/>
                <a:gd name="T76" fmla="*/ 2147483647 w 746"/>
                <a:gd name="T77" fmla="*/ 2147483647 h 469"/>
                <a:gd name="T78" fmla="*/ 2147483647 w 746"/>
                <a:gd name="T79" fmla="*/ 2147483647 h 469"/>
                <a:gd name="T80" fmla="*/ 2147483647 w 746"/>
                <a:gd name="T81" fmla="*/ 2147483647 h 469"/>
                <a:gd name="T82" fmla="*/ 2147483647 w 746"/>
                <a:gd name="T83" fmla="*/ 2147483647 h 469"/>
                <a:gd name="T84" fmla="*/ 2147483647 w 746"/>
                <a:gd name="T85" fmla="*/ 2147483647 h 469"/>
                <a:gd name="T86" fmla="*/ 2147483647 w 746"/>
                <a:gd name="T87" fmla="*/ 2147483647 h 469"/>
                <a:gd name="T88" fmla="*/ 2147483647 w 746"/>
                <a:gd name="T89" fmla="*/ 2147483647 h 469"/>
                <a:gd name="T90" fmla="*/ 2147483647 w 746"/>
                <a:gd name="T91" fmla="*/ 2147483647 h 469"/>
                <a:gd name="T92" fmla="*/ 2147483647 w 746"/>
                <a:gd name="T93" fmla="*/ 2147483647 h 469"/>
                <a:gd name="T94" fmla="*/ 2147483647 w 746"/>
                <a:gd name="T95" fmla="*/ 2147483647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46"/>
                <a:gd name="T145" fmla="*/ 0 h 469"/>
                <a:gd name="T146" fmla="*/ 746 w 746"/>
                <a:gd name="T147" fmla="*/ 469 h 469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chemeClr val="accent1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86" name="Freeform 248"/>
            <p:cNvSpPr>
              <a:spLocks/>
            </p:cNvSpPr>
            <p:nvPr>
              <p:custDataLst>
                <p:tags r:id="rId390"/>
              </p:custDataLst>
            </p:nvPr>
          </p:nvSpPr>
          <p:spPr bwMode="auto">
            <a:xfrm>
              <a:off x="4307184" y="3491383"/>
              <a:ext cx="500040" cy="552432"/>
            </a:xfrm>
            <a:custGeom>
              <a:avLst/>
              <a:gdLst>
                <a:gd name="T0" fmla="*/ 2147483647 w 1145"/>
                <a:gd name="T1" fmla="*/ 2147483647 h 1053"/>
                <a:gd name="T2" fmla="*/ 2147483647 w 1145"/>
                <a:gd name="T3" fmla="*/ 2147483647 h 1053"/>
                <a:gd name="T4" fmla="*/ 2147483647 w 1145"/>
                <a:gd name="T5" fmla="*/ 2147483647 h 1053"/>
                <a:gd name="T6" fmla="*/ 2147483647 w 1145"/>
                <a:gd name="T7" fmla="*/ 2147483647 h 1053"/>
                <a:gd name="T8" fmla="*/ 2147483647 w 1145"/>
                <a:gd name="T9" fmla="*/ 2147483647 h 1053"/>
                <a:gd name="T10" fmla="*/ 2147483647 w 1145"/>
                <a:gd name="T11" fmla="*/ 2147483647 h 1053"/>
                <a:gd name="T12" fmla="*/ 2147483647 w 1145"/>
                <a:gd name="T13" fmla="*/ 2147483647 h 1053"/>
                <a:gd name="T14" fmla="*/ 2147483647 w 1145"/>
                <a:gd name="T15" fmla="*/ 2147483647 h 1053"/>
                <a:gd name="T16" fmla="*/ 2147483647 w 1145"/>
                <a:gd name="T17" fmla="*/ 2147483647 h 1053"/>
                <a:gd name="T18" fmla="*/ 2147483647 w 1145"/>
                <a:gd name="T19" fmla="*/ 2147483647 h 1053"/>
                <a:gd name="T20" fmla="*/ 2147483647 w 1145"/>
                <a:gd name="T21" fmla="*/ 2147483647 h 1053"/>
                <a:gd name="T22" fmla="*/ 2147483647 w 1145"/>
                <a:gd name="T23" fmla="*/ 2147483647 h 1053"/>
                <a:gd name="T24" fmla="*/ 2147483647 w 1145"/>
                <a:gd name="T25" fmla="*/ 2147483647 h 1053"/>
                <a:gd name="T26" fmla="*/ 2147483647 w 1145"/>
                <a:gd name="T27" fmla="*/ 2147483647 h 1053"/>
                <a:gd name="T28" fmla="*/ 2147483647 w 1145"/>
                <a:gd name="T29" fmla="*/ 2147483647 h 1053"/>
                <a:gd name="T30" fmla="*/ 2147483647 w 1145"/>
                <a:gd name="T31" fmla="*/ 2147483647 h 1053"/>
                <a:gd name="T32" fmla="*/ 2147483647 w 1145"/>
                <a:gd name="T33" fmla="*/ 2147483647 h 1053"/>
                <a:gd name="T34" fmla="*/ 2147483647 w 1145"/>
                <a:gd name="T35" fmla="*/ 2147483647 h 1053"/>
                <a:gd name="T36" fmla="*/ 2147483647 w 1145"/>
                <a:gd name="T37" fmla="*/ 2147483647 h 1053"/>
                <a:gd name="T38" fmla="*/ 2147483647 w 1145"/>
                <a:gd name="T39" fmla="*/ 2147483647 h 1053"/>
                <a:gd name="T40" fmla="*/ 2147483647 w 1145"/>
                <a:gd name="T41" fmla="*/ 2147483647 h 1053"/>
                <a:gd name="T42" fmla="*/ 2147483647 w 1145"/>
                <a:gd name="T43" fmla="*/ 2147483647 h 1053"/>
                <a:gd name="T44" fmla="*/ 2147483647 w 1145"/>
                <a:gd name="T45" fmla="*/ 2147483647 h 1053"/>
                <a:gd name="T46" fmla="*/ 2147483647 w 1145"/>
                <a:gd name="T47" fmla="*/ 2147483647 h 1053"/>
                <a:gd name="T48" fmla="*/ 2147483647 w 1145"/>
                <a:gd name="T49" fmla="*/ 2147483647 h 1053"/>
                <a:gd name="T50" fmla="*/ 2147483647 w 1145"/>
                <a:gd name="T51" fmla="*/ 2147483647 h 1053"/>
                <a:gd name="T52" fmla="*/ 2147483647 w 1145"/>
                <a:gd name="T53" fmla="*/ 2147483647 h 1053"/>
                <a:gd name="T54" fmla="*/ 2147483647 w 1145"/>
                <a:gd name="T55" fmla="*/ 2147483647 h 1053"/>
                <a:gd name="T56" fmla="*/ 2147483647 w 1145"/>
                <a:gd name="T57" fmla="*/ 2147483647 h 1053"/>
                <a:gd name="T58" fmla="*/ 2147483647 w 1145"/>
                <a:gd name="T59" fmla="*/ 2147483647 h 1053"/>
                <a:gd name="T60" fmla="*/ 2147483647 w 1145"/>
                <a:gd name="T61" fmla="*/ 2147483647 h 1053"/>
                <a:gd name="T62" fmla="*/ 2147483647 w 1145"/>
                <a:gd name="T63" fmla="*/ 2147483647 h 1053"/>
                <a:gd name="T64" fmla="*/ 2147483647 w 1145"/>
                <a:gd name="T65" fmla="*/ 2147483647 h 1053"/>
                <a:gd name="T66" fmla="*/ 2147483647 w 1145"/>
                <a:gd name="T67" fmla="*/ 2147483647 h 1053"/>
                <a:gd name="T68" fmla="*/ 2147483647 w 1145"/>
                <a:gd name="T69" fmla="*/ 2147483647 h 1053"/>
                <a:gd name="T70" fmla="*/ 2147483647 w 1145"/>
                <a:gd name="T71" fmla="*/ 2147483647 h 1053"/>
                <a:gd name="T72" fmla="*/ 2147483647 w 1145"/>
                <a:gd name="T73" fmla="*/ 2147483647 h 1053"/>
                <a:gd name="T74" fmla="*/ 2147483647 w 1145"/>
                <a:gd name="T75" fmla="*/ 2147483647 h 1053"/>
                <a:gd name="T76" fmla="*/ 2147483647 w 1145"/>
                <a:gd name="T77" fmla="*/ 2147483647 h 1053"/>
                <a:gd name="T78" fmla="*/ 2147483647 w 1145"/>
                <a:gd name="T79" fmla="*/ 2147483647 h 1053"/>
                <a:gd name="T80" fmla="*/ 2147483647 w 1145"/>
                <a:gd name="T81" fmla="*/ 2147483647 h 1053"/>
                <a:gd name="T82" fmla="*/ 2147483647 w 1145"/>
                <a:gd name="T83" fmla="*/ 2147483647 h 1053"/>
                <a:gd name="T84" fmla="*/ 2147483647 w 1145"/>
                <a:gd name="T85" fmla="*/ 2147483647 h 1053"/>
                <a:gd name="T86" fmla="*/ 2147483647 w 1145"/>
                <a:gd name="T87" fmla="*/ 2147483647 h 1053"/>
                <a:gd name="T88" fmla="*/ 2147483647 w 1145"/>
                <a:gd name="T89" fmla="*/ 2147483647 h 1053"/>
                <a:gd name="T90" fmla="*/ 2147483647 w 1145"/>
                <a:gd name="T91" fmla="*/ 2147483647 h 1053"/>
                <a:gd name="T92" fmla="*/ 2147483647 w 1145"/>
                <a:gd name="T93" fmla="*/ 2147483647 h 1053"/>
                <a:gd name="T94" fmla="*/ 2147483647 w 1145"/>
                <a:gd name="T95" fmla="*/ 2147483647 h 1053"/>
                <a:gd name="T96" fmla="*/ 2147483647 w 1145"/>
                <a:gd name="T97" fmla="*/ 2147483647 h 1053"/>
                <a:gd name="T98" fmla="*/ 2147483647 w 1145"/>
                <a:gd name="T99" fmla="*/ 2147483647 h 1053"/>
                <a:gd name="T100" fmla="*/ 2147483647 w 1145"/>
                <a:gd name="T101" fmla="*/ 2147483647 h 1053"/>
                <a:gd name="T102" fmla="*/ 2147483647 w 1145"/>
                <a:gd name="T103" fmla="*/ 2147483647 h 1053"/>
                <a:gd name="T104" fmla="*/ 2147483647 w 1145"/>
                <a:gd name="T105" fmla="*/ 2147483647 h 1053"/>
                <a:gd name="T106" fmla="*/ 2147483647 w 1145"/>
                <a:gd name="T107" fmla="*/ 2147483647 h 1053"/>
                <a:gd name="T108" fmla="*/ 2147483647 w 1145"/>
                <a:gd name="T109" fmla="*/ 2147483647 h 1053"/>
                <a:gd name="T110" fmla="*/ 2147483647 w 1145"/>
                <a:gd name="T111" fmla="*/ 2147483647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45"/>
                <a:gd name="T169" fmla="*/ 0 h 1053"/>
                <a:gd name="T170" fmla="*/ 1145 w 1145"/>
                <a:gd name="T171" fmla="*/ 1053 h 105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chemeClr val="accent1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87" name="Freeform 257"/>
            <p:cNvSpPr>
              <a:spLocks/>
            </p:cNvSpPr>
            <p:nvPr>
              <p:custDataLst>
                <p:tags r:id="rId391"/>
              </p:custDataLst>
            </p:nvPr>
          </p:nvSpPr>
          <p:spPr bwMode="auto">
            <a:xfrm>
              <a:off x="5065309" y="3053201"/>
              <a:ext cx="248676" cy="228500"/>
            </a:xfrm>
            <a:custGeom>
              <a:avLst/>
              <a:gdLst>
                <a:gd name="T0" fmla="*/ 2147483647 w 571"/>
                <a:gd name="T1" fmla="*/ 2147483647 h 443"/>
                <a:gd name="T2" fmla="*/ 2147483647 w 571"/>
                <a:gd name="T3" fmla="*/ 2147483647 h 443"/>
                <a:gd name="T4" fmla="*/ 2147483647 w 571"/>
                <a:gd name="T5" fmla="*/ 2147483647 h 443"/>
                <a:gd name="T6" fmla="*/ 2147483647 w 571"/>
                <a:gd name="T7" fmla="*/ 2147483647 h 443"/>
                <a:gd name="T8" fmla="*/ 2147483647 w 571"/>
                <a:gd name="T9" fmla="*/ 2147483647 h 443"/>
                <a:gd name="T10" fmla="*/ 2147483647 w 571"/>
                <a:gd name="T11" fmla="*/ 2147483647 h 443"/>
                <a:gd name="T12" fmla="*/ 2147483647 w 571"/>
                <a:gd name="T13" fmla="*/ 2147483647 h 443"/>
                <a:gd name="T14" fmla="*/ 2147483647 w 571"/>
                <a:gd name="T15" fmla="*/ 2147483647 h 443"/>
                <a:gd name="T16" fmla="*/ 2147483647 w 571"/>
                <a:gd name="T17" fmla="*/ 2147483647 h 443"/>
                <a:gd name="T18" fmla="*/ 2147483647 w 571"/>
                <a:gd name="T19" fmla="*/ 2147483647 h 443"/>
                <a:gd name="T20" fmla="*/ 2147483647 w 571"/>
                <a:gd name="T21" fmla="*/ 2147483647 h 443"/>
                <a:gd name="T22" fmla="*/ 2147483647 w 571"/>
                <a:gd name="T23" fmla="*/ 2147483647 h 443"/>
                <a:gd name="T24" fmla="*/ 2147483647 w 571"/>
                <a:gd name="T25" fmla="*/ 2147483647 h 443"/>
                <a:gd name="T26" fmla="*/ 2147483647 w 571"/>
                <a:gd name="T27" fmla="*/ 2147483647 h 443"/>
                <a:gd name="T28" fmla="*/ 2147483647 w 571"/>
                <a:gd name="T29" fmla="*/ 2147483647 h 443"/>
                <a:gd name="T30" fmla="*/ 2147483647 w 571"/>
                <a:gd name="T31" fmla="*/ 2147483647 h 443"/>
                <a:gd name="T32" fmla="*/ 2147483647 w 571"/>
                <a:gd name="T33" fmla="*/ 2147483647 h 443"/>
                <a:gd name="T34" fmla="*/ 2147483647 w 571"/>
                <a:gd name="T35" fmla="*/ 2147483647 h 443"/>
                <a:gd name="T36" fmla="*/ 2147483647 w 571"/>
                <a:gd name="T37" fmla="*/ 2147483647 h 443"/>
                <a:gd name="T38" fmla="*/ 2147483647 w 571"/>
                <a:gd name="T39" fmla="*/ 2147483647 h 443"/>
                <a:gd name="T40" fmla="*/ 2147483647 w 571"/>
                <a:gd name="T41" fmla="*/ 2147483647 h 443"/>
                <a:gd name="T42" fmla="*/ 2147483647 w 571"/>
                <a:gd name="T43" fmla="*/ 2147483647 h 443"/>
                <a:gd name="T44" fmla="*/ 2147483647 w 571"/>
                <a:gd name="T45" fmla="*/ 2147483647 h 443"/>
                <a:gd name="T46" fmla="*/ 2147483647 w 571"/>
                <a:gd name="T47" fmla="*/ 2147483647 h 443"/>
                <a:gd name="T48" fmla="*/ 2147483647 w 571"/>
                <a:gd name="T49" fmla="*/ 2147483647 h 443"/>
                <a:gd name="T50" fmla="*/ 2147483647 w 571"/>
                <a:gd name="T51" fmla="*/ 2147483647 h 443"/>
                <a:gd name="T52" fmla="*/ 2147483647 w 571"/>
                <a:gd name="T53" fmla="*/ 2147483647 h 443"/>
                <a:gd name="T54" fmla="*/ 2147483647 w 571"/>
                <a:gd name="T55" fmla="*/ 2147483647 h 443"/>
                <a:gd name="T56" fmla="*/ 2147483647 w 571"/>
                <a:gd name="T57" fmla="*/ 2147483647 h 443"/>
                <a:gd name="T58" fmla="*/ 2147483647 w 571"/>
                <a:gd name="T59" fmla="*/ 2147483647 h 443"/>
                <a:gd name="T60" fmla="*/ 2147483647 w 571"/>
                <a:gd name="T61" fmla="*/ 2147483647 h 443"/>
                <a:gd name="T62" fmla="*/ 2147483647 w 571"/>
                <a:gd name="T63" fmla="*/ 2147483647 h 443"/>
                <a:gd name="T64" fmla="*/ 2147483647 w 571"/>
                <a:gd name="T65" fmla="*/ 2147483647 h 443"/>
                <a:gd name="T66" fmla="*/ 2147483647 w 571"/>
                <a:gd name="T67" fmla="*/ 2147483647 h 443"/>
                <a:gd name="T68" fmla="*/ 2147483647 w 571"/>
                <a:gd name="T69" fmla="*/ 2147483647 h 443"/>
                <a:gd name="T70" fmla="*/ 2147483647 w 571"/>
                <a:gd name="T71" fmla="*/ 2147483647 h 443"/>
                <a:gd name="T72" fmla="*/ 2147483647 w 571"/>
                <a:gd name="T73" fmla="*/ 2147483647 h 443"/>
                <a:gd name="T74" fmla="*/ 2147483647 w 571"/>
                <a:gd name="T75" fmla="*/ 2147483647 h 443"/>
                <a:gd name="T76" fmla="*/ 2147483647 w 571"/>
                <a:gd name="T77" fmla="*/ 2147483647 h 443"/>
                <a:gd name="T78" fmla="*/ 2147483647 w 571"/>
                <a:gd name="T79" fmla="*/ 2147483647 h 443"/>
                <a:gd name="T80" fmla="*/ 2147483647 w 571"/>
                <a:gd name="T81" fmla="*/ 2147483647 h 443"/>
                <a:gd name="T82" fmla="*/ 0 w 571"/>
                <a:gd name="T83" fmla="*/ 2147483647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71"/>
                <a:gd name="T127" fmla="*/ 0 h 443"/>
                <a:gd name="T128" fmla="*/ 571 w 571"/>
                <a:gd name="T129" fmla="*/ 443 h 44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chemeClr val="accent1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88" name="Freeform 356"/>
            <p:cNvSpPr>
              <a:spLocks/>
            </p:cNvSpPr>
            <p:nvPr>
              <p:custDataLst>
                <p:tags r:id="rId392"/>
              </p:custDataLst>
            </p:nvPr>
          </p:nvSpPr>
          <p:spPr bwMode="auto">
            <a:xfrm>
              <a:off x="5042459" y="3274979"/>
              <a:ext cx="243299" cy="431462"/>
            </a:xfrm>
            <a:custGeom>
              <a:avLst/>
              <a:gdLst>
                <a:gd name="T0" fmla="*/ 2147483647 w 556"/>
                <a:gd name="T1" fmla="*/ 2147483647 h 819"/>
                <a:gd name="T2" fmla="*/ 2147483647 w 556"/>
                <a:gd name="T3" fmla="*/ 2147483647 h 819"/>
                <a:gd name="T4" fmla="*/ 2147483647 w 556"/>
                <a:gd name="T5" fmla="*/ 2147483647 h 819"/>
                <a:gd name="T6" fmla="*/ 2147483647 w 556"/>
                <a:gd name="T7" fmla="*/ 2147483647 h 819"/>
                <a:gd name="T8" fmla="*/ 2147483647 w 556"/>
                <a:gd name="T9" fmla="*/ 2147483647 h 819"/>
                <a:gd name="T10" fmla="*/ 2147483647 w 556"/>
                <a:gd name="T11" fmla="*/ 2147483647 h 819"/>
                <a:gd name="T12" fmla="*/ 2147483647 w 556"/>
                <a:gd name="T13" fmla="*/ 2147483647 h 819"/>
                <a:gd name="T14" fmla="*/ 2147483647 w 556"/>
                <a:gd name="T15" fmla="*/ 2147483647 h 819"/>
                <a:gd name="T16" fmla="*/ 2147483647 w 556"/>
                <a:gd name="T17" fmla="*/ 2147483647 h 819"/>
                <a:gd name="T18" fmla="*/ 2147483647 w 556"/>
                <a:gd name="T19" fmla="*/ 2147483647 h 819"/>
                <a:gd name="T20" fmla="*/ 2147483647 w 556"/>
                <a:gd name="T21" fmla="*/ 2147483647 h 819"/>
                <a:gd name="T22" fmla="*/ 2147483647 w 556"/>
                <a:gd name="T23" fmla="*/ 2147483647 h 819"/>
                <a:gd name="T24" fmla="*/ 2147483647 w 556"/>
                <a:gd name="T25" fmla="*/ 2147483647 h 819"/>
                <a:gd name="T26" fmla="*/ 2147483647 w 556"/>
                <a:gd name="T27" fmla="*/ 2147483647 h 819"/>
                <a:gd name="T28" fmla="*/ 2147483647 w 556"/>
                <a:gd name="T29" fmla="*/ 2147483647 h 819"/>
                <a:gd name="T30" fmla="*/ 2147483647 w 556"/>
                <a:gd name="T31" fmla="*/ 2147483647 h 819"/>
                <a:gd name="T32" fmla="*/ 2147483647 w 556"/>
                <a:gd name="T33" fmla="*/ 2147483647 h 819"/>
                <a:gd name="T34" fmla="*/ 2147483647 w 556"/>
                <a:gd name="T35" fmla="*/ 2147483647 h 819"/>
                <a:gd name="T36" fmla="*/ 2147483647 w 556"/>
                <a:gd name="T37" fmla="*/ 2147483647 h 819"/>
                <a:gd name="T38" fmla="*/ 2147483647 w 556"/>
                <a:gd name="T39" fmla="*/ 2147483647 h 819"/>
                <a:gd name="T40" fmla="*/ 2147483647 w 556"/>
                <a:gd name="T41" fmla="*/ 2147483647 h 819"/>
                <a:gd name="T42" fmla="*/ 2147483647 w 556"/>
                <a:gd name="T43" fmla="*/ 2147483647 h 819"/>
                <a:gd name="T44" fmla="*/ 2147483647 w 556"/>
                <a:gd name="T45" fmla="*/ 2147483647 h 819"/>
                <a:gd name="T46" fmla="*/ 2147483647 w 556"/>
                <a:gd name="T47" fmla="*/ 2147483647 h 819"/>
                <a:gd name="T48" fmla="*/ 2147483647 w 556"/>
                <a:gd name="T49" fmla="*/ 2147483647 h 819"/>
                <a:gd name="T50" fmla="*/ 2147483647 w 556"/>
                <a:gd name="T51" fmla="*/ 2147483647 h 819"/>
                <a:gd name="T52" fmla="*/ 2147483647 w 556"/>
                <a:gd name="T53" fmla="*/ 2147483647 h 819"/>
                <a:gd name="T54" fmla="*/ 2147483647 w 556"/>
                <a:gd name="T55" fmla="*/ 2147483647 h 819"/>
                <a:gd name="T56" fmla="*/ 2147483647 w 556"/>
                <a:gd name="T57" fmla="*/ 2147483647 h 819"/>
                <a:gd name="T58" fmla="*/ 2147483647 w 556"/>
                <a:gd name="T59" fmla="*/ 2147483647 h 819"/>
                <a:gd name="T60" fmla="*/ 2147483647 w 556"/>
                <a:gd name="T61" fmla="*/ 2147483647 h 819"/>
                <a:gd name="T62" fmla="*/ 2147483647 w 556"/>
                <a:gd name="T63" fmla="*/ 2147483647 h 819"/>
                <a:gd name="T64" fmla="*/ 2147483647 w 556"/>
                <a:gd name="T65" fmla="*/ 2147483647 h 819"/>
                <a:gd name="T66" fmla="*/ 2147483647 w 556"/>
                <a:gd name="T67" fmla="*/ 2147483647 h 819"/>
                <a:gd name="T68" fmla="*/ 2147483647 w 556"/>
                <a:gd name="T69" fmla="*/ 2147483647 h 819"/>
                <a:gd name="T70" fmla="*/ 2147483647 w 556"/>
                <a:gd name="T71" fmla="*/ 2147483647 h 819"/>
                <a:gd name="T72" fmla="*/ 2147483647 w 556"/>
                <a:gd name="T73" fmla="*/ 2147483647 h 819"/>
                <a:gd name="T74" fmla="*/ 2147483647 w 556"/>
                <a:gd name="T75" fmla="*/ 2147483647 h 819"/>
                <a:gd name="T76" fmla="*/ 2147483647 w 556"/>
                <a:gd name="T77" fmla="*/ 2147483647 h 819"/>
                <a:gd name="T78" fmla="*/ 2147483647 w 556"/>
                <a:gd name="T79" fmla="*/ 2147483647 h 819"/>
                <a:gd name="T80" fmla="*/ 2147483647 w 556"/>
                <a:gd name="T81" fmla="*/ 2147483647 h 819"/>
                <a:gd name="T82" fmla="*/ 2147483647 w 556"/>
                <a:gd name="T83" fmla="*/ 2147483647 h 819"/>
                <a:gd name="T84" fmla="*/ 2147483647 w 556"/>
                <a:gd name="T85" fmla="*/ 2147483647 h 819"/>
                <a:gd name="T86" fmla="*/ 2147483647 w 556"/>
                <a:gd name="T87" fmla="*/ 2147483647 h 819"/>
                <a:gd name="T88" fmla="*/ 2147483647 w 556"/>
                <a:gd name="T89" fmla="*/ 2147483647 h 819"/>
                <a:gd name="T90" fmla="*/ 2147483647 w 556"/>
                <a:gd name="T91" fmla="*/ 2147483647 h 819"/>
                <a:gd name="T92" fmla="*/ 2147483647 w 556"/>
                <a:gd name="T93" fmla="*/ 2147483647 h 819"/>
                <a:gd name="T94" fmla="*/ 2147483647 w 556"/>
                <a:gd name="T95" fmla="*/ 2147483647 h 819"/>
                <a:gd name="T96" fmla="*/ 2147483647 w 556"/>
                <a:gd name="T97" fmla="*/ 2147483647 h 819"/>
                <a:gd name="T98" fmla="*/ 2147483647 w 556"/>
                <a:gd name="T99" fmla="*/ 2147483647 h 819"/>
                <a:gd name="T100" fmla="*/ 2147483647 w 556"/>
                <a:gd name="T101" fmla="*/ 2147483647 h 819"/>
                <a:gd name="T102" fmla="*/ 2147483647 w 556"/>
                <a:gd name="T103" fmla="*/ 2147483647 h 819"/>
                <a:gd name="T104" fmla="*/ 2147483647 w 556"/>
                <a:gd name="T105" fmla="*/ 2147483647 h 819"/>
                <a:gd name="T106" fmla="*/ 2147483647 w 556"/>
                <a:gd name="T107" fmla="*/ 2147483647 h 819"/>
                <a:gd name="T108" fmla="*/ 2147483647 w 556"/>
                <a:gd name="T109" fmla="*/ 2147483647 h 819"/>
                <a:gd name="T110" fmla="*/ 2147483647 w 556"/>
                <a:gd name="T111" fmla="*/ 2147483647 h 819"/>
                <a:gd name="T112" fmla="*/ 2147483647 w 556"/>
                <a:gd name="T113" fmla="*/ 2147483647 h 819"/>
                <a:gd name="T114" fmla="*/ 2147483647 w 556"/>
                <a:gd name="T115" fmla="*/ 2147483647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56"/>
                <a:gd name="T175" fmla="*/ 0 h 819"/>
                <a:gd name="T176" fmla="*/ 556 w 556"/>
                <a:gd name="T177" fmla="*/ 819 h 81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chemeClr val="accent1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65" name="Freeform 450"/>
            <p:cNvSpPr>
              <a:spLocks/>
            </p:cNvSpPr>
            <p:nvPr>
              <p:custDataLst>
                <p:tags r:id="rId393"/>
              </p:custDataLst>
            </p:nvPr>
          </p:nvSpPr>
          <p:spPr bwMode="auto">
            <a:xfrm>
              <a:off x="2031466" y="3281700"/>
              <a:ext cx="298411" cy="524206"/>
            </a:xfrm>
            <a:custGeom>
              <a:avLst/>
              <a:gdLst>
                <a:gd name="T0" fmla="*/ 127747954 w 684"/>
                <a:gd name="T1" fmla="*/ 157887973 h 998"/>
                <a:gd name="T2" fmla="*/ 129461422 w 684"/>
                <a:gd name="T3" fmla="*/ 151550557 h 998"/>
                <a:gd name="T4" fmla="*/ 127747954 w 684"/>
                <a:gd name="T5" fmla="*/ 135293081 h 998"/>
                <a:gd name="T6" fmla="*/ 125463328 w 684"/>
                <a:gd name="T7" fmla="*/ 116555893 h 998"/>
                <a:gd name="T8" fmla="*/ 129080506 w 684"/>
                <a:gd name="T9" fmla="*/ 107187561 h 998"/>
                <a:gd name="T10" fmla="*/ 106043987 w 684"/>
                <a:gd name="T11" fmla="*/ 99472218 h 998"/>
                <a:gd name="T12" fmla="*/ 101474736 w 684"/>
                <a:gd name="T13" fmla="*/ 89828301 h 998"/>
                <a:gd name="T14" fmla="*/ 87957661 w 684"/>
                <a:gd name="T15" fmla="*/ 85419458 h 998"/>
                <a:gd name="T16" fmla="*/ 76534535 w 684"/>
                <a:gd name="T17" fmla="*/ 74397614 h 998"/>
                <a:gd name="T18" fmla="*/ 71394129 w 684"/>
                <a:gd name="T19" fmla="*/ 55384824 h 998"/>
                <a:gd name="T20" fmla="*/ 71394129 w 684"/>
                <a:gd name="T21" fmla="*/ 36647636 h 998"/>
                <a:gd name="T22" fmla="*/ 75201983 w 684"/>
                <a:gd name="T23" fmla="*/ 23146039 h 998"/>
                <a:gd name="T24" fmla="*/ 82817255 w 684"/>
                <a:gd name="T25" fmla="*/ 13226007 h 998"/>
                <a:gd name="T26" fmla="*/ 88147901 w 684"/>
                <a:gd name="T27" fmla="*/ 3030916 h 998"/>
                <a:gd name="T28" fmla="*/ 74059670 w 684"/>
                <a:gd name="T29" fmla="*/ 10746263 h 998"/>
                <a:gd name="T30" fmla="*/ 63778857 w 684"/>
                <a:gd name="T31" fmla="*/ 18737196 h 998"/>
                <a:gd name="T32" fmla="*/ 57876617 w 684"/>
                <a:gd name="T33" fmla="*/ 21492526 h 998"/>
                <a:gd name="T34" fmla="*/ 52926873 w 684"/>
                <a:gd name="T35" fmla="*/ 23146039 h 998"/>
                <a:gd name="T36" fmla="*/ 45882758 w 684"/>
                <a:gd name="T37" fmla="*/ 22319282 h 998"/>
                <a:gd name="T38" fmla="*/ 41313507 w 684"/>
                <a:gd name="T39" fmla="*/ 29759041 h 998"/>
                <a:gd name="T40" fmla="*/ 37315413 w 684"/>
                <a:gd name="T41" fmla="*/ 48220651 h 998"/>
                <a:gd name="T42" fmla="*/ 29890381 w 684"/>
                <a:gd name="T43" fmla="*/ 62548996 h 998"/>
                <a:gd name="T44" fmla="*/ 20370957 w 684"/>
                <a:gd name="T45" fmla="*/ 78255285 h 998"/>
                <a:gd name="T46" fmla="*/ 17134696 w 684"/>
                <a:gd name="T47" fmla="*/ 87348031 h 998"/>
                <a:gd name="T48" fmla="*/ 16372863 w 684"/>
                <a:gd name="T49" fmla="*/ 98094290 h 998"/>
                <a:gd name="T50" fmla="*/ 18467248 w 684"/>
                <a:gd name="T51" fmla="*/ 105258463 h 998"/>
                <a:gd name="T52" fmla="*/ 18467248 w 684"/>
                <a:gd name="T53" fmla="*/ 124271236 h 998"/>
                <a:gd name="T54" fmla="*/ 18086332 w 684"/>
                <a:gd name="T55" fmla="*/ 144661970 h 998"/>
                <a:gd name="T56" fmla="*/ 13707755 w 684"/>
                <a:gd name="T57" fmla="*/ 155132643 h 998"/>
                <a:gd name="T58" fmla="*/ 7044117 w 684"/>
                <a:gd name="T59" fmla="*/ 163123572 h 998"/>
                <a:gd name="T60" fmla="*/ 2094386 w 684"/>
                <a:gd name="T61" fmla="*/ 168634232 h 998"/>
                <a:gd name="T62" fmla="*/ 5711565 w 684"/>
                <a:gd name="T63" fmla="*/ 184064919 h 998"/>
                <a:gd name="T64" fmla="*/ 23417415 w 684"/>
                <a:gd name="T65" fmla="*/ 199771192 h 998"/>
                <a:gd name="T66" fmla="*/ 33317319 w 684"/>
                <a:gd name="T67" fmla="*/ 200597423 h 998"/>
                <a:gd name="T68" fmla="*/ 44549769 w 684"/>
                <a:gd name="T69" fmla="*/ 205557437 h 998"/>
                <a:gd name="T70" fmla="*/ 56924968 w 684"/>
                <a:gd name="T71" fmla="*/ 219059026 h 998"/>
                <a:gd name="T72" fmla="*/ 64159337 w 684"/>
                <a:gd name="T73" fmla="*/ 234214127 h 998"/>
                <a:gd name="T74" fmla="*/ 69870900 w 684"/>
                <a:gd name="T75" fmla="*/ 242756227 h 998"/>
                <a:gd name="T76" fmla="*/ 78438244 w 684"/>
                <a:gd name="T77" fmla="*/ 244133630 h 998"/>
                <a:gd name="T78" fmla="*/ 87957661 w 684"/>
                <a:gd name="T79" fmla="*/ 241378300 h 998"/>
                <a:gd name="T80" fmla="*/ 93669224 w 684"/>
                <a:gd name="T81" fmla="*/ 241929471 h 998"/>
                <a:gd name="T82" fmla="*/ 98047799 w 684"/>
                <a:gd name="T83" fmla="*/ 249093643 h 998"/>
                <a:gd name="T84" fmla="*/ 97667319 w 684"/>
                <a:gd name="T85" fmla="*/ 254053657 h 998"/>
                <a:gd name="T86" fmla="*/ 92907392 w 684"/>
                <a:gd name="T87" fmla="*/ 258186914 h 998"/>
                <a:gd name="T88" fmla="*/ 92907392 w 684"/>
                <a:gd name="T89" fmla="*/ 265351087 h 998"/>
                <a:gd name="T90" fmla="*/ 97286402 w 684"/>
                <a:gd name="T91" fmla="*/ 273892662 h 998"/>
                <a:gd name="T92" fmla="*/ 103188205 w 684"/>
                <a:gd name="T93" fmla="*/ 265075502 h 998"/>
                <a:gd name="T94" fmla="*/ 107757456 w 684"/>
                <a:gd name="T95" fmla="*/ 237245043 h 998"/>
                <a:gd name="T96" fmla="*/ 108709528 w 684"/>
                <a:gd name="T97" fmla="*/ 221263710 h 998"/>
                <a:gd name="T98" fmla="*/ 105663070 w 684"/>
                <a:gd name="T99" fmla="*/ 212446024 h 998"/>
                <a:gd name="T100" fmla="*/ 99571027 w 684"/>
                <a:gd name="T101" fmla="*/ 206384193 h 998"/>
                <a:gd name="T102" fmla="*/ 99190111 w 684"/>
                <a:gd name="T103" fmla="*/ 199220021 h 998"/>
                <a:gd name="T104" fmla="*/ 107757456 w 684"/>
                <a:gd name="T105" fmla="*/ 192882080 h 998"/>
                <a:gd name="T106" fmla="*/ 105853747 w 684"/>
                <a:gd name="T107" fmla="*/ 183238163 h 998"/>
                <a:gd name="T108" fmla="*/ 105853747 w 684"/>
                <a:gd name="T109" fmla="*/ 178829320 h 998"/>
                <a:gd name="T110" fmla="*/ 124701496 w 684"/>
                <a:gd name="T111" fmla="*/ 173043075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84"/>
                <a:gd name="T169" fmla="*/ 0 h 998"/>
                <a:gd name="T170" fmla="*/ 684 w 684"/>
                <a:gd name="T171" fmla="*/ 998 h 99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chemeClr val="accent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US" altLang="en-US" sz="1800" baseline="-25000" smtClean="0"/>
            </a:p>
          </p:txBody>
        </p:sp>
        <p:sp>
          <p:nvSpPr>
            <p:cNvPr id="15790" name="Freeform 565"/>
            <p:cNvSpPr>
              <a:spLocks/>
            </p:cNvSpPr>
            <p:nvPr/>
          </p:nvSpPr>
          <p:spPr bwMode="auto">
            <a:xfrm>
              <a:off x="4610972" y="3261538"/>
              <a:ext cx="275560" cy="245974"/>
            </a:xfrm>
            <a:custGeom>
              <a:avLst/>
              <a:gdLst>
                <a:gd name="T0" fmla="*/ 140864 w 274304"/>
                <a:gd name="T1" fmla="*/ 231003 h 245329"/>
                <a:gd name="T2" fmla="*/ 80495 w 274304"/>
                <a:gd name="T3" fmla="*/ 226088 h 245329"/>
                <a:gd name="T4" fmla="*/ 83009 w 274304"/>
                <a:gd name="T5" fmla="*/ 203970 h 245329"/>
                <a:gd name="T6" fmla="*/ 47794 w 274304"/>
                <a:gd name="T7" fmla="*/ 157278 h 245329"/>
                <a:gd name="T8" fmla="*/ 45279 w 274304"/>
                <a:gd name="T9" fmla="*/ 127788 h 245329"/>
                <a:gd name="T10" fmla="*/ 42762 w 274304"/>
                <a:gd name="T11" fmla="*/ 120416 h 245329"/>
                <a:gd name="T12" fmla="*/ 5032 w 274304"/>
                <a:gd name="T13" fmla="*/ 105671 h 245329"/>
                <a:gd name="T14" fmla="*/ 0 w 274304"/>
                <a:gd name="T15" fmla="*/ 66352 h 245329"/>
                <a:gd name="T16" fmla="*/ 40246 w 274304"/>
                <a:gd name="T17" fmla="*/ 41777 h 245329"/>
                <a:gd name="T18" fmla="*/ 67917 w 274304"/>
                <a:gd name="T19" fmla="*/ 58979 h 245329"/>
                <a:gd name="T20" fmla="*/ 85526 w 274304"/>
                <a:gd name="T21" fmla="*/ 31947 h 245329"/>
                <a:gd name="T22" fmla="*/ 95588 w 274304"/>
                <a:gd name="T23" fmla="*/ 63895 h 245329"/>
                <a:gd name="T24" fmla="*/ 128288 w 274304"/>
                <a:gd name="T25" fmla="*/ 34406 h 245329"/>
                <a:gd name="T26" fmla="*/ 150925 w 274304"/>
                <a:gd name="T27" fmla="*/ 68809 h 245329"/>
                <a:gd name="T28" fmla="*/ 178596 w 274304"/>
                <a:gd name="T29" fmla="*/ 73724 h 245329"/>
                <a:gd name="T30" fmla="*/ 186144 w 274304"/>
                <a:gd name="T31" fmla="*/ 44235 h 245329"/>
                <a:gd name="T32" fmla="*/ 166020 w 274304"/>
                <a:gd name="T33" fmla="*/ 9830 h 245329"/>
                <a:gd name="T34" fmla="*/ 163503 w 274304"/>
                <a:gd name="T35" fmla="*/ 0 h 245329"/>
                <a:gd name="T36" fmla="*/ 188658 w 274304"/>
                <a:gd name="T37" fmla="*/ 0 h 245329"/>
                <a:gd name="T38" fmla="*/ 201234 w 274304"/>
                <a:gd name="T39" fmla="*/ 14746 h 245329"/>
                <a:gd name="T40" fmla="*/ 201234 w 274304"/>
                <a:gd name="T41" fmla="*/ 34406 h 245329"/>
                <a:gd name="T42" fmla="*/ 198718 w 274304"/>
                <a:gd name="T43" fmla="*/ 63895 h 245329"/>
                <a:gd name="T44" fmla="*/ 198718 w 274304"/>
                <a:gd name="T45" fmla="*/ 78639 h 245329"/>
                <a:gd name="T46" fmla="*/ 208781 w 274304"/>
                <a:gd name="T47" fmla="*/ 88469 h 245329"/>
                <a:gd name="T48" fmla="*/ 241484 w 274304"/>
                <a:gd name="T49" fmla="*/ 98298 h 245329"/>
                <a:gd name="T50" fmla="*/ 223873 w 274304"/>
                <a:gd name="T51" fmla="*/ 125332 h 245329"/>
                <a:gd name="T52" fmla="*/ 226388 w 274304"/>
                <a:gd name="T53" fmla="*/ 144989 h 245329"/>
                <a:gd name="T54" fmla="*/ 259091 w 274304"/>
                <a:gd name="T55" fmla="*/ 159735 h 245329"/>
                <a:gd name="T56" fmla="*/ 264120 w 274304"/>
                <a:gd name="T57" fmla="*/ 174482 h 245329"/>
                <a:gd name="T58" fmla="*/ 289278 w 274304"/>
                <a:gd name="T59" fmla="*/ 218717 h 245329"/>
                <a:gd name="T60" fmla="*/ 269152 w 274304"/>
                <a:gd name="T61" fmla="*/ 221171 h 245329"/>
                <a:gd name="T62" fmla="*/ 249027 w 274304"/>
                <a:gd name="T63" fmla="*/ 243291 h 245329"/>
                <a:gd name="T64" fmla="*/ 193689 w 274304"/>
                <a:gd name="T65" fmla="*/ 253121 h 245329"/>
                <a:gd name="T66" fmla="*/ 140863 w 274304"/>
                <a:gd name="T67" fmla="*/ 223629 h 245329"/>
                <a:gd name="T68" fmla="*/ 140864 w 274304"/>
                <a:gd name="T69" fmla="*/ 231003 h 24532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74304"/>
                <a:gd name="T106" fmla="*/ 0 h 245329"/>
                <a:gd name="T107" fmla="*/ 274304 w 274304"/>
                <a:gd name="T108" fmla="*/ 245329 h 24532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74304" h="245329">
                  <a:moveTo>
                    <a:pt x="133350" y="223838"/>
                  </a:moveTo>
                  <a:lnTo>
                    <a:pt x="76200" y="219075"/>
                  </a:lnTo>
                  <a:lnTo>
                    <a:pt x="78581" y="197644"/>
                  </a:lnTo>
                  <a:lnTo>
                    <a:pt x="45244" y="152400"/>
                  </a:lnTo>
                  <a:lnTo>
                    <a:pt x="42863" y="123825"/>
                  </a:lnTo>
                  <a:lnTo>
                    <a:pt x="40481" y="116681"/>
                  </a:lnTo>
                  <a:lnTo>
                    <a:pt x="4763" y="102394"/>
                  </a:lnTo>
                  <a:lnTo>
                    <a:pt x="0" y="64294"/>
                  </a:lnTo>
                  <a:lnTo>
                    <a:pt x="38100" y="40481"/>
                  </a:lnTo>
                  <a:lnTo>
                    <a:pt x="64294" y="57150"/>
                  </a:lnTo>
                  <a:lnTo>
                    <a:pt x="80963" y="30956"/>
                  </a:lnTo>
                  <a:lnTo>
                    <a:pt x="90488" y="61913"/>
                  </a:lnTo>
                  <a:lnTo>
                    <a:pt x="121444" y="33338"/>
                  </a:lnTo>
                  <a:lnTo>
                    <a:pt x="142875" y="66675"/>
                  </a:lnTo>
                  <a:lnTo>
                    <a:pt x="169069" y="71438"/>
                  </a:lnTo>
                  <a:lnTo>
                    <a:pt x="176213" y="42863"/>
                  </a:lnTo>
                  <a:lnTo>
                    <a:pt x="157163" y="9525"/>
                  </a:lnTo>
                  <a:lnTo>
                    <a:pt x="154781" y="0"/>
                  </a:lnTo>
                  <a:lnTo>
                    <a:pt x="178594" y="0"/>
                  </a:lnTo>
                  <a:lnTo>
                    <a:pt x="190500" y="14288"/>
                  </a:lnTo>
                  <a:lnTo>
                    <a:pt x="190500" y="33338"/>
                  </a:lnTo>
                  <a:lnTo>
                    <a:pt x="188119" y="61913"/>
                  </a:lnTo>
                  <a:lnTo>
                    <a:pt x="188119" y="76200"/>
                  </a:lnTo>
                  <a:lnTo>
                    <a:pt x="197644" y="85725"/>
                  </a:lnTo>
                  <a:lnTo>
                    <a:pt x="228600" y="95250"/>
                  </a:lnTo>
                  <a:lnTo>
                    <a:pt x="211931" y="121444"/>
                  </a:lnTo>
                  <a:lnTo>
                    <a:pt x="214312" y="140495"/>
                  </a:lnTo>
                  <a:lnTo>
                    <a:pt x="245269" y="154781"/>
                  </a:lnTo>
                  <a:lnTo>
                    <a:pt x="250031" y="169069"/>
                  </a:lnTo>
                  <a:cubicBezTo>
                    <a:pt x="251618" y="169863"/>
                    <a:pt x="274836" y="211931"/>
                    <a:pt x="273844" y="211931"/>
                  </a:cubicBezTo>
                  <a:cubicBezTo>
                    <a:pt x="277813" y="219472"/>
                    <a:pt x="254793" y="213817"/>
                    <a:pt x="254793" y="214313"/>
                  </a:cubicBezTo>
                  <a:cubicBezTo>
                    <a:pt x="251221" y="214710"/>
                    <a:pt x="236240" y="235745"/>
                    <a:pt x="235744" y="235745"/>
                  </a:cubicBezTo>
                  <a:cubicBezTo>
                    <a:pt x="232569" y="239317"/>
                    <a:pt x="183356" y="245269"/>
                    <a:pt x="183356" y="245269"/>
                  </a:cubicBezTo>
                  <a:cubicBezTo>
                    <a:pt x="174228" y="246856"/>
                    <a:pt x="133845" y="216693"/>
                    <a:pt x="133349" y="216693"/>
                  </a:cubicBezTo>
                  <a:cubicBezTo>
                    <a:pt x="133349" y="219075"/>
                    <a:pt x="133350" y="221456"/>
                    <a:pt x="133350" y="223838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91" name="Freeform 566"/>
            <p:cNvSpPr>
              <a:spLocks/>
            </p:cNvSpPr>
            <p:nvPr/>
          </p:nvSpPr>
          <p:spPr bwMode="auto">
            <a:xfrm>
              <a:off x="4557205" y="2942983"/>
              <a:ext cx="391161" cy="419364"/>
            </a:xfrm>
            <a:custGeom>
              <a:avLst/>
              <a:gdLst>
                <a:gd name="T0" fmla="*/ 24998 w 407193"/>
                <a:gd name="T1" fmla="*/ 198214 h 445294"/>
                <a:gd name="T2" fmla="*/ 0 w 407193"/>
                <a:gd name="T3" fmla="*/ 153005 h 445294"/>
                <a:gd name="T4" fmla="*/ 7352 w 407193"/>
                <a:gd name="T5" fmla="*/ 126348 h 445294"/>
                <a:gd name="T6" fmla="*/ 29410 w 407193"/>
                <a:gd name="T7" fmla="*/ 105482 h 445294"/>
                <a:gd name="T8" fmla="*/ 29410 w 407193"/>
                <a:gd name="T9" fmla="*/ 45208 h 445294"/>
                <a:gd name="T10" fmla="*/ 44116 w 407193"/>
                <a:gd name="T11" fmla="*/ 42888 h 445294"/>
                <a:gd name="T12" fmla="*/ 44116 w 407193"/>
                <a:gd name="T13" fmla="*/ 15069 h 445294"/>
                <a:gd name="T14" fmla="*/ 186754 w 407193"/>
                <a:gd name="T15" fmla="*/ 15069 h 445294"/>
                <a:gd name="T16" fmla="*/ 201460 w 407193"/>
                <a:gd name="T17" fmla="*/ 0 h 445294"/>
                <a:gd name="T18" fmla="*/ 213225 w 407193"/>
                <a:gd name="T19" fmla="*/ 3479 h 445294"/>
                <a:gd name="T20" fmla="*/ 229400 w 407193"/>
                <a:gd name="T21" fmla="*/ 22024 h 445294"/>
                <a:gd name="T22" fmla="*/ 230871 w 407193"/>
                <a:gd name="T23" fmla="*/ 46366 h 445294"/>
                <a:gd name="T24" fmla="*/ 233810 w 407193"/>
                <a:gd name="T25" fmla="*/ 63754 h 445294"/>
                <a:gd name="T26" fmla="*/ 251457 w 407193"/>
                <a:gd name="T27" fmla="*/ 71867 h 445294"/>
                <a:gd name="T28" fmla="*/ 245575 w 407193"/>
                <a:gd name="T29" fmla="*/ 79981 h 445294"/>
                <a:gd name="T30" fmla="*/ 230871 w 407193"/>
                <a:gd name="T31" fmla="*/ 97367 h 445294"/>
                <a:gd name="T32" fmla="*/ 227928 w 407193"/>
                <a:gd name="T33" fmla="*/ 115915 h 445294"/>
                <a:gd name="T34" fmla="*/ 226458 w 407193"/>
                <a:gd name="T35" fmla="*/ 136780 h 445294"/>
                <a:gd name="T36" fmla="*/ 219107 w 407193"/>
                <a:gd name="T37" fmla="*/ 159961 h 445294"/>
                <a:gd name="T38" fmla="*/ 201460 w 407193"/>
                <a:gd name="T39" fmla="*/ 183144 h 445294"/>
                <a:gd name="T40" fmla="*/ 192637 w 407193"/>
                <a:gd name="T41" fmla="*/ 216759 h 445294"/>
                <a:gd name="T42" fmla="*/ 163226 w 407193"/>
                <a:gd name="T43" fmla="*/ 205168 h 445294"/>
                <a:gd name="T44" fmla="*/ 161757 w 407193"/>
                <a:gd name="T45" fmla="*/ 183144 h 445294"/>
                <a:gd name="T46" fmla="*/ 161757 w 407193"/>
                <a:gd name="T47" fmla="*/ 173871 h 445294"/>
                <a:gd name="T48" fmla="*/ 149991 w 407193"/>
                <a:gd name="T49" fmla="*/ 162280 h 445294"/>
                <a:gd name="T50" fmla="*/ 127935 w 407193"/>
                <a:gd name="T51" fmla="*/ 162280 h 445294"/>
                <a:gd name="T52" fmla="*/ 127935 w 407193"/>
                <a:gd name="T53" fmla="*/ 172712 h 445294"/>
                <a:gd name="T54" fmla="*/ 138228 w 407193"/>
                <a:gd name="T55" fmla="*/ 183144 h 445294"/>
                <a:gd name="T56" fmla="*/ 139696 w 407193"/>
                <a:gd name="T57" fmla="*/ 194737 h 445294"/>
                <a:gd name="T58" fmla="*/ 111759 w 407193"/>
                <a:gd name="T59" fmla="*/ 180827 h 445294"/>
                <a:gd name="T60" fmla="*/ 98523 w 407193"/>
                <a:gd name="T61" fmla="*/ 186622 h 445294"/>
                <a:gd name="T62" fmla="*/ 83820 w 407193"/>
                <a:gd name="T63" fmla="*/ 176190 h 445294"/>
                <a:gd name="T64" fmla="*/ 74996 w 407193"/>
                <a:gd name="T65" fmla="*/ 187781 h 445294"/>
                <a:gd name="T66" fmla="*/ 69114 w 407193"/>
                <a:gd name="T67" fmla="*/ 187781 h 445294"/>
                <a:gd name="T68" fmla="*/ 61761 w 407193"/>
                <a:gd name="T69" fmla="*/ 179667 h 445294"/>
                <a:gd name="T70" fmla="*/ 24998 w 407193"/>
                <a:gd name="T71" fmla="*/ 198214 h 44529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07193"/>
                <a:gd name="T109" fmla="*/ 0 h 445294"/>
                <a:gd name="T110" fmla="*/ 407193 w 407193"/>
                <a:gd name="T111" fmla="*/ 445294 h 44529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07193" h="445294">
                  <a:moveTo>
                    <a:pt x="40481" y="407194"/>
                  </a:moveTo>
                  <a:lnTo>
                    <a:pt x="0" y="314325"/>
                  </a:lnTo>
                  <a:lnTo>
                    <a:pt x="11906" y="259557"/>
                  </a:lnTo>
                  <a:lnTo>
                    <a:pt x="47625" y="216694"/>
                  </a:lnTo>
                  <a:lnTo>
                    <a:pt x="47625" y="92869"/>
                  </a:lnTo>
                  <a:lnTo>
                    <a:pt x="71437" y="88107"/>
                  </a:lnTo>
                  <a:lnTo>
                    <a:pt x="71437" y="30957"/>
                  </a:lnTo>
                  <a:lnTo>
                    <a:pt x="302418" y="30957"/>
                  </a:lnTo>
                  <a:lnTo>
                    <a:pt x="326231" y="0"/>
                  </a:lnTo>
                  <a:lnTo>
                    <a:pt x="345281" y="7144"/>
                  </a:lnTo>
                  <a:lnTo>
                    <a:pt x="371475" y="45244"/>
                  </a:lnTo>
                  <a:lnTo>
                    <a:pt x="373856" y="95250"/>
                  </a:lnTo>
                  <a:lnTo>
                    <a:pt x="378618" y="130969"/>
                  </a:lnTo>
                  <a:lnTo>
                    <a:pt x="407193" y="147638"/>
                  </a:lnTo>
                  <a:lnTo>
                    <a:pt x="397668" y="164307"/>
                  </a:lnTo>
                  <a:lnTo>
                    <a:pt x="373856" y="200025"/>
                  </a:lnTo>
                  <a:lnTo>
                    <a:pt x="369093" y="238125"/>
                  </a:lnTo>
                  <a:lnTo>
                    <a:pt x="366712" y="280988"/>
                  </a:lnTo>
                  <a:lnTo>
                    <a:pt x="354806" y="328613"/>
                  </a:lnTo>
                  <a:lnTo>
                    <a:pt x="326231" y="376238"/>
                  </a:lnTo>
                  <a:lnTo>
                    <a:pt x="311943" y="445294"/>
                  </a:lnTo>
                  <a:lnTo>
                    <a:pt x="264318" y="421482"/>
                  </a:lnTo>
                  <a:lnTo>
                    <a:pt x="261937" y="376238"/>
                  </a:lnTo>
                  <a:lnTo>
                    <a:pt x="261937" y="357188"/>
                  </a:lnTo>
                  <a:lnTo>
                    <a:pt x="242887" y="333375"/>
                  </a:lnTo>
                  <a:lnTo>
                    <a:pt x="207168" y="333375"/>
                  </a:lnTo>
                  <a:lnTo>
                    <a:pt x="207168" y="354807"/>
                  </a:lnTo>
                  <a:lnTo>
                    <a:pt x="223837" y="376238"/>
                  </a:lnTo>
                  <a:lnTo>
                    <a:pt x="226218" y="400050"/>
                  </a:lnTo>
                  <a:lnTo>
                    <a:pt x="180975" y="371475"/>
                  </a:lnTo>
                  <a:lnTo>
                    <a:pt x="159543" y="383382"/>
                  </a:lnTo>
                  <a:lnTo>
                    <a:pt x="135731" y="361950"/>
                  </a:lnTo>
                  <a:lnTo>
                    <a:pt x="121443" y="385763"/>
                  </a:lnTo>
                  <a:lnTo>
                    <a:pt x="111918" y="385763"/>
                  </a:lnTo>
                  <a:lnTo>
                    <a:pt x="100012" y="369094"/>
                  </a:lnTo>
                  <a:lnTo>
                    <a:pt x="40481" y="407194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92" name="Freeform 77"/>
            <p:cNvSpPr>
              <a:spLocks/>
            </p:cNvSpPr>
            <p:nvPr>
              <p:custDataLst>
                <p:tags r:id="rId394"/>
              </p:custDataLst>
            </p:nvPr>
          </p:nvSpPr>
          <p:spPr bwMode="auto">
            <a:xfrm>
              <a:off x="7362825" y="3386138"/>
              <a:ext cx="9525" cy="57150"/>
            </a:xfrm>
            <a:custGeom>
              <a:avLst/>
              <a:gdLst>
                <a:gd name="T0" fmla="*/ 0 w 21"/>
                <a:gd name="T1" fmla="*/ 2147483647 h 62"/>
                <a:gd name="T2" fmla="*/ 2147483647 w 21"/>
                <a:gd name="T3" fmla="*/ 2147483647 h 62"/>
                <a:gd name="T4" fmla="*/ 2147483647 w 21"/>
                <a:gd name="T5" fmla="*/ 2147483647 h 62"/>
                <a:gd name="T6" fmla="*/ 2147483647 w 21"/>
                <a:gd name="T7" fmla="*/ 2147483647 h 62"/>
                <a:gd name="T8" fmla="*/ 2147483647 w 21"/>
                <a:gd name="T9" fmla="*/ 2147483647 h 62"/>
                <a:gd name="T10" fmla="*/ 2147483647 w 21"/>
                <a:gd name="T11" fmla="*/ 2147483647 h 62"/>
                <a:gd name="T12" fmla="*/ 2147483647 w 21"/>
                <a:gd name="T13" fmla="*/ 0 h 62"/>
                <a:gd name="T14" fmla="*/ 2147483647 w 21"/>
                <a:gd name="T15" fmla="*/ 2147483647 h 62"/>
                <a:gd name="T16" fmla="*/ 2147483647 w 21"/>
                <a:gd name="T17" fmla="*/ 2147483647 h 62"/>
                <a:gd name="T18" fmla="*/ 2147483647 w 21"/>
                <a:gd name="T19" fmla="*/ 2147483647 h 62"/>
                <a:gd name="T20" fmla="*/ 2147483647 w 21"/>
                <a:gd name="T21" fmla="*/ 2147483647 h 62"/>
                <a:gd name="T22" fmla="*/ 2147483647 w 21"/>
                <a:gd name="T23" fmla="*/ 2147483647 h 62"/>
                <a:gd name="T24" fmla="*/ 0 w 21"/>
                <a:gd name="T25" fmla="*/ 2147483647 h 62"/>
                <a:gd name="T26" fmla="*/ 0 w 21"/>
                <a:gd name="T27" fmla="*/ 2147483647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1"/>
                <a:gd name="T43" fmla="*/ 0 h 62"/>
                <a:gd name="T44" fmla="*/ 21 w 21"/>
                <a:gd name="T45" fmla="*/ 62 h 6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93" name="Freeform 80"/>
            <p:cNvSpPr>
              <a:spLocks/>
            </p:cNvSpPr>
            <p:nvPr>
              <p:custDataLst>
                <p:tags r:id="rId395"/>
              </p:custDataLst>
            </p:nvPr>
          </p:nvSpPr>
          <p:spPr bwMode="auto">
            <a:xfrm>
              <a:off x="7426325" y="3375025"/>
              <a:ext cx="1588" cy="55563"/>
            </a:xfrm>
            <a:custGeom>
              <a:avLst/>
              <a:gdLst>
                <a:gd name="T0" fmla="*/ 0 w 7"/>
                <a:gd name="T1" fmla="*/ 0 h 55563"/>
                <a:gd name="T2" fmla="*/ 2147483647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  <a:gd name="T9" fmla="*/ 0 w 7"/>
                <a:gd name="T10" fmla="*/ 0 h 55563"/>
                <a:gd name="T11" fmla="*/ 7 w 7"/>
                <a:gd name="T12" fmla="*/ 55563 h 5556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94" name="Freeform 260"/>
            <p:cNvSpPr>
              <a:spLocks/>
            </p:cNvSpPr>
            <p:nvPr>
              <p:custDataLst>
                <p:tags r:id="rId396"/>
              </p:custDataLst>
            </p:nvPr>
          </p:nvSpPr>
          <p:spPr bwMode="auto">
            <a:xfrm>
              <a:off x="5448405" y="2430874"/>
              <a:ext cx="332015" cy="290329"/>
            </a:xfrm>
            <a:custGeom>
              <a:avLst/>
              <a:gdLst>
                <a:gd name="T0" fmla="*/ 2147483647 w 764"/>
                <a:gd name="T1" fmla="*/ 2147483647 h 555"/>
                <a:gd name="T2" fmla="*/ 2147483647 w 764"/>
                <a:gd name="T3" fmla="*/ 2147483647 h 555"/>
                <a:gd name="T4" fmla="*/ 2147483647 w 764"/>
                <a:gd name="T5" fmla="*/ 2147483647 h 555"/>
                <a:gd name="T6" fmla="*/ 2147483647 w 764"/>
                <a:gd name="T7" fmla="*/ 2147483647 h 555"/>
                <a:gd name="T8" fmla="*/ 2147483647 w 764"/>
                <a:gd name="T9" fmla="*/ 2147483647 h 555"/>
                <a:gd name="T10" fmla="*/ 2147483647 w 764"/>
                <a:gd name="T11" fmla="*/ 2147483647 h 555"/>
                <a:gd name="T12" fmla="*/ 2147483647 w 764"/>
                <a:gd name="T13" fmla="*/ 2147483647 h 555"/>
                <a:gd name="T14" fmla="*/ 2147483647 w 764"/>
                <a:gd name="T15" fmla="*/ 2147483647 h 555"/>
                <a:gd name="T16" fmla="*/ 2147483647 w 764"/>
                <a:gd name="T17" fmla="*/ 2147483647 h 555"/>
                <a:gd name="T18" fmla="*/ 2147483647 w 764"/>
                <a:gd name="T19" fmla="*/ 2147483647 h 555"/>
                <a:gd name="T20" fmla="*/ 2147483647 w 764"/>
                <a:gd name="T21" fmla="*/ 2147483647 h 555"/>
                <a:gd name="T22" fmla="*/ 2147483647 w 764"/>
                <a:gd name="T23" fmla="*/ 2147483647 h 555"/>
                <a:gd name="T24" fmla="*/ 2147483647 w 764"/>
                <a:gd name="T25" fmla="*/ 2147483647 h 555"/>
                <a:gd name="T26" fmla="*/ 2147483647 w 764"/>
                <a:gd name="T27" fmla="*/ 2147483647 h 555"/>
                <a:gd name="T28" fmla="*/ 2147483647 w 764"/>
                <a:gd name="T29" fmla="*/ 2147483647 h 555"/>
                <a:gd name="T30" fmla="*/ 2147483647 w 764"/>
                <a:gd name="T31" fmla="*/ 2147483647 h 555"/>
                <a:gd name="T32" fmla="*/ 2147483647 w 764"/>
                <a:gd name="T33" fmla="*/ 2147483647 h 555"/>
                <a:gd name="T34" fmla="*/ 2147483647 w 764"/>
                <a:gd name="T35" fmla="*/ 2147483647 h 555"/>
                <a:gd name="T36" fmla="*/ 2147483647 w 764"/>
                <a:gd name="T37" fmla="*/ 2147483647 h 555"/>
                <a:gd name="T38" fmla="*/ 2147483647 w 764"/>
                <a:gd name="T39" fmla="*/ 2147483647 h 555"/>
                <a:gd name="T40" fmla="*/ 2147483647 w 764"/>
                <a:gd name="T41" fmla="*/ 2147483647 h 555"/>
                <a:gd name="T42" fmla="*/ 2147483647 w 764"/>
                <a:gd name="T43" fmla="*/ 2147483647 h 555"/>
                <a:gd name="T44" fmla="*/ 2147483647 w 764"/>
                <a:gd name="T45" fmla="*/ 2147483647 h 555"/>
                <a:gd name="T46" fmla="*/ 2147483647 w 764"/>
                <a:gd name="T47" fmla="*/ 2147483647 h 555"/>
                <a:gd name="T48" fmla="*/ 2147483647 w 764"/>
                <a:gd name="T49" fmla="*/ 2147483647 h 555"/>
                <a:gd name="T50" fmla="*/ 2147483647 w 764"/>
                <a:gd name="T51" fmla="*/ 2147483647 h 555"/>
                <a:gd name="T52" fmla="*/ 2147483647 w 764"/>
                <a:gd name="T53" fmla="*/ 2147483647 h 555"/>
                <a:gd name="T54" fmla="*/ 2147483647 w 764"/>
                <a:gd name="T55" fmla="*/ 2147483647 h 555"/>
                <a:gd name="T56" fmla="*/ 2147483647 w 764"/>
                <a:gd name="T57" fmla="*/ 2147483647 h 555"/>
                <a:gd name="T58" fmla="*/ 2147483647 w 764"/>
                <a:gd name="T59" fmla="*/ 2147483647 h 555"/>
                <a:gd name="T60" fmla="*/ 2147483647 w 764"/>
                <a:gd name="T61" fmla="*/ 2147483647 h 555"/>
                <a:gd name="T62" fmla="*/ 2147483647 w 764"/>
                <a:gd name="T63" fmla="*/ 2147483647 h 555"/>
                <a:gd name="T64" fmla="*/ 2147483647 w 764"/>
                <a:gd name="T65" fmla="*/ 2147483647 h 555"/>
                <a:gd name="T66" fmla="*/ 2147483647 w 764"/>
                <a:gd name="T67" fmla="*/ 2147483647 h 555"/>
                <a:gd name="T68" fmla="*/ 2147483647 w 764"/>
                <a:gd name="T69" fmla="*/ 2147483647 h 555"/>
                <a:gd name="T70" fmla="*/ 2147483647 w 764"/>
                <a:gd name="T71" fmla="*/ 2147483647 h 555"/>
                <a:gd name="T72" fmla="*/ 2147483647 w 764"/>
                <a:gd name="T73" fmla="*/ 2147483647 h 555"/>
                <a:gd name="T74" fmla="*/ 2147483647 w 764"/>
                <a:gd name="T75" fmla="*/ 2147483647 h 555"/>
                <a:gd name="T76" fmla="*/ 2147483647 w 764"/>
                <a:gd name="T77" fmla="*/ 2147483647 h 555"/>
                <a:gd name="T78" fmla="*/ 2147483647 w 764"/>
                <a:gd name="T79" fmla="*/ 2147483647 h 555"/>
                <a:gd name="T80" fmla="*/ 2147483647 w 764"/>
                <a:gd name="T81" fmla="*/ 2147483647 h 555"/>
                <a:gd name="T82" fmla="*/ 2147483647 w 764"/>
                <a:gd name="T83" fmla="*/ 2147483647 h 555"/>
                <a:gd name="T84" fmla="*/ 2147483647 w 764"/>
                <a:gd name="T85" fmla="*/ 2147483647 h 555"/>
                <a:gd name="T86" fmla="*/ 2147483647 w 764"/>
                <a:gd name="T87" fmla="*/ 2147483647 h 555"/>
                <a:gd name="T88" fmla="*/ 2147483647 w 764"/>
                <a:gd name="T89" fmla="*/ 2147483647 h 555"/>
                <a:gd name="T90" fmla="*/ 2147483647 w 764"/>
                <a:gd name="T91" fmla="*/ 2147483647 h 555"/>
                <a:gd name="T92" fmla="*/ 2147483647 w 764"/>
                <a:gd name="T93" fmla="*/ 2147483647 h 555"/>
                <a:gd name="T94" fmla="*/ 2147483647 w 764"/>
                <a:gd name="T95" fmla="*/ 2147483647 h 555"/>
                <a:gd name="T96" fmla="*/ 2147483647 w 764"/>
                <a:gd name="T97" fmla="*/ 2147483647 h 555"/>
                <a:gd name="T98" fmla="*/ 2147483647 w 764"/>
                <a:gd name="T99" fmla="*/ 2147483647 h 555"/>
                <a:gd name="T100" fmla="*/ 2147483647 w 764"/>
                <a:gd name="T101" fmla="*/ 2147483647 h 555"/>
                <a:gd name="T102" fmla="*/ 2147483647 w 764"/>
                <a:gd name="T103" fmla="*/ 2147483647 h 555"/>
                <a:gd name="T104" fmla="*/ 2147483647 w 764"/>
                <a:gd name="T105" fmla="*/ 2147483647 h 555"/>
                <a:gd name="T106" fmla="*/ 2147483647 w 764"/>
                <a:gd name="T107" fmla="*/ 2147483647 h 555"/>
                <a:gd name="T108" fmla="*/ 2147483647 w 764"/>
                <a:gd name="T109" fmla="*/ 2147483647 h 555"/>
                <a:gd name="T110" fmla="*/ 2147483647 w 764"/>
                <a:gd name="T111" fmla="*/ 2147483647 h 555"/>
                <a:gd name="T112" fmla="*/ 2147483647 w 764"/>
                <a:gd name="T113" fmla="*/ 2147483647 h 555"/>
                <a:gd name="T114" fmla="*/ 2147483647 w 764"/>
                <a:gd name="T115" fmla="*/ 2147483647 h 555"/>
                <a:gd name="T116" fmla="*/ 2147483647 w 764"/>
                <a:gd name="T117" fmla="*/ 2147483647 h 555"/>
                <a:gd name="T118" fmla="*/ 0 w 764"/>
                <a:gd name="T119" fmla="*/ 2147483647 h 555"/>
                <a:gd name="T120" fmla="*/ 2147483647 w 764"/>
                <a:gd name="T121" fmla="*/ 2147483647 h 555"/>
                <a:gd name="T122" fmla="*/ 2147483647 w 764"/>
                <a:gd name="T123" fmla="*/ 2147483647 h 555"/>
                <a:gd name="T124" fmla="*/ 2147483647 w 764"/>
                <a:gd name="T125" fmla="*/ 2147483647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764"/>
                <a:gd name="T190" fmla="*/ 0 h 555"/>
                <a:gd name="T191" fmla="*/ 764 w 764"/>
                <a:gd name="T192" fmla="*/ 555 h 55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chemeClr val="accent1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95" name="Freeform 261"/>
            <p:cNvSpPr>
              <a:spLocks/>
            </p:cNvSpPr>
            <p:nvPr>
              <p:custDataLst>
                <p:tags r:id="rId397"/>
              </p:custDataLst>
            </p:nvPr>
          </p:nvSpPr>
          <p:spPr bwMode="auto">
            <a:xfrm>
              <a:off x="5480665" y="2479262"/>
              <a:ext cx="364276" cy="424741"/>
            </a:xfrm>
            <a:custGeom>
              <a:avLst/>
              <a:gdLst>
                <a:gd name="T0" fmla="*/ 2147483647 w 831"/>
                <a:gd name="T1" fmla="*/ 2147483647 h 812"/>
                <a:gd name="T2" fmla="*/ 2147483647 w 831"/>
                <a:gd name="T3" fmla="*/ 2147483647 h 812"/>
                <a:gd name="T4" fmla="*/ 2147483647 w 831"/>
                <a:gd name="T5" fmla="*/ 2147483647 h 812"/>
                <a:gd name="T6" fmla="*/ 2147483647 w 831"/>
                <a:gd name="T7" fmla="*/ 2147483647 h 812"/>
                <a:gd name="T8" fmla="*/ 2147483647 w 831"/>
                <a:gd name="T9" fmla="*/ 2147483647 h 812"/>
                <a:gd name="T10" fmla="*/ 2147483647 w 831"/>
                <a:gd name="T11" fmla="*/ 2147483647 h 812"/>
                <a:gd name="T12" fmla="*/ 2147483647 w 831"/>
                <a:gd name="T13" fmla="*/ 2147483647 h 812"/>
                <a:gd name="T14" fmla="*/ 2147483647 w 831"/>
                <a:gd name="T15" fmla="*/ 2147483647 h 812"/>
                <a:gd name="T16" fmla="*/ 2147483647 w 831"/>
                <a:gd name="T17" fmla="*/ 2147483647 h 812"/>
                <a:gd name="T18" fmla="*/ 2147483647 w 831"/>
                <a:gd name="T19" fmla="*/ 2147483647 h 812"/>
                <a:gd name="T20" fmla="*/ 2147483647 w 831"/>
                <a:gd name="T21" fmla="*/ 2147483647 h 812"/>
                <a:gd name="T22" fmla="*/ 2147483647 w 831"/>
                <a:gd name="T23" fmla="*/ 2147483647 h 812"/>
                <a:gd name="T24" fmla="*/ 2147483647 w 831"/>
                <a:gd name="T25" fmla="*/ 2147483647 h 812"/>
                <a:gd name="T26" fmla="*/ 2147483647 w 831"/>
                <a:gd name="T27" fmla="*/ 2147483647 h 812"/>
                <a:gd name="T28" fmla="*/ 2147483647 w 831"/>
                <a:gd name="T29" fmla="*/ 2147483647 h 812"/>
                <a:gd name="T30" fmla="*/ 2147483647 w 831"/>
                <a:gd name="T31" fmla="*/ 2147483647 h 812"/>
                <a:gd name="T32" fmla="*/ 2147483647 w 831"/>
                <a:gd name="T33" fmla="*/ 2147483647 h 812"/>
                <a:gd name="T34" fmla="*/ 2147483647 w 831"/>
                <a:gd name="T35" fmla="*/ 2147483647 h 812"/>
                <a:gd name="T36" fmla="*/ 2147483647 w 831"/>
                <a:gd name="T37" fmla="*/ 2147483647 h 812"/>
                <a:gd name="T38" fmla="*/ 2147483647 w 831"/>
                <a:gd name="T39" fmla="*/ 2147483647 h 812"/>
                <a:gd name="T40" fmla="*/ 2147483647 w 831"/>
                <a:gd name="T41" fmla="*/ 2147483647 h 812"/>
                <a:gd name="T42" fmla="*/ 2147483647 w 831"/>
                <a:gd name="T43" fmla="*/ 2147483647 h 812"/>
                <a:gd name="T44" fmla="*/ 2147483647 w 831"/>
                <a:gd name="T45" fmla="*/ 2147483647 h 812"/>
                <a:gd name="T46" fmla="*/ 2147483647 w 831"/>
                <a:gd name="T47" fmla="*/ 2147483647 h 812"/>
                <a:gd name="T48" fmla="*/ 2147483647 w 831"/>
                <a:gd name="T49" fmla="*/ 2147483647 h 812"/>
                <a:gd name="T50" fmla="*/ 2147483647 w 831"/>
                <a:gd name="T51" fmla="*/ 2147483647 h 812"/>
                <a:gd name="T52" fmla="*/ 2147483647 w 831"/>
                <a:gd name="T53" fmla="*/ 2147483647 h 812"/>
                <a:gd name="T54" fmla="*/ 2147483647 w 831"/>
                <a:gd name="T55" fmla="*/ 2147483647 h 812"/>
                <a:gd name="T56" fmla="*/ 2147483647 w 831"/>
                <a:gd name="T57" fmla="*/ 2147483647 h 812"/>
                <a:gd name="T58" fmla="*/ 2147483647 w 831"/>
                <a:gd name="T59" fmla="*/ 2147483647 h 812"/>
                <a:gd name="T60" fmla="*/ 2147483647 w 831"/>
                <a:gd name="T61" fmla="*/ 2147483647 h 812"/>
                <a:gd name="T62" fmla="*/ 2147483647 w 831"/>
                <a:gd name="T63" fmla="*/ 2147483647 h 812"/>
                <a:gd name="T64" fmla="*/ 2147483647 w 831"/>
                <a:gd name="T65" fmla="*/ 2147483647 h 812"/>
                <a:gd name="T66" fmla="*/ 2147483647 w 831"/>
                <a:gd name="T67" fmla="*/ 2147483647 h 812"/>
                <a:gd name="T68" fmla="*/ 2147483647 w 831"/>
                <a:gd name="T69" fmla="*/ 2147483647 h 812"/>
                <a:gd name="T70" fmla="*/ 2147483647 w 831"/>
                <a:gd name="T71" fmla="*/ 2147483647 h 812"/>
                <a:gd name="T72" fmla="*/ 2147483647 w 831"/>
                <a:gd name="T73" fmla="*/ 2147483647 h 812"/>
                <a:gd name="T74" fmla="*/ 2147483647 w 831"/>
                <a:gd name="T75" fmla="*/ 2147483647 h 812"/>
                <a:gd name="T76" fmla="*/ 2147483647 w 831"/>
                <a:gd name="T77" fmla="*/ 2147483647 h 812"/>
                <a:gd name="T78" fmla="*/ 2147483647 w 831"/>
                <a:gd name="T79" fmla="*/ 2147483647 h 812"/>
                <a:gd name="T80" fmla="*/ 2147483647 w 831"/>
                <a:gd name="T81" fmla="*/ 2147483647 h 812"/>
                <a:gd name="T82" fmla="*/ 2147483647 w 831"/>
                <a:gd name="T83" fmla="*/ 2147483647 h 812"/>
                <a:gd name="T84" fmla="*/ 2147483647 w 831"/>
                <a:gd name="T85" fmla="*/ 2147483647 h 812"/>
                <a:gd name="T86" fmla="*/ 2147483647 w 831"/>
                <a:gd name="T87" fmla="*/ 2147483647 h 812"/>
                <a:gd name="T88" fmla="*/ 2147483647 w 831"/>
                <a:gd name="T89" fmla="*/ 2147483647 h 812"/>
                <a:gd name="T90" fmla="*/ 2147483647 w 831"/>
                <a:gd name="T91" fmla="*/ 2147483647 h 812"/>
                <a:gd name="T92" fmla="*/ 2147483647 w 831"/>
                <a:gd name="T93" fmla="*/ 2147483647 h 812"/>
                <a:gd name="T94" fmla="*/ 2147483647 w 831"/>
                <a:gd name="T95" fmla="*/ 2147483647 h 812"/>
                <a:gd name="T96" fmla="*/ 2147483647 w 831"/>
                <a:gd name="T97" fmla="*/ 2147483647 h 812"/>
                <a:gd name="T98" fmla="*/ 2147483647 w 831"/>
                <a:gd name="T99" fmla="*/ 2147483647 h 812"/>
                <a:gd name="T100" fmla="*/ 2147483647 w 831"/>
                <a:gd name="T101" fmla="*/ 2147483647 h 812"/>
                <a:gd name="T102" fmla="*/ 2147483647 w 831"/>
                <a:gd name="T103" fmla="*/ 2147483647 h 812"/>
                <a:gd name="T104" fmla="*/ 2147483647 w 831"/>
                <a:gd name="T105" fmla="*/ 2147483647 h 812"/>
                <a:gd name="T106" fmla="*/ 2147483647 w 831"/>
                <a:gd name="T107" fmla="*/ 2147483647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31"/>
                <a:gd name="T163" fmla="*/ 0 h 812"/>
                <a:gd name="T164" fmla="*/ 831 w 831"/>
                <a:gd name="T165" fmla="*/ 812 h 81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96" name="Freeform 273"/>
            <p:cNvSpPr>
              <a:spLocks/>
            </p:cNvSpPr>
            <p:nvPr>
              <p:custDataLst>
                <p:tags r:id="rId398"/>
              </p:custDataLst>
            </p:nvPr>
          </p:nvSpPr>
          <p:spPr bwMode="auto">
            <a:xfrm>
              <a:off x="5951133" y="2701591"/>
              <a:ext cx="207006" cy="123659"/>
            </a:xfrm>
            <a:custGeom>
              <a:avLst/>
              <a:gdLst>
                <a:gd name="T0" fmla="*/ 2147483647 w 471"/>
                <a:gd name="T1" fmla="*/ 0 h 237"/>
                <a:gd name="T2" fmla="*/ 2147483647 w 471"/>
                <a:gd name="T3" fmla="*/ 2147483647 h 237"/>
                <a:gd name="T4" fmla="*/ 2147483647 w 471"/>
                <a:gd name="T5" fmla="*/ 2147483647 h 237"/>
                <a:gd name="T6" fmla="*/ 2147483647 w 471"/>
                <a:gd name="T7" fmla="*/ 2147483647 h 237"/>
                <a:gd name="T8" fmla="*/ 2147483647 w 471"/>
                <a:gd name="T9" fmla="*/ 2147483647 h 237"/>
                <a:gd name="T10" fmla="*/ 2147483647 w 471"/>
                <a:gd name="T11" fmla="*/ 2147483647 h 237"/>
                <a:gd name="T12" fmla="*/ 2147483647 w 471"/>
                <a:gd name="T13" fmla="*/ 2147483647 h 237"/>
                <a:gd name="T14" fmla="*/ 2147483647 w 471"/>
                <a:gd name="T15" fmla="*/ 2147483647 h 237"/>
                <a:gd name="T16" fmla="*/ 2147483647 w 471"/>
                <a:gd name="T17" fmla="*/ 2147483647 h 237"/>
                <a:gd name="T18" fmla="*/ 2147483647 w 471"/>
                <a:gd name="T19" fmla="*/ 2147483647 h 237"/>
                <a:gd name="T20" fmla="*/ 2147483647 w 471"/>
                <a:gd name="T21" fmla="*/ 2147483647 h 237"/>
                <a:gd name="T22" fmla="*/ 2147483647 w 471"/>
                <a:gd name="T23" fmla="*/ 2147483647 h 237"/>
                <a:gd name="T24" fmla="*/ 2147483647 w 471"/>
                <a:gd name="T25" fmla="*/ 2147483647 h 237"/>
                <a:gd name="T26" fmla="*/ 2147483647 w 471"/>
                <a:gd name="T27" fmla="*/ 2147483647 h 237"/>
                <a:gd name="T28" fmla="*/ 2147483647 w 471"/>
                <a:gd name="T29" fmla="*/ 2147483647 h 237"/>
                <a:gd name="T30" fmla="*/ 2147483647 w 471"/>
                <a:gd name="T31" fmla="*/ 2147483647 h 237"/>
                <a:gd name="T32" fmla="*/ 2147483647 w 471"/>
                <a:gd name="T33" fmla="*/ 2147483647 h 237"/>
                <a:gd name="T34" fmla="*/ 2147483647 w 471"/>
                <a:gd name="T35" fmla="*/ 2147483647 h 237"/>
                <a:gd name="T36" fmla="*/ 2147483647 w 471"/>
                <a:gd name="T37" fmla="*/ 2147483647 h 237"/>
                <a:gd name="T38" fmla="*/ 2147483647 w 471"/>
                <a:gd name="T39" fmla="*/ 2147483647 h 237"/>
                <a:gd name="T40" fmla="*/ 2147483647 w 471"/>
                <a:gd name="T41" fmla="*/ 2147483647 h 237"/>
                <a:gd name="T42" fmla="*/ 2147483647 w 471"/>
                <a:gd name="T43" fmla="*/ 2147483647 h 237"/>
                <a:gd name="T44" fmla="*/ 2147483647 w 471"/>
                <a:gd name="T45" fmla="*/ 2147483647 h 237"/>
                <a:gd name="T46" fmla="*/ 2147483647 w 471"/>
                <a:gd name="T47" fmla="*/ 2147483647 h 237"/>
                <a:gd name="T48" fmla="*/ 2147483647 w 471"/>
                <a:gd name="T49" fmla="*/ 2147483647 h 237"/>
                <a:gd name="T50" fmla="*/ 2147483647 w 471"/>
                <a:gd name="T51" fmla="*/ 2147483647 h 237"/>
                <a:gd name="T52" fmla="*/ 2147483647 w 471"/>
                <a:gd name="T53" fmla="*/ 2147483647 h 237"/>
                <a:gd name="T54" fmla="*/ 2147483647 w 471"/>
                <a:gd name="T55" fmla="*/ 2147483647 h 237"/>
                <a:gd name="T56" fmla="*/ 2147483647 w 471"/>
                <a:gd name="T57" fmla="*/ 2147483647 h 237"/>
                <a:gd name="T58" fmla="*/ 2147483647 w 471"/>
                <a:gd name="T59" fmla="*/ 2147483647 h 237"/>
                <a:gd name="T60" fmla="*/ 2147483647 w 471"/>
                <a:gd name="T61" fmla="*/ 2147483647 h 237"/>
                <a:gd name="T62" fmla="*/ 2147483647 w 471"/>
                <a:gd name="T63" fmla="*/ 2147483647 h 237"/>
                <a:gd name="T64" fmla="*/ 2147483647 w 471"/>
                <a:gd name="T65" fmla="*/ 2147483647 h 237"/>
                <a:gd name="T66" fmla="*/ 2147483647 w 471"/>
                <a:gd name="T67" fmla="*/ 2147483647 h 237"/>
                <a:gd name="T68" fmla="*/ 2147483647 w 471"/>
                <a:gd name="T69" fmla="*/ 2147483647 h 237"/>
                <a:gd name="T70" fmla="*/ 2147483647 w 471"/>
                <a:gd name="T71" fmla="*/ 2147483647 h 237"/>
                <a:gd name="T72" fmla="*/ 2147483647 w 471"/>
                <a:gd name="T73" fmla="*/ 2147483647 h 237"/>
                <a:gd name="T74" fmla="*/ 214748364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71"/>
                <a:gd name="T115" fmla="*/ 0 h 237"/>
                <a:gd name="T116" fmla="*/ 471 w 471"/>
                <a:gd name="T117" fmla="*/ 237 h 23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149C4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797" name="Freeform 275"/>
            <p:cNvSpPr>
              <a:spLocks/>
            </p:cNvSpPr>
            <p:nvPr>
              <p:custDataLst>
                <p:tags r:id="rId399"/>
              </p:custDataLst>
            </p:nvPr>
          </p:nvSpPr>
          <p:spPr bwMode="auto">
            <a:xfrm>
              <a:off x="6161771" y="2834111"/>
              <a:ext cx="133075" cy="166670"/>
            </a:xfrm>
            <a:custGeom>
              <a:avLst/>
              <a:gdLst>
                <a:gd name="T0" fmla="*/ 2147483647 w 306"/>
                <a:gd name="T1" fmla="*/ 2147483647 h 321"/>
                <a:gd name="T2" fmla="*/ 2147483647 w 306"/>
                <a:gd name="T3" fmla="*/ 2147483647 h 321"/>
                <a:gd name="T4" fmla="*/ 2147483647 w 306"/>
                <a:gd name="T5" fmla="*/ 2147483647 h 321"/>
                <a:gd name="T6" fmla="*/ 2147483647 w 306"/>
                <a:gd name="T7" fmla="*/ 2147483647 h 321"/>
                <a:gd name="T8" fmla="*/ 2147483647 w 306"/>
                <a:gd name="T9" fmla="*/ 2147483647 h 321"/>
                <a:gd name="T10" fmla="*/ 2147483647 w 306"/>
                <a:gd name="T11" fmla="*/ 2147483647 h 321"/>
                <a:gd name="T12" fmla="*/ 2147483647 w 306"/>
                <a:gd name="T13" fmla="*/ 2147483647 h 321"/>
                <a:gd name="T14" fmla="*/ 2147483647 w 306"/>
                <a:gd name="T15" fmla="*/ 2147483647 h 321"/>
                <a:gd name="T16" fmla="*/ 2147483647 w 306"/>
                <a:gd name="T17" fmla="*/ 2147483647 h 321"/>
                <a:gd name="T18" fmla="*/ 2147483647 w 306"/>
                <a:gd name="T19" fmla="*/ 2147483647 h 321"/>
                <a:gd name="T20" fmla="*/ 2147483647 w 306"/>
                <a:gd name="T21" fmla="*/ 2147483647 h 321"/>
                <a:gd name="T22" fmla="*/ 2147483647 w 306"/>
                <a:gd name="T23" fmla="*/ 2147483647 h 321"/>
                <a:gd name="T24" fmla="*/ 2147483647 w 306"/>
                <a:gd name="T25" fmla="*/ 2147483647 h 321"/>
                <a:gd name="T26" fmla="*/ 2147483647 w 306"/>
                <a:gd name="T27" fmla="*/ 2147483647 h 321"/>
                <a:gd name="T28" fmla="*/ 2147483647 w 306"/>
                <a:gd name="T29" fmla="*/ 2147483647 h 321"/>
                <a:gd name="T30" fmla="*/ 2147483647 w 306"/>
                <a:gd name="T31" fmla="*/ 2147483647 h 321"/>
                <a:gd name="T32" fmla="*/ 2147483647 w 306"/>
                <a:gd name="T33" fmla="*/ 2147483647 h 321"/>
                <a:gd name="T34" fmla="*/ 2147483647 w 306"/>
                <a:gd name="T35" fmla="*/ 2147483647 h 321"/>
                <a:gd name="T36" fmla="*/ 2147483647 w 306"/>
                <a:gd name="T37" fmla="*/ 2147483647 h 321"/>
                <a:gd name="T38" fmla="*/ 2147483647 w 306"/>
                <a:gd name="T39" fmla="*/ 2147483647 h 321"/>
                <a:gd name="T40" fmla="*/ 2147483647 w 306"/>
                <a:gd name="T41" fmla="*/ 2147483647 h 321"/>
                <a:gd name="T42" fmla="*/ 2147483647 w 306"/>
                <a:gd name="T43" fmla="*/ 2147483647 h 321"/>
                <a:gd name="T44" fmla="*/ 2147483647 w 306"/>
                <a:gd name="T45" fmla="*/ 0 h 321"/>
                <a:gd name="T46" fmla="*/ 2147483647 w 306"/>
                <a:gd name="T47" fmla="*/ 0 h 321"/>
                <a:gd name="T48" fmla="*/ 2147483647 w 306"/>
                <a:gd name="T49" fmla="*/ 2147483647 h 321"/>
                <a:gd name="T50" fmla="*/ 2147483647 w 306"/>
                <a:gd name="T51" fmla="*/ 2147483647 h 321"/>
                <a:gd name="T52" fmla="*/ 2147483647 w 306"/>
                <a:gd name="T53" fmla="*/ 2147483647 h 321"/>
                <a:gd name="T54" fmla="*/ 2147483647 w 306"/>
                <a:gd name="T55" fmla="*/ 2147483647 h 321"/>
                <a:gd name="T56" fmla="*/ 2147483647 w 306"/>
                <a:gd name="T57" fmla="*/ 2147483647 h 321"/>
                <a:gd name="T58" fmla="*/ 2147483647 w 306"/>
                <a:gd name="T59" fmla="*/ 2147483647 h 321"/>
                <a:gd name="T60" fmla="*/ 2147483647 w 306"/>
                <a:gd name="T61" fmla="*/ 2147483647 h 321"/>
                <a:gd name="T62" fmla="*/ 2147483647 w 306"/>
                <a:gd name="T63" fmla="*/ 2147483647 h 321"/>
                <a:gd name="T64" fmla="*/ 2147483647 w 306"/>
                <a:gd name="T65" fmla="*/ 2147483647 h 321"/>
                <a:gd name="T66" fmla="*/ 2147483647 w 306"/>
                <a:gd name="T67" fmla="*/ 2147483647 h 321"/>
                <a:gd name="T68" fmla="*/ 2147483647 w 306"/>
                <a:gd name="T69" fmla="*/ 2147483647 h 321"/>
                <a:gd name="T70" fmla="*/ 2147483647 w 306"/>
                <a:gd name="T71" fmla="*/ 2147483647 h 321"/>
                <a:gd name="T72" fmla="*/ 2147483647 w 306"/>
                <a:gd name="T73" fmla="*/ 2147483647 h 321"/>
                <a:gd name="T74" fmla="*/ 2147483647 w 306"/>
                <a:gd name="T75" fmla="*/ 2147483647 h 321"/>
                <a:gd name="T76" fmla="*/ 2147483647 w 306"/>
                <a:gd name="T77" fmla="*/ 2147483647 h 321"/>
                <a:gd name="T78" fmla="*/ 2147483647 w 306"/>
                <a:gd name="T79" fmla="*/ 2147483647 h 321"/>
                <a:gd name="T80" fmla="*/ 2147483647 w 306"/>
                <a:gd name="T81" fmla="*/ 2147483647 h 321"/>
                <a:gd name="T82" fmla="*/ 2147483647 w 306"/>
                <a:gd name="T83" fmla="*/ 2147483647 h 321"/>
                <a:gd name="T84" fmla="*/ 2147483647 w 306"/>
                <a:gd name="T85" fmla="*/ 2147483647 h 321"/>
                <a:gd name="T86" fmla="*/ 2147483647 w 306"/>
                <a:gd name="T87" fmla="*/ 2147483647 h 321"/>
                <a:gd name="T88" fmla="*/ 2147483647 w 306"/>
                <a:gd name="T89" fmla="*/ 2147483647 h 321"/>
                <a:gd name="T90" fmla="*/ 2147483647 w 306"/>
                <a:gd name="T91" fmla="*/ 2147483647 h 321"/>
                <a:gd name="T92" fmla="*/ 2147483647 w 306"/>
                <a:gd name="T93" fmla="*/ 2147483647 h 321"/>
                <a:gd name="T94" fmla="*/ 2147483647 w 306"/>
                <a:gd name="T95" fmla="*/ 2147483647 h 321"/>
                <a:gd name="T96" fmla="*/ 2147483647 w 306"/>
                <a:gd name="T97" fmla="*/ 2147483647 h 321"/>
                <a:gd name="T98" fmla="*/ 2147483647 w 306"/>
                <a:gd name="T99" fmla="*/ 2147483647 h 321"/>
                <a:gd name="T100" fmla="*/ 2147483647 w 306"/>
                <a:gd name="T101" fmla="*/ 2147483647 h 321"/>
                <a:gd name="T102" fmla="*/ 2147483647 w 306"/>
                <a:gd name="T103" fmla="*/ 2147483647 h 321"/>
                <a:gd name="T104" fmla="*/ 2147483647 w 306"/>
                <a:gd name="T105" fmla="*/ 2147483647 h 321"/>
                <a:gd name="T106" fmla="*/ 2147483647 w 306"/>
                <a:gd name="T107" fmla="*/ 2147483647 h 321"/>
                <a:gd name="T108" fmla="*/ 2147483647 w 306"/>
                <a:gd name="T109" fmla="*/ 2147483647 h 321"/>
                <a:gd name="T110" fmla="*/ 2147483647 w 306"/>
                <a:gd name="T111" fmla="*/ 2147483647 h 321"/>
                <a:gd name="T112" fmla="*/ 2147483647 w 306"/>
                <a:gd name="T113" fmla="*/ 2147483647 h 321"/>
                <a:gd name="T114" fmla="*/ 2147483647 w 306"/>
                <a:gd name="T115" fmla="*/ 2147483647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6"/>
                <a:gd name="T175" fmla="*/ 0 h 321"/>
                <a:gd name="T176" fmla="*/ 306 w 306"/>
                <a:gd name="T177" fmla="*/ 321 h 32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149C4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01" name="Freeform 283"/>
            <p:cNvSpPr>
              <a:spLocks/>
            </p:cNvSpPr>
            <p:nvPr/>
          </p:nvSpPr>
          <p:spPr bwMode="auto">
            <a:xfrm>
              <a:off x="7056060" y="3293797"/>
              <a:ext cx="25539" cy="57797"/>
            </a:xfrm>
            <a:custGeom>
              <a:avLst/>
              <a:gdLst>
                <a:gd name="T0" fmla="*/ 2147483647 w 60"/>
                <a:gd name="T1" fmla="*/ 2147483647 h 110"/>
                <a:gd name="T2" fmla="*/ 2147483647 w 60"/>
                <a:gd name="T3" fmla="*/ 2147483647 h 110"/>
                <a:gd name="T4" fmla="*/ 2147483647 w 60"/>
                <a:gd name="T5" fmla="*/ 2147483647 h 110"/>
                <a:gd name="T6" fmla="*/ 2147483647 w 60"/>
                <a:gd name="T7" fmla="*/ 2147483647 h 110"/>
                <a:gd name="T8" fmla="*/ 2147483647 w 60"/>
                <a:gd name="T9" fmla="*/ 2147483647 h 110"/>
                <a:gd name="T10" fmla="*/ 2147483647 w 60"/>
                <a:gd name="T11" fmla="*/ 2147483647 h 110"/>
                <a:gd name="T12" fmla="*/ 2147483647 w 60"/>
                <a:gd name="T13" fmla="*/ 2147483647 h 110"/>
                <a:gd name="T14" fmla="*/ 2147483647 w 60"/>
                <a:gd name="T15" fmla="*/ 2147483647 h 110"/>
                <a:gd name="T16" fmla="*/ 2147483647 w 60"/>
                <a:gd name="T17" fmla="*/ 2147483647 h 110"/>
                <a:gd name="T18" fmla="*/ 2147483647 w 60"/>
                <a:gd name="T19" fmla="*/ 2147483647 h 110"/>
                <a:gd name="T20" fmla="*/ 2147483647 w 60"/>
                <a:gd name="T21" fmla="*/ 2147483647 h 110"/>
                <a:gd name="T22" fmla="*/ 2147483647 w 60"/>
                <a:gd name="T23" fmla="*/ 2147483647 h 110"/>
                <a:gd name="T24" fmla="*/ 2147483647 w 60"/>
                <a:gd name="T25" fmla="*/ 2147483647 h 110"/>
                <a:gd name="T26" fmla="*/ 2147483647 w 60"/>
                <a:gd name="T27" fmla="*/ 2147483647 h 110"/>
                <a:gd name="T28" fmla="*/ 2147483647 w 60"/>
                <a:gd name="T29" fmla="*/ 2147483647 h 110"/>
                <a:gd name="T30" fmla="*/ 2147483647 w 60"/>
                <a:gd name="T31" fmla="*/ 2147483647 h 110"/>
                <a:gd name="T32" fmla="*/ 2147483647 w 60"/>
                <a:gd name="T33" fmla="*/ 0 h 110"/>
                <a:gd name="T34" fmla="*/ 2147483647 w 60"/>
                <a:gd name="T35" fmla="*/ 0 h 110"/>
                <a:gd name="T36" fmla="*/ 2147483647 w 60"/>
                <a:gd name="T37" fmla="*/ 2147483647 h 110"/>
                <a:gd name="T38" fmla="*/ 2147483647 w 60"/>
                <a:gd name="T39" fmla="*/ 2147483647 h 110"/>
                <a:gd name="T40" fmla="*/ 2147483647 w 60"/>
                <a:gd name="T41" fmla="*/ 2147483647 h 110"/>
                <a:gd name="T42" fmla="*/ 2147483647 w 60"/>
                <a:gd name="T43" fmla="*/ 2147483647 h 110"/>
                <a:gd name="T44" fmla="*/ 2147483647 w 60"/>
                <a:gd name="T45" fmla="*/ 2147483647 h 110"/>
                <a:gd name="T46" fmla="*/ 2147483647 w 60"/>
                <a:gd name="T47" fmla="*/ 2147483647 h 110"/>
                <a:gd name="T48" fmla="*/ 2147483647 w 60"/>
                <a:gd name="T49" fmla="*/ 2147483647 h 110"/>
                <a:gd name="T50" fmla="*/ 2147483647 w 60"/>
                <a:gd name="T51" fmla="*/ 2147483647 h 110"/>
                <a:gd name="T52" fmla="*/ 0 w 60"/>
                <a:gd name="T53" fmla="*/ 2147483647 h 110"/>
                <a:gd name="T54" fmla="*/ 0 w 60"/>
                <a:gd name="T55" fmla="*/ 2147483647 h 110"/>
                <a:gd name="T56" fmla="*/ 0 w 60"/>
                <a:gd name="T57" fmla="*/ 2147483647 h 110"/>
                <a:gd name="T58" fmla="*/ 0 w 60"/>
                <a:gd name="T59" fmla="*/ 2147483647 h 110"/>
                <a:gd name="T60" fmla="*/ 0 w 60"/>
                <a:gd name="T61" fmla="*/ 2147483647 h 110"/>
                <a:gd name="T62" fmla="*/ 2147483647 w 60"/>
                <a:gd name="T63" fmla="*/ 2147483647 h 110"/>
                <a:gd name="T64" fmla="*/ 2147483647 w 60"/>
                <a:gd name="T65" fmla="*/ 2147483647 h 110"/>
                <a:gd name="T66" fmla="*/ 2147483647 w 60"/>
                <a:gd name="T67" fmla="*/ 2147483647 h 110"/>
                <a:gd name="T68" fmla="*/ 2147483647 w 60"/>
                <a:gd name="T69" fmla="*/ 2147483647 h 110"/>
                <a:gd name="T70" fmla="*/ 2147483647 w 60"/>
                <a:gd name="T71" fmla="*/ 2147483647 h 110"/>
                <a:gd name="T72" fmla="*/ 2147483647 w 60"/>
                <a:gd name="T73" fmla="*/ 2147483647 h 11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0"/>
                <a:gd name="T112" fmla="*/ 0 h 110"/>
                <a:gd name="T113" fmla="*/ 60 w 60"/>
                <a:gd name="T114" fmla="*/ 110 h 11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solidFill>
              <a:schemeClr val="accent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 baseline="-25000" smtClean="0"/>
            </a:p>
          </p:txBody>
        </p:sp>
        <p:sp>
          <p:nvSpPr>
            <p:cNvPr id="2502" name="Freeform 284"/>
            <p:cNvSpPr>
              <a:spLocks/>
            </p:cNvSpPr>
            <p:nvPr/>
          </p:nvSpPr>
          <p:spPr bwMode="auto">
            <a:xfrm>
              <a:off x="7103106" y="3250785"/>
              <a:ext cx="30917" cy="40324"/>
            </a:xfrm>
            <a:custGeom>
              <a:avLst/>
              <a:gdLst>
                <a:gd name="T0" fmla="*/ 0 w 72"/>
                <a:gd name="T1" fmla="*/ 2147483647 h 75"/>
                <a:gd name="T2" fmla="*/ 2147483647 w 72"/>
                <a:gd name="T3" fmla="*/ 2147483647 h 75"/>
                <a:gd name="T4" fmla="*/ 2147483647 w 72"/>
                <a:gd name="T5" fmla="*/ 2147483647 h 75"/>
                <a:gd name="T6" fmla="*/ 2147483647 w 72"/>
                <a:gd name="T7" fmla="*/ 2147483647 h 75"/>
                <a:gd name="T8" fmla="*/ 2147483647 w 72"/>
                <a:gd name="T9" fmla="*/ 2147483647 h 75"/>
                <a:gd name="T10" fmla="*/ 2147483647 w 72"/>
                <a:gd name="T11" fmla="*/ 2147483647 h 75"/>
                <a:gd name="T12" fmla="*/ 2147483647 w 72"/>
                <a:gd name="T13" fmla="*/ 2147483647 h 75"/>
                <a:gd name="T14" fmla="*/ 2147483647 w 72"/>
                <a:gd name="T15" fmla="*/ 2147483647 h 75"/>
                <a:gd name="T16" fmla="*/ 2147483647 w 72"/>
                <a:gd name="T17" fmla="*/ 2147483647 h 75"/>
                <a:gd name="T18" fmla="*/ 2147483647 w 72"/>
                <a:gd name="T19" fmla="*/ 2147483647 h 75"/>
                <a:gd name="T20" fmla="*/ 2147483647 w 72"/>
                <a:gd name="T21" fmla="*/ 2147483647 h 75"/>
                <a:gd name="T22" fmla="*/ 2147483647 w 72"/>
                <a:gd name="T23" fmla="*/ 2147483647 h 75"/>
                <a:gd name="T24" fmla="*/ 2147483647 w 72"/>
                <a:gd name="T25" fmla="*/ 2147483647 h 75"/>
                <a:gd name="T26" fmla="*/ 2147483647 w 72"/>
                <a:gd name="T27" fmla="*/ 2147483647 h 75"/>
                <a:gd name="T28" fmla="*/ 2147483647 w 72"/>
                <a:gd name="T29" fmla="*/ 2147483647 h 75"/>
                <a:gd name="T30" fmla="*/ 2147483647 w 72"/>
                <a:gd name="T31" fmla="*/ 0 h 75"/>
                <a:gd name="T32" fmla="*/ 2147483647 w 72"/>
                <a:gd name="T33" fmla="*/ 0 h 75"/>
                <a:gd name="T34" fmla="*/ 2147483647 w 72"/>
                <a:gd name="T35" fmla="*/ 0 h 75"/>
                <a:gd name="T36" fmla="*/ 2147483647 w 72"/>
                <a:gd name="T37" fmla="*/ 0 h 75"/>
                <a:gd name="T38" fmla="*/ 2147483647 w 72"/>
                <a:gd name="T39" fmla="*/ 0 h 75"/>
                <a:gd name="T40" fmla="*/ 2147483647 w 72"/>
                <a:gd name="T41" fmla="*/ 2147483647 h 75"/>
                <a:gd name="T42" fmla="*/ 2147483647 w 72"/>
                <a:gd name="T43" fmla="*/ 2147483647 h 75"/>
                <a:gd name="T44" fmla="*/ 0 w 72"/>
                <a:gd name="T45" fmla="*/ 2147483647 h 75"/>
                <a:gd name="T46" fmla="*/ 0 w 72"/>
                <a:gd name="T47" fmla="*/ 2147483647 h 7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72"/>
                <a:gd name="T73" fmla="*/ 0 h 75"/>
                <a:gd name="T74" fmla="*/ 72 w 72"/>
                <a:gd name="T75" fmla="*/ 75 h 7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solidFill>
              <a:schemeClr val="accent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 baseline="-25000" smtClean="0"/>
            </a:p>
          </p:txBody>
        </p:sp>
        <p:sp>
          <p:nvSpPr>
            <p:cNvPr id="15800" name="Freeform 285"/>
            <p:cNvSpPr>
              <a:spLocks/>
            </p:cNvSpPr>
            <p:nvPr/>
          </p:nvSpPr>
          <p:spPr bwMode="auto">
            <a:xfrm>
              <a:off x="7064375" y="3198813"/>
              <a:ext cx="7938" cy="25400"/>
            </a:xfrm>
            <a:custGeom>
              <a:avLst/>
              <a:gdLst>
                <a:gd name="T0" fmla="*/ 2147483647 w 15"/>
                <a:gd name="T1" fmla="*/ 2147483647 h 49"/>
                <a:gd name="T2" fmla="*/ 2147483647 w 15"/>
                <a:gd name="T3" fmla="*/ 2147483647 h 49"/>
                <a:gd name="T4" fmla="*/ 2147483647 w 15"/>
                <a:gd name="T5" fmla="*/ 2147483647 h 49"/>
                <a:gd name="T6" fmla="*/ 2147483647 w 15"/>
                <a:gd name="T7" fmla="*/ 2147483647 h 49"/>
                <a:gd name="T8" fmla="*/ 2147483647 w 15"/>
                <a:gd name="T9" fmla="*/ 2147483647 h 49"/>
                <a:gd name="T10" fmla="*/ 2147483647 w 15"/>
                <a:gd name="T11" fmla="*/ 0 h 49"/>
                <a:gd name="T12" fmla="*/ 2147483647 w 15"/>
                <a:gd name="T13" fmla="*/ 0 h 49"/>
                <a:gd name="T14" fmla="*/ 0 w 15"/>
                <a:gd name="T15" fmla="*/ 2147483647 h 49"/>
                <a:gd name="T16" fmla="*/ 0 w 15"/>
                <a:gd name="T17" fmla="*/ 2147483647 h 49"/>
                <a:gd name="T18" fmla="*/ 0 w 15"/>
                <a:gd name="T19" fmla="*/ 2147483647 h 49"/>
                <a:gd name="T20" fmla="*/ 0 w 15"/>
                <a:gd name="T21" fmla="*/ 2147483647 h 49"/>
                <a:gd name="T22" fmla="*/ 0 w 15"/>
                <a:gd name="T23" fmla="*/ 2147483647 h 49"/>
                <a:gd name="T24" fmla="*/ 0 w 15"/>
                <a:gd name="T25" fmla="*/ 2147483647 h 49"/>
                <a:gd name="T26" fmla="*/ 2147483647 w 15"/>
                <a:gd name="T27" fmla="*/ 2147483647 h 49"/>
                <a:gd name="T28" fmla="*/ 2147483647 w 15"/>
                <a:gd name="T29" fmla="*/ 2147483647 h 49"/>
                <a:gd name="T30" fmla="*/ 2147483647 w 15"/>
                <a:gd name="T31" fmla="*/ 2147483647 h 49"/>
                <a:gd name="T32" fmla="*/ 2147483647 w 15"/>
                <a:gd name="T33" fmla="*/ 2147483647 h 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5"/>
                <a:gd name="T52" fmla="*/ 0 h 49"/>
                <a:gd name="T53" fmla="*/ 15 w 15"/>
                <a:gd name="T54" fmla="*/ 49 h 4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solidFill>
              <a:srgbClr val="008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04" name="Freeform 286"/>
            <p:cNvSpPr>
              <a:spLocks/>
            </p:cNvSpPr>
            <p:nvPr/>
          </p:nvSpPr>
          <p:spPr bwMode="auto">
            <a:xfrm>
              <a:off x="7037241" y="3195677"/>
              <a:ext cx="18819" cy="20161"/>
            </a:xfrm>
            <a:custGeom>
              <a:avLst/>
              <a:gdLst>
                <a:gd name="T0" fmla="*/ 2147483647 w 47"/>
                <a:gd name="T1" fmla="*/ 2147483647 h 40"/>
                <a:gd name="T2" fmla="*/ 0 w 47"/>
                <a:gd name="T3" fmla="*/ 2147483647 h 40"/>
                <a:gd name="T4" fmla="*/ 2147483647 w 47"/>
                <a:gd name="T5" fmla="*/ 2147483647 h 40"/>
                <a:gd name="T6" fmla="*/ 2147483647 w 47"/>
                <a:gd name="T7" fmla="*/ 2147483647 h 40"/>
                <a:gd name="T8" fmla="*/ 2147483647 w 47"/>
                <a:gd name="T9" fmla="*/ 2147483647 h 40"/>
                <a:gd name="T10" fmla="*/ 2147483647 w 47"/>
                <a:gd name="T11" fmla="*/ 2147483647 h 40"/>
                <a:gd name="T12" fmla="*/ 2147483647 w 47"/>
                <a:gd name="T13" fmla="*/ 2147483647 h 40"/>
                <a:gd name="T14" fmla="*/ 2147483647 w 47"/>
                <a:gd name="T15" fmla="*/ 2147483647 h 40"/>
                <a:gd name="T16" fmla="*/ 2147483647 w 47"/>
                <a:gd name="T17" fmla="*/ 2147483647 h 40"/>
                <a:gd name="T18" fmla="*/ 2147483647 w 47"/>
                <a:gd name="T19" fmla="*/ 2147483647 h 40"/>
                <a:gd name="T20" fmla="*/ 2147483647 w 47"/>
                <a:gd name="T21" fmla="*/ 0 h 40"/>
                <a:gd name="T22" fmla="*/ 2147483647 w 47"/>
                <a:gd name="T23" fmla="*/ 0 h 40"/>
                <a:gd name="T24" fmla="*/ 2147483647 w 47"/>
                <a:gd name="T25" fmla="*/ 0 h 40"/>
                <a:gd name="T26" fmla="*/ 2147483647 w 47"/>
                <a:gd name="T27" fmla="*/ 0 h 40"/>
                <a:gd name="T28" fmla="*/ 2147483647 w 47"/>
                <a:gd name="T29" fmla="*/ 2147483647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7"/>
                <a:gd name="T46" fmla="*/ 0 h 40"/>
                <a:gd name="T47" fmla="*/ 47 w 47"/>
                <a:gd name="T48" fmla="*/ 40 h 4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solidFill>
              <a:schemeClr val="accent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 baseline="-25000" smtClean="0"/>
            </a:p>
          </p:txBody>
        </p:sp>
        <p:sp>
          <p:nvSpPr>
            <p:cNvPr id="15802" name="Freeform 287"/>
            <p:cNvSpPr>
              <a:spLocks/>
            </p:cNvSpPr>
            <p:nvPr/>
          </p:nvSpPr>
          <p:spPr bwMode="auto">
            <a:xfrm>
              <a:off x="7096125" y="3319463"/>
              <a:ext cx="17463" cy="15875"/>
            </a:xfrm>
            <a:custGeom>
              <a:avLst/>
              <a:gdLst>
                <a:gd name="T0" fmla="*/ 0 w 39"/>
                <a:gd name="T1" fmla="*/ 0 h 31"/>
                <a:gd name="T2" fmla="*/ 0 w 39"/>
                <a:gd name="T3" fmla="*/ 2147483647 h 31"/>
                <a:gd name="T4" fmla="*/ 2147483647 w 39"/>
                <a:gd name="T5" fmla="*/ 2147483647 h 31"/>
                <a:gd name="T6" fmla="*/ 2147483647 w 39"/>
                <a:gd name="T7" fmla="*/ 2147483647 h 31"/>
                <a:gd name="T8" fmla="*/ 2147483647 w 39"/>
                <a:gd name="T9" fmla="*/ 2147483647 h 31"/>
                <a:gd name="T10" fmla="*/ 2147483647 w 39"/>
                <a:gd name="T11" fmla="*/ 2147483647 h 31"/>
                <a:gd name="T12" fmla="*/ 2147483647 w 39"/>
                <a:gd name="T13" fmla="*/ 2147483647 h 31"/>
                <a:gd name="T14" fmla="*/ 2147483647 w 39"/>
                <a:gd name="T15" fmla="*/ 2147483647 h 31"/>
                <a:gd name="T16" fmla="*/ 2147483647 w 39"/>
                <a:gd name="T17" fmla="*/ 2147483647 h 31"/>
                <a:gd name="T18" fmla="*/ 2147483647 w 39"/>
                <a:gd name="T19" fmla="*/ 2147483647 h 31"/>
                <a:gd name="T20" fmla="*/ 2147483647 w 39"/>
                <a:gd name="T21" fmla="*/ 2147483647 h 31"/>
                <a:gd name="T22" fmla="*/ 2147483647 w 39"/>
                <a:gd name="T23" fmla="*/ 2147483647 h 31"/>
                <a:gd name="T24" fmla="*/ 2147483647 w 39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9"/>
                <a:gd name="T40" fmla="*/ 0 h 31"/>
                <a:gd name="T41" fmla="*/ 39 w 39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solidFill>
              <a:srgbClr val="008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803" name="Freeform 288"/>
            <p:cNvSpPr>
              <a:spLocks/>
            </p:cNvSpPr>
            <p:nvPr/>
          </p:nvSpPr>
          <p:spPr bwMode="auto">
            <a:xfrm>
              <a:off x="7080250" y="3232150"/>
              <a:ext cx="14288" cy="9525"/>
            </a:xfrm>
            <a:custGeom>
              <a:avLst/>
              <a:gdLst>
                <a:gd name="T0" fmla="*/ 0 w 34"/>
                <a:gd name="T1" fmla="*/ 0 h 19"/>
                <a:gd name="T2" fmla="*/ 2147483647 w 34"/>
                <a:gd name="T3" fmla="*/ 2147483647 h 19"/>
                <a:gd name="T4" fmla="*/ 2147483647 w 34"/>
                <a:gd name="T5" fmla="*/ 0 h 19"/>
                <a:gd name="T6" fmla="*/ 2147483647 w 34"/>
                <a:gd name="T7" fmla="*/ 0 h 19"/>
                <a:gd name="T8" fmla="*/ 2147483647 w 34"/>
                <a:gd name="T9" fmla="*/ 0 h 19"/>
                <a:gd name="T10" fmla="*/ 2147483647 w 34"/>
                <a:gd name="T11" fmla="*/ 0 h 19"/>
                <a:gd name="T12" fmla="*/ 0 w 34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4"/>
                <a:gd name="T22" fmla="*/ 0 h 19"/>
                <a:gd name="T23" fmla="*/ 34 w 34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008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804" name="Freeform 289"/>
            <p:cNvSpPr>
              <a:spLocks/>
            </p:cNvSpPr>
            <p:nvPr/>
          </p:nvSpPr>
          <p:spPr bwMode="auto">
            <a:xfrm>
              <a:off x="7091363" y="3328988"/>
              <a:ext cx="7937" cy="6350"/>
            </a:xfrm>
            <a:custGeom>
              <a:avLst/>
              <a:gdLst>
                <a:gd name="T0" fmla="*/ 0 w 19"/>
                <a:gd name="T1" fmla="*/ 0 h 12"/>
                <a:gd name="T2" fmla="*/ 2147483647 w 19"/>
                <a:gd name="T3" fmla="*/ 2147483647 h 12"/>
                <a:gd name="T4" fmla="*/ 2147483647 w 19"/>
                <a:gd name="T5" fmla="*/ 2147483647 h 12"/>
                <a:gd name="T6" fmla="*/ 2147483647 w 19"/>
                <a:gd name="T7" fmla="*/ 2147483647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12"/>
                <a:gd name="T14" fmla="*/ 19 w 19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solidFill>
              <a:srgbClr val="008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08" name="Freeform 290"/>
            <p:cNvSpPr>
              <a:spLocks/>
            </p:cNvSpPr>
            <p:nvPr/>
          </p:nvSpPr>
          <p:spPr bwMode="auto">
            <a:xfrm>
              <a:off x="6936426" y="3291109"/>
              <a:ext cx="55112" cy="86023"/>
            </a:xfrm>
            <a:custGeom>
              <a:avLst/>
              <a:gdLst>
                <a:gd name="T0" fmla="*/ 2147483647 w 126"/>
                <a:gd name="T1" fmla="*/ 0 h 166"/>
                <a:gd name="T2" fmla="*/ 2147483647 w 126"/>
                <a:gd name="T3" fmla="*/ 2147483647 h 166"/>
                <a:gd name="T4" fmla="*/ 2147483647 w 126"/>
                <a:gd name="T5" fmla="*/ 2147483647 h 166"/>
                <a:gd name="T6" fmla="*/ 2147483647 w 126"/>
                <a:gd name="T7" fmla="*/ 2147483647 h 166"/>
                <a:gd name="T8" fmla="*/ 2147483647 w 126"/>
                <a:gd name="T9" fmla="*/ 2147483647 h 166"/>
                <a:gd name="T10" fmla="*/ 2147483647 w 126"/>
                <a:gd name="T11" fmla="*/ 2147483647 h 166"/>
                <a:gd name="T12" fmla="*/ 2147483647 w 126"/>
                <a:gd name="T13" fmla="*/ 2147483647 h 166"/>
                <a:gd name="T14" fmla="*/ 2147483647 w 126"/>
                <a:gd name="T15" fmla="*/ 2147483647 h 166"/>
                <a:gd name="T16" fmla="*/ 2147483647 w 126"/>
                <a:gd name="T17" fmla="*/ 2147483647 h 166"/>
                <a:gd name="T18" fmla="*/ 2147483647 w 126"/>
                <a:gd name="T19" fmla="*/ 2147483647 h 166"/>
                <a:gd name="T20" fmla="*/ 2147483647 w 126"/>
                <a:gd name="T21" fmla="*/ 2147483647 h 166"/>
                <a:gd name="T22" fmla="*/ 2147483647 w 126"/>
                <a:gd name="T23" fmla="*/ 2147483647 h 166"/>
                <a:gd name="T24" fmla="*/ 2147483647 w 126"/>
                <a:gd name="T25" fmla="*/ 2147483647 h 166"/>
                <a:gd name="T26" fmla="*/ 2147483647 w 126"/>
                <a:gd name="T27" fmla="*/ 2147483647 h 166"/>
                <a:gd name="T28" fmla="*/ 2147483647 w 126"/>
                <a:gd name="T29" fmla="*/ 2147483647 h 166"/>
                <a:gd name="T30" fmla="*/ 2147483647 w 126"/>
                <a:gd name="T31" fmla="*/ 2147483647 h 166"/>
                <a:gd name="T32" fmla="*/ 2147483647 w 126"/>
                <a:gd name="T33" fmla="*/ 2147483647 h 166"/>
                <a:gd name="T34" fmla="*/ 2147483647 w 126"/>
                <a:gd name="T35" fmla="*/ 2147483647 h 166"/>
                <a:gd name="T36" fmla="*/ 0 w 126"/>
                <a:gd name="T37" fmla="*/ 2147483647 h 166"/>
                <a:gd name="T38" fmla="*/ 0 w 126"/>
                <a:gd name="T39" fmla="*/ 2147483647 h 166"/>
                <a:gd name="T40" fmla="*/ 0 w 126"/>
                <a:gd name="T41" fmla="*/ 2147483647 h 166"/>
                <a:gd name="T42" fmla="*/ 0 w 126"/>
                <a:gd name="T43" fmla="*/ 2147483647 h 166"/>
                <a:gd name="T44" fmla="*/ 0 w 126"/>
                <a:gd name="T45" fmla="*/ 2147483647 h 166"/>
                <a:gd name="T46" fmla="*/ 0 w 126"/>
                <a:gd name="T47" fmla="*/ 2147483647 h 166"/>
                <a:gd name="T48" fmla="*/ 2147483647 w 126"/>
                <a:gd name="T49" fmla="*/ 2147483647 h 166"/>
                <a:gd name="T50" fmla="*/ 2147483647 w 126"/>
                <a:gd name="T51" fmla="*/ 2147483647 h 166"/>
                <a:gd name="T52" fmla="*/ 2147483647 w 126"/>
                <a:gd name="T53" fmla="*/ 2147483647 h 166"/>
                <a:gd name="T54" fmla="*/ 2147483647 w 126"/>
                <a:gd name="T55" fmla="*/ 2147483647 h 166"/>
                <a:gd name="T56" fmla="*/ 2147483647 w 126"/>
                <a:gd name="T57" fmla="*/ 2147483647 h 166"/>
                <a:gd name="T58" fmla="*/ 2147483647 w 126"/>
                <a:gd name="T59" fmla="*/ 2147483647 h 166"/>
                <a:gd name="T60" fmla="*/ 2147483647 w 126"/>
                <a:gd name="T61" fmla="*/ 2147483647 h 166"/>
                <a:gd name="T62" fmla="*/ 2147483647 w 126"/>
                <a:gd name="T63" fmla="*/ 2147483647 h 166"/>
                <a:gd name="T64" fmla="*/ 2147483647 w 126"/>
                <a:gd name="T65" fmla="*/ 2147483647 h 166"/>
                <a:gd name="T66" fmla="*/ 2147483647 w 126"/>
                <a:gd name="T67" fmla="*/ 2147483647 h 166"/>
                <a:gd name="T68" fmla="*/ 2147483647 w 126"/>
                <a:gd name="T69" fmla="*/ 2147483647 h 166"/>
                <a:gd name="T70" fmla="*/ 2147483647 w 126"/>
                <a:gd name="T71" fmla="*/ 2147483647 h 166"/>
                <a:gd name="T72" fmla="*/ 2147483647 w 126"/>
                <a:gd name="T73" fmla="*/ 2147483647 h 166"/>
                <a:gd name="T74" fmla="*/ 2147483647 w 126"/>
                <a:gd name="T75" fmla="*/ 2147483647 h 166"/>
                <a:gd name="T76" fmla="*/ 2147483647 w 126"/>
                <a:gd name="T77" fmla="*/ 2147483647 h 166"/>
                <a:gd name="T78" fmla="*/ 2147483647 w 126"/>
                <a:gd name="T79" fmla="*/ 2147483647 h 166"/>
                <a:gd name="T80" fmla="*/ 2147483647 w 126"/>
                <a:gd name="T81" fmla="*/ 0 h 1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26"/>
                <a:gd name="T124" fmla="*/ 0 h 166"/>
                <a:gd name="T125" fmla="*/ 126 w 126"/>
                <a:gd name="T126" fmla="*/ 166 h 16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solidFill>
              <a:schemeClr val="accent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 baseline="-25000" smtClean="0"/>
            </a:p>
          </p:txBody>
        </p:sp>
        <p:sp>
          <p:nvSpPr>
            <p:cNvPr id="2509" name="Freeform 291"/>
            <p:cNvSpPr>
              <a:spLocks/>
            </p:cNvSpPr>
            <p:nvPr/>
          </p:nvSpPr>
          <p:spPr bwMode="auto">
            <a:xfrm>
              <a:off x="7056060" y="3319336"/>
              <a:ext cx="112912" cy="134412"/>
            </a:xfrm>
            <a:custGeom>
              <a:avLst/>
              <a:gdLst>
                <a:gd name="T0" fmla="*/ 2147483647 w 259"/>
                <a:gd name="T1" fmla="*/ 2147483647 h 259"/>
                <a:gd name="T2" fmla="*/ 0 w 259"/>
                <a:gd name="T3" fmla="*/ 2147483647 h 259"/>
                <a:gd name="T4" fmla="*/ 0 w 259"/>
                <a:gd name="T5" fmla="*/ 2147483647 h 259"/>
                <a:gd name="T6" fmla="*/ 2147483647 w 259"/>
                <a:gd name="T7" fmla="*/ 2147483647 h 259"/>
                <a:gd name="T8" fmla="*/ 2147483647 w 259"/>
                <a:gd name="T9" fmla="*/ 2147483647 h 259"/>
                <a:gd name="T10" fmla="*/ 2147483647 w 259"/>
                <a:gd name="T11" fmla="*/ 2147483647 h 259"/>
                <a:gd name="T12" fmla="*/ 2147483647 w 259"/>
                <a:gd name="T13" fmla="*/ 2147483647 h 259"/>
                <a:gd name="T14" fmla="*/ 2147483647 w 259"/>
                <a:gd name="T15" fmla="*/ 2147483647 h 259"/>
                <a:gd name="T16" fmla="*/ 2147483647 w 259"/>
                <a:gd name="T17" fmla="*/ 2147483647 h 259"/>
                <a:gd name="T18" fmla="*/ 2147483647 w 259"/>
                <a:gd name="T19" fmla="*/ 2147483647 h 259"/>
                <a:gd name="T20" fmla="*/ 2147483647 w 259"/>
                <a:gd name="T21" fmla="*/ 2147483647 h 259"/>
                <a:gd name="T22" fmla="*/ 2147483647 w 259"/>
                <a:gd name="T23" fmla="*/ 2147483647 h 259"/>
                <a:gd name="T24" fmla="*/ 2147483647 w 259"/>
                <a:gd name="T25" fmla="*/ 2147483647 h 259"/>
                <a:gd name="T26" fmla="*/ 2147483647 w 259"/>
                <a:gd name="T27" fmla="*/ 2147483647 h 259"/>
                <a:gd name="T28" fmla="*/ 2147483647 w 259"/>
                <a:gd name="T29" fmla="*/ 2147483647 h 259"/>
                <a:gd name="T30" fmla="*/ 2147483647 w 259"/>
                <a:gd name="T31" fmla="*/ 2147483647 h 259"/>
                <a:gd name="T32" fmla="*/ 2147483647 w 259"/>
                <a:gd name="T33" fmla="*/ 2147483647 h 259"/>
                <a:gd name="T34" fmla="*/ 2147483647 w 259"/>
                <a:gd name="T35" fmla="*/ 2147483647 h 259"/>
                <a:gd name="T36" fmla="*/ 2147483647 w 259"/>
                <a:gd name="T37" fmla="*/ 2147483647 h 259"/>
                <a:gd name="T38" fmla="*/ 2147483647 w 259"/>
                <a:gd name="T39" fmla="*/ 0 h 259"/>
                <a:gd name="T40" fmla="*/ 2147483647 w 259"/>
                <a:gd name="T41" fmla="*/ 2147483647 h 259"/>
                <a:gd name="T42" fmla="*/ 2147483647 w 259"/>
                <a:gd name="T43" fmla="*/ 2147483647 h 259"/>
                <a:gd name="T44" fmla="*/ 2147483647 w 259"/>
                <a:gd name="T45" fmla="*/ 2147483647 h 259"/>
                <a:gd name="T46" fmla="*/ 2147483647 w 259"/>
                <a:gd name="T47" fmla="*/ 2147483647 h 259"/>
                <a:gd name="T48" fmla="*/ 2147483647 w 259"/>
                <a:gd name="T49" fmla="*/ 2147483647 h 259"/>
                <a:gd name="T50" fmla="*/ 2147483647 w 259"/>
                <a:gd name="T51" fmla="*/ 2147483647 h 259"/>
                <a:gd name="T52" fmla="*/ 2147483647 w 259"/>
                <a:gd name="T53" fmla="*/ 2147483647 h 259"/>
                <a:gd name="T54" fmla="*/ 2147483647 w 259"/>
                <a:gd name="T55" fmla="*/ 2147483647 h 259"/>
                <a:gd name="T56" fmla="*/ 2147483647 w 259"/>
                <a:gd name="T57" fmla="*/ 2147483647 h 259"/>
                <a:gd name="T58" fmla="*/ 2147483647 w 259"/>
                <a:gd name="T59" fmla="*/ 2147483647 h 259"/>
                <a:gd name="T60" fmla="*/ 2147483647 w 259"/>
                <a:gd name="T61" fmla="*/ 2147483647 h 259"/>
                <a:gd name="T62" fmla="*/ 2147483647 w 259"/>
                <a:gd name="T63" fmla="*/ 2147483647 h 259"/>
                <a:gd name="T64" fmla="*/ 2147483647 w 259"/>
                <a:gd name="T65" fmla="*/ 2147483647 h 259"/>
                <a:gd name="T66" fmla="*/ 2147483647 w 259"/>
                <a:gd name="T67" fmla="*/ 2147483647 h 259"/>
                <a:gd name="T68" fmla="*/ 2147483647 w 259"/>
                <a:gd name="T69" fmla="*/ 2147483647 h 259"/>
                <a:gd name="T70" fmla="*/ 2147483647 w 259"/>
                <a:gd name="T71" fmla="*/ 2147483647 h 259"/>
                <a:gd name="T72" fmla="*/ 2147483647 w 259"/>
                <a:gd name="T73" fmla="*/ 2147483647 h 259"/>
                <a:gd name="T74" fmla="*/ 2147483647 w 259"/>
                <a:gd name="T75" fmla="*/ 2147483647 h 259"/>
                <a:gd name="T76" fmla="*/ 2147483647 w 259"/>
                <a:gd name="T77" fmla="*/ 2147483647 h 259"/>
                <a:gd name="T78" fmla="*/ 2147483647 w 259"/>
                <a:gd name="T79" fmla="*/ 2147483647 h 259"/>
                <a:gd name="T80" fmla="*/ 2147483647 w 259"/>
                <a:gd name="T81" fmla="*/ 2147483647 h 259"/>
                <a:gd name="T82" fmla="*/ 2147483647 w 259"/>
                <a:gd name="T83" fmla="*/ 2147483647 h 259"/>
                <a:gd name="T84" fmla="*/ 2147483647 w 259"/>
                <a:gd name="T85" fmla="*/ 2147483647 h 259"/>
                <a:gd name="T86" fmla="*/ 2147483647 w 259"/>
                <a:gd name="T87" fmla="*/ 2147483647 h 259"/>
                <a:gd name="T88" fmla="*/ 2147483647 w 259"/>
                <a:gd name="T89" fmla="*/ 2147483647 h 259"/>
                <a:gd name="T90" fmla="*/ 2147483647 w 259"/>
                <a:gd name="T91" fmla="*/ 2147483647 h 259"/>
                <a:gd name="T92" fmla="*/ 2147483647 w 259"/>
                <a:gd name="T93" fmla="*/ 2147483647 h 259"/>
                <a:gd name="T94" fmla="*/ 2147483647 w 259"/>
                <a:gd name="T95" fmla="*/ 2147483647 h 259"/>
                <a:gd name="T96" fmla="*/ 2147483647 w 259"/>
                <a:gd name="T97" fmla="*/ 2147483647 h 259"/>
                <a:gd name="T98" fmla="*/ 2147483647 w 259"/>
                <a:gd name="T99" fmla="*/ 2147483647 h 259"/>
                <a:gd name="T100" fmla="*/ 2147483647 w 259"/>
                <a:gd name="T101" fmla="*/ 2147483647 h 259"/>
                <a:gd name="T102" fmla="*/ 2147483647 w 259"/>
                <a:gd name="T103" fmla="*/ 2147483647 h 259"/>
                <a:gd name="T104" fmla="*/ 2147483647 w 259"/>
                <a:gd name="T105" fmla="*/ 2147483647 h 25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59"/>
                <a:gd name="T160" fmla="*/ 0 h 259"/>
                <a:gd name="T161" fmla="*/ 259 w 259"/>
                <a:gd name="T162" fmla="*/ 259 h 259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solidFill>
              <a:schemeClr val="accent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 baseline="-25000" smtClean="0"/>
            </a:p>
          </p:txBody>
        </p:sp>
        <p:sp>
          <p:nvSpPr>
            <p:cNvPr id="2510" name="Freeform 292"/>
            <p:cNvSpPr>
              <a:spLocks/>
            </p:cNvSpPr>
            <p:nvPr/>
          </p:nvSpPr>
          <p:spPr bwMode="auto">
            <a:xfrm>
              <a:off x="6991539" y="3207774"/>
              <a:ext cx="29572" cy="49733"/>
            </a:xfrm>
            <a:custGeom>
              <a:avLst/>
              <a:gdLst>
                <a:gd name="T0" fmla="*/ 2147483647 w 72"/>
                <a:gd name="T1" fmla="*/ 2147483647 h 92"/>
                <a:gd name="T2" fmla="*/ 2147483647 w 72"/>
                <a:gd name="T3" fmla="*/ 2147483647 h 92"/>
                <a:gd name="T4" fmla="*/ 2147483647 w 72"/>
                <a:gd name="T5" fmla="*/ 2147483647 h 92"/>
                <a:gd name="T6" fmla="*/ 2147483647 w 72"/>
                <a:gd name="T7" fmla="*/ 2147483647 h 92"/>
                <a:gd name="T8" fmla="*/ 2147483647 w 72"/>
                <a:gd name="T9" fmla="*/ 2147483647 h 92"/>
                <a:gd name="T10" fmla="*/ 2147483647 w 72"/>
                <a:gd name="T11" fmla="*/ 2147483647 h 92"/>
                <a:gd name="T12" fmla="*/ 2147483647 w 72"/>
                <a:gd name="T13" fmla="*/ 2147483647 h 92"/>
                <a:gd name="T14" fmla="*/ 2147483647 w 72"/>
                <a:gd name="T15" fmla="*/ 2147483647 h 92"/>
                <a:gd name="T16" fmla="*/ 2147483647 w 72"/>
                <a:gd name="T17" fmla="*/ 2147483647 h 92"/>
                <a:gd name="T18" fmla="*/ 2147483647 w 72"/>
                <a:gd name="T19" fmla="*/ 2147483647 h 92"/>
                <a:gd name="T20" fmla="*/ 2147483647 w 72"/>
                <a:gd name="T21" fmla="*/ 2147483647 h 92"/>
                <a:gd name="T22" fmla="*/ 0 w 72"/>
                <a:gd name="T23" fmla="*/ 0 h 92"/>
                <a:gd name="T24" fmla="*/ 2147483647 w 72"/>
                <a:gd name="T25" fmla="*/ 2147483647 h 92"/>
                <a:gd name="T26" fmla="*/ 2147483647 w 72"/>
                <a:gd name="T27" fmla="*/ 2147483647 h 92"/>
                <a:gd name="T28" fmla="*/ 2147483647 w 72"/>
                <a:gd name="T29" fmla="*/ 2147483647 h 92"/>
                <a:gd name="T30" fmla="*/ 2147483647 w 72"/>
                <a:gd name="T31" fmla="*/ 2147483647 h 92"/>
                <a:gd name="T32" fmla="*/ 2147483647 w 72"/>
                <a:gd name="T33" fmla="*/ 2147483647 h 92"/>
                <a:gd name="T34" fmla="*/ 2147483647 w 72"/>
                <a:gd name="T35" fmla="*/ 2147483647 h 9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2"/>
                <a:gd name="T55" fmla="*/ 0 h 92"/>
                <a:gd name="T56" fmla="*/ 72 w 72"/>
                <a:gd name="T57" fmla="*/ 92 h 9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solidFill>
              <a:schemeClr val="accent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 baseline="-25000" smtClean="0"/>
            </a:p>
          </p:txBody>
        </p:sp>
        <p:sp>
          <p:nvSpPr>
            <p:cNvPr id="2511" name="Freeform 293"/>
            <p:cNvSpPr>
              <a:spLocks/>
            </p:cNvSpPr>
            <p:nvPr/>
          </p:nvSpPr>
          <p:spPr bwMode="auto">
            <a:xfrm>
              <a:off x="7042618" y="3273636"/>
              <a:ext cx="21507" cy="33602"/>
            </a:xfrm>
            <a:custGeom>
              <a:avLst/>
              <a:gdLst>
                <a:gd name="T0" fmla="*/ 2147483647 w 46"/>
                <a:gd name="T1" fmla="*/ 2147483647 h 62"/>
                <a:gd name="T2" fmla="*/ 2147483647 w 46"/>
                <a:gd name="T3" fmla="*/ 2147483647 h 62"/>
                <a:gd name="T4" fmla="*/ 2147483647 w 46"/>
                <a:gd name="T5" fmla="*/ 0 h 62"/>
                <a:gd name="T6" fmla="*/ 2147483647 w 46"/>
                <a:gd name="T7" fmla="*/ 0 h 62"/>
                <a:gd name="T8" fmla="*/ 2147483647 w 46"/>
                <a:gd name="T9" fmla="*/ 0 h 62"/>
                <a:gd name="T10" fmla="*/ 2147483647 w 46"/>
                <a:gd name="T11" fmla="*/ 2147483647 h 62"/>
                <a:gd name="T12" fmla="*/ 2147483647 w 46"/>
                <a:gd name="T13" fmla="*/ 2147483647 h 62"/>
                <a:gd name="T14" fmla="*/ 2147483647 w 46"/>
                <a:gd name="T15" fmla="*/ 2147483647 h 62"/>
                <a:gd name="T16" fmla="*/ 2147483647 w 46"/>
                <a:gd name="T17" fmla="*/ 2147483647 h 62"/>
                <a:gd name="T18" fmla="*/ 2147483647 w 46"/>
                <a:gd name="T19" fmla="*/ 2147483647 h 62"/>
                <a:gd name="T20" fmla="*/ 2147483647 w 46"/>
                <a:gd name="T21" fmla="*/ 2147483647 h 62"/>
                <a:gd name="T22" fmla="*/ 2147483647 w 46"/>
                <a:gd name="T23" fmla="*/ 2147483647 h 62"/>
                <a:gd name="T24" fmla="*/ 2147483647 w 46"/>
                <a:gd name="T25" fmla="*/ 2147483647 h 62"/>
                <a:gd name="T26" fmla="*/ 2147483647 w 46"/>
                <a:gd name="T27" fmla="*/ 2147483647 h 62"/>
                <a:gd name="T28" fmla="*/ 2147483647 w 46"/>
                <a:gd name="T29" fmla="*/ 2147483647 h 62"/>
                <a:gd name="T30" fmla="*/ 2147483647 w 46"/>
                <a:gd name="T31" fmla="*/ 2147483647 h 62"/>
                <a:gd name="T32" fmla="*/ 2147483647 w 46"/>
                <a:gd name="T33" fmla="*/ 2147483647 h 62"/>
                <a:gd name="T34" fmla="*/ 2147483647 w 46"/>
                <a:gd name="T35" fmla="*/ 2147483647 h 62"/>
                <a:gd name="T36" fmla="*/ 2147483647 w 46"/>
                <a:gd name="T37" fmla="*/ 2147483647 h 62"/>
                <a:gd name="T38" fmla="*/ 2147483647 w 46"/>
                <a:gd name="T39" fmla="*/ 2147483647 h 62"/>
                <a:gd name="T40" fmla="*/ 2147483647 w 46"/>
                <a:gd name="T41" fmla="*/ 2147483647 h 62"/>
                <a:gd name="T42" fmla="*/ 2147483647 w 46"/>
                <a:gd name="T43" fmla="*/ 2147483647 h 62"/>
                <a:gd name="T44" fmla="*/ 0 w 46"/>
                <a:gd name="T45" fmla="*/ 2147483647 h 62"/>
                <a:gd name="T46" fmla="*/ 0 w 46"/>
                <a:gd name="T47" fmla="*/ 2147483647 h 62"/>
                <a:gd name="T48" fmla="*/ 0 w 46"/>
                <a:gd name="T49" fmla="*/ 2147483647 h 62"/>
                <a:gd name="T50" fmla="*/ 0 w 46"/>
                <a:gd name="T51" fmla="*/ 2147483647 h 62"/>
                <a:gd name="T52" fmla="*/ 0 w 46"/>
                <a:gd name="T53" fmla="*/ 2147483647 h 62"/>
                <a:gd name="T54" fmla="*/ 2147483647 w 46"/>
                <a:gd name="T55" fmla="*/ 2147483647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46"/>
                <a:gd name="T85" fmla="*/ 0 h 62"/>
                <a:gd name="T86" fmla="*/ 46 w 46"/>
                <a:gd name="T87" fmla="*/ 62 h 6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chemeClr val="accent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 baseline="-25000" smtClean="0"/>
            </a:p>
          </p:txBody>
        </p:sp>
        <p:sp>
          <p:nvSpPr>
            <p:cNvPr id="2512" name="Freeform 294"/>
            <p:cNvSpPr>
              <a:spLocks/>
            </p:cNvSpPr>
            <p:nvPr/>
          </p:nvSpPr>
          <p:spPr bwMode="auto">
            <a:xfrm>
              <a:off x="6971375" y="3050512"/>
              <a:ext cx="65866" cy="154573"/>
            </a:xfrm>
            <a:custGeom>
              <a:avLst/>
              <a:gdLst>
                <a:gd name="T0" fmla="*/ 2147483647 w 152"/>
                <a:gd name="T1" fmla="*/ 0 h 296"/>
                <a:gd name="T2" fmla="*/ 2147483647 w 152"/>
                <a:gd name="T3" fmla="*/ 2147483647 h 296"/>
                <a:gd name="T4" fmla="*/ 2147483647 w 152"/>
                <a:gd name="T5" fmla="*/ 2147483647 h 296"/>
                <a:gd name="T6" fmla="*/ 2147483647 w 152"/>
                <a:gd name="T7" fmla="*/ 2147483647 h 296"/>
                <a:gd name="T8" fmla="*/ 2147483647 w 152"/>
                <a:gd name="T9" fmla="*/ 2147483647 h 296"/>
                <a:gd name="T10" fmla="*/ 2147483647 w 152"/>
                <a:gd name="T11" fmla="*/ 2147483647 h 296"/>
                <a:gd name="T12" fmla="*/ 2147483647 w 152"/>
                <a:gd name="T13" fmla="*/ 2147483647 h 296"/>
                <a:gd name="T14" fmla="*/ 2147483647 w 152"/>
                <a:gd name="T15" fmla="*/ 2147483647 h 296"/>
                <a:gd name="T16" fmla="*/ 2147483647 w 152"/>
                <a:gd name="T17" fmla="*/ 2147483647 h 296"/>
                <a:gd name="T18" fmla="*/ 2147483647 w 152"/>
                <a:gd name="T19" fmla="*/ 2147483647 h 296"/>
                <a:gd name="T20" fmla="*/ 2147483647 w 152"/>
                <a:gd name="T21" fmla="*/ 2147483647 h 296"/>
                <a:gd name="T22" fmla="*/ 2147483647 w 152"/>
                <a:gd name="T23" fmla="*/ 2147483647 h 296"/>
                <a:gd name="T24" fmla="*/ 2147483647 w 152"/>
                <a:gd name="T25" fmla="*/ 2147483647 h 296"/>
                <a:gd name="T26" fmla="*/ 2147483647 w 152"/>
                <a:gd name="T27" fmla="*/ 2147483647 h 296"/>
                <a:gd name="T28" fmla="*/ 2147483647 w 152"/>
                <a:gd name="T29" fmla="*/ 2147483647 h 296"/>
                <a:gd name="T30" fmla="*/ 2147483647 w 152"/>
                <a:gd name="T31" fmla="*/ 2147483647 h 296"/>
                <a:gd name="T32" fmla="*/ 2147483647 w 152"/>
                <a:gd name="T33" fmla="*/ 2147483647 h 296"/>
                <a:gd name="T34" fmla="*/ 2147483647 w 152"/>
                <a:gd name="T35" fmla="*/ 2147483647 h 296"/>
                <a:gd name="T36" fmla="*/ 2147483647 w 152"/>
                <a:gd name="T37" fmla="*/ 2147483647 h 296"/>
                <a:gd name="T38" fmla="*/ 2147483647 w 152"/>
                <a:gd name="T39" fmla="*/ 2147483647 h 296"/>
                <a:gd name="T40" fmla="*/ 2147483647 w 152"/>
                <a:gd name="T41" fmla="*/ 2147483647 h 296"/>
                <a:gd name="T42" fmla="*/ 2147483647 w 152"/>
                <a:gd name="T43" fmla="*/ 2147483647 h 296"/>
                <a:gd name="T44" fmla="*/ 2147483647 w 152"/>
                <a:gd name="T45" fmla="*/ 2147483647 h 296"/>
                <a:gd name="T46" fmla="*/ 2147483647 w 152"/>
                <a:gd name="T47" fmla="*/ 2147483647 h 296"/>
                <a:gd name="T48" fmla="*/ 2147483647 w 152"/>
                <a:gd name="T49" fmla="*/ 2147483647 h 296"/>
                <a:gd name="T50" fmla="*/ 2147483647 w 152"/>
                <a:gd name="T51" fmla="*/ 2147483647 h 296"/>
                <a:gd name="T52" fmla="*/ 2147483647 w 152"/>
                <a:gd name="T53" fmla="*/ 2147483647 h 296"/>
                <a:gd name="T54" fmla="*/ 2147483647 w 152"/>
                <a:gd name="T55" fmla="*/ 2147483647 h 296"/>
                <a:gd name="T56" fmla="*/ 2147483647 w 152"/>
                <a:gd name="T57" fmla="*/ 2147483647 h 296"/>
                <a:gd name="T58" fmla="*/ 2147483647 w 152"/>
                <a:gd name="T59" fmla="*/ 2147483647 h 296"/>
                <a:gd name="T60" fmla="*/ 2147483647 w 152"/>
                <a:gd name="T61" fmla="*/ 2147483647 h 296"/>
                <a:gd name="T62" fmla="*/ 2147483647 w 152"/>
                <a:gd name="T63" fmla="*/ 2147483647 h 296"/>
                <a:gd name="T64" fmla="*/ 2147483647 w 152"/>
                <a:gd name="T65" fmla="*/ 2147483647 h 296"/>
                <a:gd name="T66" fmla="*/ 2147483647 w 152"/>
                <a:gd name="T67" fmla="*/ 2147483647 h 296"/>
                <a:gd name="T68" fmla="*/ 2147483647 w 152"/>
                <a:gd name="T69" fmla="*/ 2147483647 h 296"/>
                <a:gd name="T70" fmla="*/ 2147483647 w 152"/>
                <a:gd name="T71" fmla="*/ 2147483647 h 296"/>
                <a:gd name="T72" fmla="*/ 2147483647 w 152"/>
                <a:gd name="T73" fmla="*/ 2147483647 h 296"/>
                <a:gd name="T74" fmla="*/ 0 w 152"/>
                <a:gd name="T75" fmla="*/ 2147483647 h 296"/>
                <a:gd name="T76" fmla="*/ 0 w 152"/>
                <a:gd name="T77" fmla="*/ 2147483647 h 296"/>
                <a:gd name="T78" fmla="*/ 0 w 152"/>
                <a:gd name="T79" fmla="*/ 2147483647 h 296"/>
                <a:gd name="T80" fmla="*/ 2147483647 w 152"/>
                <a:gd name="T81" fmla="*/ 2147483647 h 296"/>
                <a:gd name="T82" fmla="*/ 2147483647 w 152"/>
                <a:gd name="T83" fmla="*/ 2147483647 h 296"/>
                <a:gd name="T84" fmla="*/ 2147483647 w 152"/>
                <a:gd name="T85" fmla="*/ 2147483647 h 296"/>
                <a:gd name="T86" fmla="*/ 2147483647 w 152"/>
                <a:gd name="T87" fmla="*/ 0 h 29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52"/>
                <a:gd name="T133" fmla="*/ 0 h 296"/>
                <a:gd name="T134" fmla="*/ 152 w 152"/>
                <a:gd name="T135" fmla="*/ 296 h 29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solidFill>
              <a:schemeClr val="accent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 baseline="-25000" smtClean="0"/>
            </a:p>
          </p:txBody>
        </p:sp>
        <p:sp>
          <p:nvSpPr>
            <p:cNvPr id="15810" name="Freeform 295"/>
            <p:cNvSpPr>
              <a:spLocks/>
            </p:cNvSpPr>
            <p:nvPr/>
          </p:nvSpPr>
          <p:spPr bwMode="auto">
            <a:xfrm>
              <a:off x="7102475" y="3282950"/>
              <a:ext cx="11113" cy="20638"/>
            </a:xfrm>
            <a:custGeom>
              <a:avLst/>
              <a:gdLst>
                <a:gd name="T0" fmla="*/ 2147483647 w 26"/>
                <a:gd name="T1" fmla="*/ 2147483647 h 38"/>
                <a:gd name="T2" fmla="*/ 2147483647 w 26"/>
                <a:gd name="T3" fmla="*/ 0 h 38"/>
                <a:gd name="T4" fmla="*/ 2147483647 w 26"/>
                <a:gd name="T5" fmla="*/ 0 h 38"/>
                <a:gd name="T6" fmla="*/ 2147483647 w 26"/>
                <a:gd name="T7" fmla="*/ 0 h 38"/>
                <a:gd name="T8" fmla="*/ 2147483647 w 26"/>
                <a:gd name="T9" fmla="*/ 2147483647 h 38"/>
                <a:gd name="T10" fmla="*/ 0 w 26"/>
                <a:gd name="T11" fmla="*/ 2147483647 h 38"/>
                <a:gd name="T12" fmla="*/ 2147483647 w 26"/>
                <a:gd name="T13" fmla="*/ 2147483647 h 38"/>
                <a:gd name="T14" fmla="*/ 2147483647 w 26"/>
                <a:gd name="T15" fmla="*/ 2147483647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6"/>
                <a:gd name="T25" fmla="*/ 0 h 38"/>
                <a:gd name="T26" fmla="*/ 26 w 26"/>
                <a:gd name="T27" fmla="*/ 38 h 3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solidFill>
              <a:srgbClr val="008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811" name="Freeform 296"/>
            <p:cNvSpPr>
              <a:spLocks/>
            </p:cNvSpPr>
            <p:nvPr/>
          </p:nvSpPr>
          <p:spPr bwMode="auto">
            <a:xfrm>
              <a:off x="7072313" y="3248025"/>
              <a:ext cx="12700" cy="15875"/>
            </a:xfrm>
            <a:custGeom>
              <a:avLst/>
              <a:gdLst>
                <a:gd name="T0" fmla="*/ 0 w 34"/>
                <a:gd name="T1" fmla="*/ 2147483647 h 31"/>
                <a:gd name="T2" fmla="*/ 2147483647 w 34"/>
                <a:gd name="T3" fmla="*/ 2147483647 h 31"/>
                <a:gd name="T4" fmla="*/ 2147483647 w 34"/>
                <a:gd name="T5" fmla="*/ 2147483647 h 31"/>
                <a:gd name="T6" fmla="*/ 2147483647 w 34"/>
                <a:gd name="T7" fmla="*/ 2147483647 h 31"/>
                <a:gd name="T8" fmla="*/ 2147483647 w 34"/>
                <a:gd name="T9" fmla="*/ 2147483647 h 31"/>
                <a:gd name="T10" fmla="*/ 2147483647 w 34"/>
                <a:gd name="T11" fmla="*/ 2147483647 h 31"/>
                <a:gd name="T12" fmla="*/ 2147483647 w 34"/>
                <a:gd name="T13" fmla="*/ 2147483647 h 31"/>
                <a:gd name="T14" fmla="*/ 2147483647 w 34"/>
                <a:gd name="T15" fmla="*/ 2147483647 h 31"/>
                <a:gd name="T16" fmla="*/ 2147483647 w 34"/>
                <a:gd name="T17" fmla="*/ 0 h 31"/>
                <a:gd name="T18" fmla="*/ 2147483647 w 34"/>
                <a:gd name="T19" fmla="*/ 2147483647 h 31"/>
                <a:gd name="T20" fmla="*/ 2147483647 w 34"/>
                <a:gd name="T21" fmla="*/ 2147483647 h 31"/>
                <a:gd name="T22" fmla="*/ 2147483647 w 34"/>
                <a:gd name="T23" fmla="*/ 2147483647 h 31"/>
                <a:gd name="T24" fmla="*/ 2147483647 w 34"/>
                <a:gd name="T25" fmla="*/ 2147483647 h 31"/>
                <a:gd name="T26" fmla="*/ 0 w 34"/>
                <a:gd name="T27" fmla="*/ 2147483647 h 31"/>
                <a:gd name="T28" fmla="*/ 0 w 34"/>
                <a:gd name="T29" fmla="*/ 2147483647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4"/>
                <a:gd name="T46" fmla="*/ 0 h 31"/>
                <a:gd name="T47" fmla="*/ 34 w 34"/>
                <a:gd name="T48" fmla="*/ 31 h 3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solidFill>
              <a:srgbClr val="008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812" name="Freeform 297"/>
            <p:cNvSpPr>
              <a:spLocks/>
            </p:cNvSpPr>
            <p:nvPr/>
          </p:nvSpPr>
          <p:spPr bwMode="auto">
            <a:xfrm>
              <a:off x="7037388" y="3244850"/>
              <a:ext cx="7937" cy="19050"/>
            </a:xfrm>
            <a:custGeom>
              <a:avLst/>
              <a:gdLst>
                <a:gd name="T0" fmla="*/ 0 w 20"/>
                <a:gd name="T1" fmla="*/ 2147483647 h 37"/>
                <a:gd name="T2" fmla="*/ 0 w 20"/>
                <a:gd name="T3" fmla="*/ 2147483647 h 37"/>
                <a:gd name="T4" fmla="*/ 2147483647 w 20"/>
                <a:gd name="T5" fmla="*/ 2147483647 h 37"/>
                <a:gd name="T6" fmla="*/ 2147483647 w 20"/>
                <a:gd name="T7" fmla="*/ 2147483647 h 37"/>
                <a:gd name="T8" fmla="*/ 2147483647 w 20"/>
                <a:gd name="T9" fmla="*/ 0 h 37"/>
                <a:gd name="T10" fmla="*/ 0 w 20"/>
                <a:gd name="T11" fmla="*/ 2147483647 h 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"/>
                <a:gd name="T19" fmla="*/ 0 h 37"/>
                <a:gd name="T20" fmla="*/ 20 w 20"/>
                <a:gd name="T21" fmla="*/ 37 h 3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solidFill>
              <a:srgbClr val="008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813" name="Line 298"/>
            <p:cNvSpPr>
              <a:spLocks noChangeShapeType="1"/>
            </p:cNvSpPr>
            <p:nvPr/>
          </p:nvSpPr>
          <p:spPr bwMode="auto">
            <a:xfrm>
              <a:off x="7091363" y="3294063"/>
              <a:ext cx="1587" cy="158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814" name="Freeform 299"/>
            <p:cNvSpPr>
              <a:spLocks/>
            </p:cNvSpPr>
            <p:nvPr/>
          </p:nvSpPr>
          <p:spPr bwMode="auto">
            <a:xfrm>
              <a:off x="7091363" y="3300413"/>
              <a:ext cx="4762" cy="9525"/>
            </a:xfrm>
            <a:custGeom>
              <a:avLst/>
              <a:gdLst>
                <a:gd name="T0" fmla="*/ 0 w 13"/>
                <a:gd name="T1" fmla="*/ 2147483647 h 18"/>
                <a:gd name="T2" fmla="*/ 0 w 13"/>
                <a:gd name="T3" fmla="*/ 2147483647 h 18"/>
                <a:gd name="T4" fmla="*/ 0 w 13"/>
                <a:gd name="T5" fmla="*/ 2147483647 h 18"/>
                <a:gd name="T6" fmla="*/ 2147483647 w 13"/>
                <a:gd name="T7" fmla="*/ 0 h 18"/>
                <a:gd name="T8" fmla="*/ 2147483647 w 13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"/>
                <a:gd name="T16" fmla="*/ 0 h 18"/>
                <a:gd name="T17" fmla="*/ 13 w 13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solidFill>
              <a:srgbClr val="008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815" name="Line 300"/>
            <p:cNvSpPr>
              <a:spLocks noChangeShapeType="1"/>
            </p:cNvSpPr>
            <p:nvPr/>
          </p:nvSpPr>
          <p:spPr bwMode="auto">
            <a:xfrm flipH="1" flipV="1">
              <a:off x="7088188" y="3290888"/>
              <a:ext cx="7937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816" name="Freeform 303"/>
            <p:cNvSpPr>
              <a:spLocks/>
            </p:cNvSpPr>
            <p:nvPr/>
          </p:nvSpPr>
          <p:spPr bwMode="auto">
            <a:xfrm>
              <a:off x="7021513" y="3463925"/>
              <a:ext cx="15875" cy="7938"/>
            </a:xfrm>
            <a:custGeom>
              <a:avLst/>
              <a:gdLst>
                <a:gd name="T0" fmla="*/ 0 w 34"/>
                <a:gd name="T1" fmla="*/ 2147483647 h 13"/>
                <a:gd name="T2" fmla="*/ 2147483647 w 34"/>
                <a:gd name="T3" fmla="*/ 2147483647 h 13"/>
                <a:gd name="T4" fmla="*/ 2147483647 w 34"/>
                <a:gd name="T5" fmla="*/ 2147483647 h 13"/>
                <a:gd name="T6" fmla="*/ 2147483647 w 34"/>
                <a:gd name="T7" fmla="*/ 2147483647 h 13"/>
                <a:gd name="T8" fmla="*/ 2147483647 w 34"/>
                <a:gd name="T9" fmla="*/ 2147483647 h 13"/>
                <a:gd name="T10" fmla="*/ 2147483647 w 34"/>
                <a:gd name="T11" fmla="*/ 0 h 13"/>
                <a:gd name="T12" fmla="*/ 2147483647 w 34"/>
                <a:gd name="T13" fmla="*/ 0 h 13"/>
                <a:gd name="T14" fmla="*/ 2147483647 w 34"/>
                <a:gd name="T15" fmla="*/ 0 h 13"/>
                <a:gd name="T16" fmla="*/ 2147483647 w 34"/>
                <a:gd name="T17" fmla="*/ 0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4"/>
                <a:gd name="T28" fmla="*/ 0 h 13"/>
                <a:gd name="T29" fmla="*/ 34 w 34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solidFill>
              <a:srgbClr val="008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817" name="Freeform 304"/>
            <p:cNvSpPr>
              <a:spLocks/>
            </p:cNvSpPr>
            <p:nvPr/>
          </p:nvSpPr>
          <p:spPr bwMode="auto">
            <a:xfrm>
              <a:off x="7021513" y="3448050"/>
              <a:ext cx="15875" cy="9525"/>
            </a:xfrm>
            <a:custGeom>
              <a:avLst/>
              <a:gdLst>
                <a:gd name="T0" fmla="*/ 2147483647 w 34"/>
                <a:gd name="T1" fmla="*/ 2147483647 h 18"/>
                <a:gd name="T2" fmla="*/ 2147483647 w 34"/>
                <a:gd name="T3" fmla="*/ 0 h 18"/>
                <a:gd name="T4" fmla="*/ 2147483647 w 34"/>
                <a:gd name="T5" fmla="*/ 0 h 18"/>
                <a:gd name="T6" fmla="*/ 2147483647 w 34"/>
                <a:gd name="T7" fmla="*/ 0 h 18"/>
                <a:gd name="T8" fmla="*/ 2147483647 w 34"/>
                <a:gd name="T9" fmla="*/ 0 h 18"/>
                <a:gd name="T10" fmla="*/ 0 w 34"/>
                <a:gd name="T11" fmla="*/ 0 h 18"/>
                <a:gd name="T12" fmla="*/ 2147483647 w 34"/>
                <a:gd name="T13" fmla="*/ 2147483647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4"/>
                <a:gd name="T22" fmla="*/ 0 h 18"/>
                <a:gd name="T23" fmla="*/ 34 w 34"/>
                <a:gd name="T24" fmla="*/ 18 h 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solidFill>
              <a:srgbClr val="008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21" name="Freeform 305"/>
            <p:cNvSpPr>
              <a:spLocks/>
            </p:cNvSpPr>
            <p:nvPr/>
          </p:nvSpPr>
          <p:spPr bwMode="auto">
            <a:xfrm>
              <a:off x="7039930" y="3429553"/>
              <a:ext cx="25539" cy="12097"/>
            </a:xfrm>
            <a:custGeom>
              <a:avLst/>
              <a:gdLst>
                <a:gd name="T0" fmla="*/ 2147483647 w 59"/>
                <a:gd name="T1" fmla="*/ 2147483647 h 25"/>
                <a:gd name="T2" fmla="*/ 2147483647 w 59"/>
                <a:gd name="T3" fmla="*/ 2147483647 h 25"/>
                <a:gd name="T4" fmla="*/ 2147483647 w 59"/>
                <a:gd name="T5" fmla="*/ 0 h 25"/>
                <a:gd name="T6" fmla="*/ 2147483647 w 59"/>
                <a:gd name="T7" fmla="*/ 0 h 25"/>
                <a:gd name="T8" fmla="*/ 2147483647 w 59"/>
                <a:gd name="T9" fmla="*/ 0 h 25"/>
                <a:gd name="T10" fmla="*/ 2147483647 w 59"/>
                <a:gd name="T11" fmla="*/ 0 h 25"/>
                <a:gd name="T12" fmla="*/ 2147483647 w 59"/>
                <a:gd name="T13" fmla="*/ 0 h 25"/>
                <a:gd name="T14" fmla="*/ 2147483647 w 59"/>
                <a:gd name="T15" fmla="*/ 0 h 25"/>
                <a:gd name="T16" fmla="*/ 0 w 59"/>
                <a:gd name="T17" fmla="*/ 2147483647 h 25"/>
                <a:gd name="T18" fmla="*/ 2147483647 w 59"/>
                <a:gd name="T19" fmla="*/ 2147483647 h 25"/>
                <a:gd name="T20" fmla="*/ 2147483647 w 59"/>
                <a:gd name="T21" fmla="*/ 2147483647 h 25"/>
                <a:gd name="T22" fmla="*/ 2147483647 w 59"/>
                <a:gd name="T23" fmla="*/ 2147483647 h 25"/>
                <a:gd name="T24" fmla="*/ 2147483647 w 59"/>
                <a:gd name="T25" fmla="*/ 2147483647 h 25"/>
                <a:gd name="T26" fmla="*/ 2147483647 w 59"/>
                <a:gd name="T27" fmla="*/ 2147483647 h 25"/>
                <a:gd name="T28" fmla="*/ 2147483647 w 59"/>
                <a:gd name="T29" fmla="*/ 2147483647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9"/>
                <a:gd name="T46" fmla="*/ 0 h 25"/>
                <a:gd name="T47" fmla="*/ 59 w 59"/>
                <a:gd name="T48" fmla="*/ 25 h 2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solidFill>
              <a:schemeClr val="tx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en-GB" altLang="en-US" sz="1800" baseline="-25000" smtClean="0"/>
            </a:p>
          </p:txBody>
        </p:sp>
        <p:sp>
          <p:nvSpPr>
            <p:cNvPr id="15819" name="Line 306"/>
            <p:cNvSpPr>
              <a:spLocks noChangeShapeType="1"/>
            </p:cNvSpPr>
            <p:nvPr/>
          </p:nvSpPr>
          <p:spPr bwMode="auto">
            <a:xfrm flipV="1">
              <a:off x="7105650" y="3398838"/>
              <a:ext cx="7938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820" name="Freeform 336"/>
            <p:cNvSpPr>
              <a:spLocks/>
            </p:cNvSpPr>
            <p:nvPr>
              <p:custDataLst>
                <p:tags r:id="rId400"/>
              </p:custDataLst>
            </p:nvPr>
          </p:nvSpPr>
          <p:spPr bwMode="auto">
            <a:xfrm>
              <a:off x="8270875" y="4221163"/>
              <a:ext cx="46038" cy="46037"/>
            </a:xfrm>
            <a:custGeom>
              <a:avLst/>
              <a:gdLst>
                <a:gd name="T0" fmla="*/ 2147483647 w 166"/>
                <a:gd name="T1" fmla="*/ 0 h 62"/>
                <a:gd name="T2" fmla="*/ 2147483647 w 166"/>
                <a:gd name="T3" fmla="*/ 2147483647 h 62"/>
                <a:gd name="T4" fmla="*/ 2147483647 w 166"/>
                <a:gd name="T5" fmla="*/ 2147483647 h 62"/>
                <a:gd name="T6" fmla="*/ 2147483647 w 166"/>
                <a:gd name="T7" fmla="*/ 2147483647 h 62"/>
                <a:gd name="T8" fmla="*/ 2147483647 w 166"/>
                <a:gd name="T9" fmla="*/ 2147483647 h 62"/>
                <a:gd name="T10" fmla="*/ 2147483647 w 166"/>
                <a:gd name="T11" fmla="*/ 2147483647 h 62"/>
                <a:gd name="T12" fmla="*/ 2147483647 w 166"/>
                <a:gd name="T13" fmla="*/ 2147483647 h 62"/>
                <a:gd name="T14" fmla="*/ 2147483647 w 166"/>
                <a:gd name="T15" fmla="*/ 2147483647 h 62"/>
                <a:gd name="T16" fmla="*/ 2147483647 w 166"/>
                <a:gd name="T17" fmla="*/ 2147483647 h 62"/>
                <a:gd name="T18" fmla="*/ 2147483647 w 166"/>
                <a:gd name="T19" fmla="*/ 2147483647 h 62"/>
                <a:gd name="T20" fmla="*/ 2147483647 w 166"/>
                <a:gd name="T21" fmla="*/ 0 h 62"/>
                <a:gd name="T22" fmla="*/ 2147483647 w 166"/>
                <a:gd name="T23" fmla="*/ 2147483647 h 62"/>
                <a:gd name="T24" fmla="*/ 2147483647 w 166"/>
                <a:gd name="T25" fmla="*/ 2147483647 h 62"/>
                <a:gd name="T26" fmla="*/ 2147483647 w 166"/>
                <a:gd name="T27" fmla="*/ 2147483647 h 62"/>
                <a:gd name="T28" fmla="*/ 2147483647 w 166"/>
                <a:gd name="T29" fmla="*/ 2147483647 h 62"/>
                <a:gd name="T30" fmla="*/ 2147483647 w 166"/>
                <a:gd name="T31" fmla="*/ 2147483647 h 62"/>
                <a:gd name="T32" fmla="*/ 2147483647 w 166"/>
                <a:gd name="T33" fmla="*/ 2147483647 h 62"/>
                <a:gd name="T34" fmla="*/ 2147483647 w 166"/>
                <a:gd name="T35" fmla="*/ 2147483647 h 62"/>
                <a:gd name="T36" fmla="*/ 2147483647 w 166"/>
                <a:gd name="T37" fmla="*/ 2147483647 h 62"/>
                <a:gd name="T38" fmla="*/ 2147483647 w 166"/>
                <a:gd name="T39" fmla="*/ 2147483647 h 62"/>
                <a:gd name="T40" fmla="*/ 2147483647 w 166"/>
                <a:gd name="T41" fmla="*/ 2147483647 h 62"/>
                <a:gd name="T42" fmla="*/ 2147483647 w 166"/>
                <a:gd name="T43" fmla="*/ 2147483647 h 62"/>
                <a:gd name="T44" fmla="*/ 2147483647 w 166"/>
                <a:gd name="T45" fmla="*/ 2147483647 h 62"/>
                <a:gd name="T46" fmla="*/ 2147483647 w 166"/>
                <a:gd name="T47" fmla="*/ 2147483647 h 62"/>
                <a:gd name="T48" fmla="*/ 2147483647 w 166"/>
                <a:gd name="T49" fmla="*/ 2147483647 h 62"/>
                <a:gd name="T50" fmla="*/ 2147483647 w 166"/>
                <a:gd name="T51" fmla="*/ 2147483647 h 62"/>
                <a:gd name="T52" fmla="*/ 2147483647 w 166"/>
                <a:gd name="T53" fmla="*/ 2147483647 h 62"/>
                <a:gd name="T54" fmla="*/ 2147483647 w 166"/>
                <a:gd name="T55" fmla="*/ 2147483647 h 62"/>
                <a:gd name="T56" fmla="*/ 2147483647 w 166"/>
                <a:gd name="T57" fmla="*/ 2147483647 h 62"/>
                <a:gd name="T58" fmla="*/ 2147483647 w 166"/>
                <a:gd name="T59" fmla="*/ 2147483647 h 62"/>
                <a:gd name="T60" fmla="*/ 2147483647 w 166"/>
                <a:gd name="T61" fmla="*/ 2147483647 h 62"/>
                <a:gd name="T62" fmla="*/ 2147483647 w 166"/>
                <a:gd name="T63" fmla="*/ 2147483647 h 62"/>
                <a:gd name="T64" fmla="*/ 2147483647 w 166"/>
                <a:gd name="T65" fmla="*/ 2147483647 h 62"/>
                <a:gd name="T66" fmla="*/ 2147483647 w 166"/>
                <a:gd name="T67" fmla="*/ 2147483647 h 62"/>
                <a:gd name="T68" fmla="*/ 2147483647 w 166"/>
                <a:gd name="T69" fmla="*/ 2147483647 h 62"/>
                <a:gd name="T70" fmla="*/ 2147483647 w 166"/>
                <a:gd name="T71" fmla="*/ 2147483647 h 62"/>
                <a:gd name="T72" fmla="*/ 2147483647 w 166"/>
                <a:gd name="T73" fmla="*/ 2147483647 h 62"/>
                <a:gd name="T74" fmla="*/ 2147483647 w 166"/>
                <a:gd name="T75" fmla="*/ 2147483647 h 62"/>
                <a:gd name="T76" fmla="*/ 2147483647 w 166"/>
                <a:gd name="T77" fmla="*/ 2147483647 h 62"/>
                <a:gd name="T78" fmla="*/ 2147483647 w 166"/>
                <a:gd name="T79" fmla="*/ 2147483647 h 62"/>
                <a:gd name="T80" fmla="*/ 2147483647 w 166"/>
                <a:gd name="T81" fmla="*/ 2147483647 h 62"/>
                <a:gd name="T82" fmla="*/ 2147483647 w 166"/>
                <a:gd name="T83" fmla="*/ 2147483647 h 62"/>
                <a:gd name="T84" fmla="*/ 2147483647 w 166"/>
                <a:gd name="T85" fmla="*/ 2147483647 h 62"/>
                <a:gd name="T86" fmla="*/ 0 w 166"/>
                <a:gd name="T87" fmla="*/ 2147483647 h 62"/>
                <a:gd name="T88" fmla="*/ 2147483647 w 166"/>
                <a:gd name="T89" fmla="*/ 2147483647 h 62"/>
                <a:gd name="T90" fmla="*/ 2147483647 w 166"/>
                <a:gd name="T91" fmla="*/ 2147483647 h 62"/>
                <a:gd name="T92" fmla="*/ 2147483647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66"/>
                <a:gd name="T142" fmla="*/ 0 h 62"/>
                <a:gd name="T143" fmla="*/ 166 w 166"/>
                <a:gd name="T144" fmla="*/ 62 h 6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65B63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821" name="Freeform 251"/>
            <p:cNvSpPr>
              <a:spLocks/>
            </p:cNvSpPr>
            <p:nvPr>
              <p:custDataLst>
                <p:tags r:id="rId401"/>
              </p:custDataLst>
            </p:nvPr>
          </p:nvSpPr>
          <p:spPr bwMode="auto">
            <a:xfrm>
              <a:off x="4759925" y="3998297"/>
              <a:ext cx="260350" cy="520700"/>
            </a:xfrm>
            <a:custGeom>
              <a:avLst/>
              <a:gdLst>
                <a:gd name="T0" fmla="*/ 0 w 599"/>
                <a:gd name="T1" fmla="*/ 2147483647 h 993"/>
                <a:gd name="T2" fmla="*/ 2147483647 w 599"/>
                <a:gd name="T3" fmla="*/ 2147483647 h 993"/>
                <a:gd name="T4" fmla="*/ 2147483647 w 599"/>
                <a:gd name="T5" fmla="*/ 2147483647 h 993"/>
                <a:gd name="T6" fmla="*/ 2147483647 w 599"/>
                <a:gd name="T7" fmla="*/ 2147483647 h 993"/>
                <a:gd name="T8" fmla="*/ 2147483647 w 599"/>
                <a:gd name="T9" fmla="*/ 2147483647 h 993"/>
                <a:gd name="T10" fmla="*/ 2147483647 w 599"/>
                <a:gd name="T11" fmla="*/ 2147483647 h 993"/>
                <a:gd name="T12" fmla="*/ 2147483647 w 599"/>
                <a:gd name="T13" fmla="*/ 2147483647 h 993"/>
                <a:gd name="T14" fmla="*/ 2147483647 w 599"/>
                <a:gd name="T15" fmla="*/ 2147483647 h 993"/>
                <a:gd name="T16" fmla="*/ 2147483647 w 599"/>
                <a:gd name="T17" fmla="*/ 2147483647 h 993"/>
                <a:gd name="T18" fmla="*/ 2147483647 w 599"/>
                <a:gd name="T19" fmla="*/ 2147483647 h 993"/>
                <a:gd name="T20" fmla="*/ 2147483647 w 599"/>
                <a:gd name="T21" fmla="*/ 2147483647 h 993"/>
                <a:gd name="T22" fmla="*/ 2147483647 w 599"/>
                <a:gd name="T23" fmla="*/ 2147483647 h 993"/>
                <a:gd name="T24" fmla="*/ 2147483647 w 599"/>
                <a:gd name="T25" fmla="*/ 2147483647 h 993"/>
                <a:gd name="T26" fmla="*/ 2147483647 w 599"/>
                <a:gd name="T27" fmla="*/ 2147483647 h 993"/>
                <a:gd name="T28" fmla="*/ 2147483647 w 599"/>
                <a:gd name="T29" fmla="*/ 2147483647 h 993"/>
                <a:gd name="T30" fmla="*/ 2147483647 w 599"/>
                <a:gd name="T31" fmla="*/ 2147483647 h 993"/>
                <a:gd name="T32" fmla="*/ 2147483647 w 599"/>
                <a:gd name="T33" fmla="*/ 2147483647 h 993"/>
                <a:gd name="T34" fmla="*/ 2147483647 w 599"/>
                <a:gd name="T35" fmla="*/ 2147483647 h 993"/>
                <a:gd name="T36" fmla="*/ 2147483647 w 599"/>
                <a:gd name="T37" fmla="*/ 2147483647 h 993"/>
                <a:gd name="T38" fmla="*/ 2147483647 w 599"/>
                <a:gd name="T39" fmla="*/ 2147483647 h 993"/>
                <a:gd name="T40" fmla="*/ 2147483647 w 599"/>
                <a:gd name="T41" fmla="*/ 2147483647 h 993"/>
                <a:gd name="T42" fmla="*/ 2147483647 w 599"/>
                <a:gd name="T43" fmla="*/ 2147483647 h 993"/>
                <a:gd name="T44" fmla="*/ 2147483647 w 599"/>
                <a:gd name="T45" fmla="*/ 2147483647 h 993"/>
                <a:gd name="T46" fmla="*/ 2147483647 w 599"/>
                <a:gd name="T47" fmla="*/ 2147483647 h 993"/>
                <a:gd name="T48" fmla="*/ 2147483647 w 599"/>
                <a:gd name="T49" fmla="*/ 2147483647 h 993"/>
                <a:gd name="T50" fmla="*/ 2147483647 w 599"/>
                <a:gd name="T51" fmla="*/ 2147483647 h 993"/>
                <a:gd name="T52" fmla="*/ 2147483647 w 599"/>
                <a:gd name="T53" fmla="*/ 2147483647 h 993"/>
                <a:gd name="T54" fmla="*/ 2147483647 w 599"/>
                <a:gd name="T55" fmla="*/ 2147483647 h 993"/>
                <a:gd name="T56" fmla="*/ 2147483647 w 599"/>
                <a:gd name="T57" fmla="*/ 2147483647 h 993"/>
                <a:gd name="T58" fmla="*/ 2147483647 w 599"/>
                <a:gd name="T59" fmla="*/ 2147483647 h 993"/>
                <a:gd name="T60" fmla="*/ 2147483647 w 599"/>
                <a:gd name="T61" fmla="*/ 2147483647 h 993"/>
                <a:gd name="T62" fmla="*/ 2147483647 w 599"/>
                <a:gd name="T63" fmla="*/ 2147483647 h 993"/>
                <a:gd name="T64" fmla="*/ 2147483647 w 599"/>
                <a:gd name="T65" fmla="*/ 2147483647 h 993"/>
                <a:gd name="T66" fmla="*/ 2147483647 w 599"/>
                <a:gd name="T67" fmla="*/ 2147483647 h 993"/>
                <a:gd name="T68" fmla="*/ 2147483647 w 599"/>
                <a:gd name="T69" fmla="*/ 2147483647 h 993"/>
                <a:gd name="T70" fmla="*/ 2147483647 w 599"/>
                <a:gd name="T71" fmla="*/ 2147483647 h 993"/>
                <a:gd name="T72" fmla="*/ 2147483647 w 599"/>
                <a:gd name="T73" fmla="*/ 2147483647 h 993"/>
                <a:gd name="T74" fmla="*/ 2147483647 w 599"/>
                <a:gd name="T75" fmla="*/ 2147483647 h 993"/>
                <a:gd name="T76" fmla="*/ 2147483647 w 599"/>
                <a:gd name="T77" fmla="*/ 2147483647 h 993"/>
                <a:gd name="T78" fmla="*/ 2147483647 w 599"/>
                <a:gd name="T79" fmla="*/ 2147483647 h 993"/>
                <a:gd name="T80" fmla="*/ 2147483647 w 599"/>
                <a:gd name="T81" fmla="*/ 2147483647 h 993"/>
                <a:gd name="T82" fmla="*/ 2147483647 w 599"/>
                <a:gd name="T83" fmla="*/ 2147483647 h 993"/>
                <a:gd name="T84" fmla="*/ 2147483647 w 599"/>
                <a:gd name="T85" fmla="*/ 2147483647 h 993"/>
                <a:gd name="T86" fmla="*/ 2147483647 w 599"/>
                <a:gd name="T87" fmla="*/ 2147483647 h 993"/>
                <a:gd name="T88" fmla="*/ 2147483647 w 599"/>
                <a:gd name="T89" fmla="*/ 2147483647 h 993"/>
                <a:gd name="T90" fmla="*/ 2147483647 w 599"/>
                <a:gd name="T91" fmla="*/ 2147483647 h 993"/>
                <a:gd name="T92" fmla="*/ 2147483647 w 599"/>
                <a:gd name="T93" fmla="*/ 2147483647 h 993"/>
                <a:gd name="T94" fmla="*/ 2147483647 w 599"/>
                <a:gd name="T95" fmla="*/ 2147483647 h 993"/>
                <a:gd name="T96" fmla="*/ 2147483647 w 599"/>
                <a:gd name="T97" fmla="*/ 2147483647 h 993"/>
                <a:gd name="T98" fmla="*/ 2147483647 w 599"/>
                <a:gd name="T99" fmla="*/ 2147483647 h 993"/>
                <a:gd name="T100" fmla="*/ 2147483647 w 599"/>
                <a:gd name="T101" fmla="*/ 2147483647 h 993"/>
                <a:gd name="T102" fmla="*/ 2147483647 w 599"/>
                <a:gd name="T103" fmla="*/ 2147483647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9"/>
                <a:gd name="T157" fmla="*/ 0 h 993"/>
                <a:gd name="T158" fmla="*/ 599 w 599"/>
                <a:gd name="T159" fmla="*/ 993 h 99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149C48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822" name="Freeform 262"/>
            <p:cNvSpPr>
              <a:spLocks/>
            </p:cNvSpPr>
            <p:nvPr>
              <p:custDataLst>
                <p:tags r:id="rId402"/>
              </p:custDataLst>
            </p:nvPr>
          </p:nvSpPr>
          <p:spPr bwMode="auto">
            <a:xfrm>
              <a:off x="6270862" y="2758839"/>
              <a:ext cx="220448" cy="586035"/>
            </a:xfrm>
            <a:custGeom>
              <a:avLst/>
              <a:gdLst>
                <a:gd name="T0" fmla="*/ 2147483647 w 505"/>
                <a:gd name="T1" fmla="*/ 2147483647 h 1121"/>
                <a:gd name="T2" fmla="*/ 2147483647 w 505"/>
                <a:gd name="T3" fmla="*/ 2147483647 h 1121"/>
                <a:gd name="T4" fmla="*/ 2147483647 w 505"/>
                <a:gd name="T5" fmla="*/ 2147483647 h 1121"/>
                <a:gd name="T6" fmla="*/ 2147483647 w 505"/>
                <a:gd name="T7" fmla="*/ 2147483647 h 1121"/>
                <a:gd name="T8" fmla="*/ 2147483647 w 505"/>
                <a:gd name="T9" fmla="*/ 2147483647 h 1121"/>
                <a:gd name="T10" fmla="*/ 2147483647 w 505"/>
                <a:gd name="T11" fmla="*/ 2147483647 h 1121"/>
                <a:gd name="T12" fmla="*/ 2147483647 w 505"/>
                <a:gd name="T13" fmla="*/ 2147483647 h 1121"/>
                <a:gd name="T14" fmla="*/ 2147483647 w 505"/>
                <a:gd name="T15" fmla="*/ 2147483647 h 1121"/>
                <a:gd name="T16" fmla="*/ 2147483647 w 505"/>
                <a:gd name="T17" fmla="*/ 2147483647 h 1121"/>
                <a:gd name="T18" fmla="*/ 2147483647 w 505"/>
                <a:gd name="T19" fmla="*/ 2147483647 h 1121"/>
                <a:gd name="T20" fmla="*/ 2147483647 w 505"/>
                <a:gd name="T21" fmla="*/ 2147483647 h 1121"/>
                <a:gd name="T22" fmla="*/ 2147483647 w 505"/>
                <a:gd name="T23" fmla="*/ 2147483647 h 1121"/>
                <a:gd name="T24" fmla="*/ 2147483647 w 505"/>
                <a:gd name="T25" fmla="*/ 2147483647 h 1121"/>
                <a:gd name="T26" fmla="*/ 2147483647 w 505"/>
                <a:gd name="T27" fmla="*/ 2147483647 h 1121"/>
                <a:gd name="T28" fmla="*/ 2147483647 w 505"/>
                <a:gd name="T29" fmla="*/ 2147483647 h 1121"/>
                <a:gd name="T30" fmla="*/ 2147483647 w 505"/>
                <a:gd name="T31" fmla="*/ 2147483647 h 1121"/>
                <a:gd name="T32" fmla="*/ 2147483647 w 505"/>
                <a:gd name="T33" fmla="*/ 2147483647 h 1121"/>
                <a:gd name="T34" fmla="*/ 2147483647 w 505"/>
                <a:gd name="T35" fmla="*/ 2147483647 h 1121"/>
                <a:gd name="T36" fmla="*/ 2147483647 w 505"/>
                <a:gd name="T37" fmla="*/ 2147483647 h 1121"/>
                <a:gd name="T38" fmla="*/ 2147483647 w 505"/>
                <a:gd name="T39" fmla="*/ 2147483647 h 1121"/>
                <a:gd name="T40" fmla="*/ 2147483647 w 505"/>
                <a:gd name="T41" fmla="*/ 2147483647 h 1121"/>
                <a:gd name="T42" fmla="*/ 2147483647 w 505"/>
                <a:gd name="T43" fmla="*/ 2147483647 h 1121"/>
                <a:gd name="T44" fmla="*/ 2147483647 w 505"/>
                <a:gd name="T45" fmla="*/ 2147483647 h 1121"/>
                <a:gd name="T46" fmla="*/ 2147483647 w 505"/>
                <a:gd name="T47" fmla="*/ 2147483647 h 1121"/>
                <a:gd name="T48" fmla="*/ 2147483647 w 505"/>
                <a:gd name="T49" fmla="*/ 2147483647 h 1121"/>
                <a:gd name="T50" fmla="*/ 2147483647 w 505"/>
                <a:gd name="T51" fmla="*/ 2147483647 h 1121"/>
                <a:gd name="T52" fmla="*/ 2147483647 w 505"/>
                <a:gd name="T53" fmla="*/ 2147483647 h 1121"/>
                <a:gd name="T54" fmla="*/ 2147483647 w 505"/>
                <a:gd name="T55" fmla="*/ 2147483647 h 1121"/>
                <a:gd name="T56" fmla="*/ 2147483647 w 505"/>
                <a:gd name="T57" fmla="*/ 2147483647 h 1121"/>
                <a:gd name="T58" fmla="*/ 2147483647 w 505"/>
                <a:gd name="T59" fmla="*/ 2147483647 h 1121"/>
                <a:gd name="T60" fmla="*/ 2147483647 w 505"/>
                <a:gd name="T61" fmla="*/ 2147483647 h 1121"/>
                <a:gd name="T62" fmla="*/ 2147483647 w 505"/>
                <a:gd name="T63" fmla="*/ 2147483647 h 1121"/>
                <a:gd name="T64" fmla="*/ 2147483647 w 505"/>
                <a:gd name="T65" fmla="*/ 2147483647 h 1121"/>
                <a:gd name="T66" fmla="*/ 2147483647 w 505"/>
                <a:gd name="T67" fmla="*/ 2147483647 h 1121"/>
                <a:gd name="T68" fmla="*/ 2147483647 w 505"/>
                <a:gd name="T69" fmla="*/ 2147483647 h 1121"/>
                <a:gd name="T70" fmla="*/ 2147483647 w 505"/>
                <a:gd name="T71" fmla="*/ 2147483647 h 1121"/>
                <a:gd name="T72" fmla="*/ 2147483647 w 505"/>
                <a:gd name="T73" fmla="*/ 2147483647 h 1121"/>
                <a:gd name="T74" fmla="*/ 2147483647 w 505"/>
                <a:gd name="T75" fmla="*/ 2147483647 h 1121"/>
                <a:gd name="T76" fmla="*/ 2147483647 w 505"/>
                <a:gd name="T77" fmla="*/ 2147483647 h 1121"/>
                <a:gd name="T78" fmla="*/ 2147483647 w 505"/>
                <a:gd name="T79" fmla="*/ 2147483647 h 1121"/>
                <a:gd name="T80" fmla="*/ 2147483647 w 505"/>
                <a:gd name="T81" fmla="*/ 2147483647 h 1121"/>
                <a:gd name="T82" fmla="*/ 2147483647 w 505"/>
                <a:gd name="T83" fmla="*/ 2147483647 h 1121"/>
                <a:gd name="T84" fmla="*/ 2147483647 w 505"/>
                <a:gd name="T85" fmla="*/ 2147483647 h 1121"/>
                <a:gd name="T86" fmla="*/ 2147483647 w 505"/>
                <a:gd name="T87" fmla="*/ 2147483647 h 1121"/>
                <a:gd name="T88" fmla="*/ 2147483647 w 505"/>
                <a:gd name="T89" fmla="*/ 2147483647 h 1121"/>
                <a:gd name="T90" fmla="*/ 2147483647 w 505"/>
                <a:gd name="T91" fmla="*/ 2147483647 h 1121"/>
                <a:gd name="T92" fmla="*/ 2147483647 w 505"/>
                <a:gd name="T93" fmla="*/ 2147483647 h 1121"/>
                <a:gd name="T94" fmla="*/ 2147483647 w 505"/>
                <a:gd name="T95" fmla="*/ 2147483647 h 1121"/>
                <a:gd name="T96" fmla="*/ 2147483647 w 505"/>
                <a:gd name="T97" fmla="*/ 2147483647 h 1121"/>
                <a:gd name="T98" fmla="*/ 2147483647 w 505"/>
                <a:gd name="T99" fmla="*/ 2147483647 h 1121"/>
                <a:gd name="T100" fmla="*/ 2147483647 w 505"/>
                <a:gd name="T101" fmla="*/ 2147483647 h 1121"/>
                <a:gd name="T102" fmla="*/ 2147483647 w 505"/>
                <a:gd name="T103" fmla="*/ 214748364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05"/>
                <a:gd name="T157" fmla="*/ 0 h 1121"/>
                <a:gd name="T158" fmla="*/ 505 w 505"/>
                <a:gd name="T159" fmla="*/ 1121 h 1121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chemeClr val="accent1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8275638" y="3578225"/>
            <a:ext cx="904875" cy="554038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1200"/>
              </a:lnSpc>
              <a:defRPr/>
            </a:pPr>
            <a:r>
              <a:rPr lang="en-US" altLang="en-US" sz="1800" b="1" smtClean="0">
                <a:solidFill>
                  <a:srgbClr val="149C4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Pacific Region</a:t>
            </a:r>
          </a:p>
          <a:p>
            <a:pPr eaLnBrk="1" hangingPunct="1">
              <a:lnSpc>
                <a:spcPts val="1200"/>
              </a:lnSpc>
              <a:defRPr/>
            </a:pPr>
            <a:r>
              <a:rPr lang="en-US" altLang="en-US" sz="1100" b="1" smtClean="0">
                <a:solidFill>
                  <a:srgbClr val="149C4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FRC</a:t>
            </a:r>
            <a:endParaRPr lang="en-GB" altLang="en-US" sz="1100" b="1" smtClean="0">
              <a:solidFill>
                <a:srgbClr val="149C48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08" name="TextBox 607"/>
          <p:cNvSpPr txBox="1"/>
          <p:nvPr/>
        </p:nvSpPr>
        <p:spPr>
          <a:xfrm>
            <a:off x="611188" y="3729038"/>
            <a:ext cx="1271587" cy="347662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1000"/>
              </a:lnSpc>
              <a:defRPr/>
            </a:pPr>
            <a:r>
              <a:rPr lang="en-US" altLang="en-US" sz="1600" b="1" smtClean="0">
                <a:solidFill>
                  <a:srgbClr val="994345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Colombia</a:t>
            </a:r>
            <a:r>
              <a:rPr lang="en-US" altLang="en-US" sz="1800" b="1" smtClean="0">
                <a:solidFill>
                  <a:srgbClr val="994345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</a:p>
          <a:p>
            <a:pPr eaLnBrk="1" hangingPunct="1">
              <a:lnSpc>
                <a:spcPts val="1000"/>
              </a:lnSpc>
              <a:defRPr/>
            </a:pPr>
            <a:r>
              <a:rPr lang="en-US" altLang="en-US" sz="1100" smtClean="0">
                <a:solidFill>
                  <a:srgbClr val="994345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OM</a:t>
            </a:r>
            <a:endParaRPr lang="en-GB" altLang="en-US" sz="1100" smtClean="0">
              <a:solidFill>
                <a:srgbClr val="994345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11" name="TextBox 610"/>
          <p:cNvSpPr txBox="1"/>
          <p:nvPr/>
        </p:nvSpPr>
        <p:spPr>
          <a:xfrm>
            <a:off x="260350" y="3400425"/>
            <a:ext cx="1235075" cy="347663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1000"/>
              </a:lnSpc>
              <a:defRPr/>
            </a:pPr>
            <a:r>
              <a:rPr lang="en-US" altLang="en-US" sz="1600" b="1" dirty="0" smtClean="0">
                <a:solidFill>
                  <a:srgbClr val="149C4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El Salvador</a:t>
            </a:r>
          </a:p>
          <a:p>
            <a:pPr eaLnBrk="1" hangingPunct="1">
              <a:lnSpc>
                <a:spcPts val="1000"/>
              </a:lnSpc>
              <a:defRPr/>
            </a:pPr>
            <a:r>
              <a:rPr lang="en-US" altLang="en-US" sz="1100" dirty="0" err="1" smtClean="0">
                <a:solidFill>
                  <a:srgbClr val="149C4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HfH</a:t>
            </a:r>
            <a:r>
              <a:rPr lang="en-US" altLang="en-US" sz="1100" dirty="0" smtClean="0">
                <a:solidFill>
                  <a:srgbClr val="149C4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/IFRC</a:t>
            </a:r>
            <a:endParaRPr lang="en-GB" altLang="en-US" sz="1100" dirty="0" smtClean="0">
              <a:solidFill>
                <a:srgbClr val="149C48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12" name="TextBox 611"/>
          <p:cNvSpPr txBox="1"/>
          <p:nvPr/>
        </p:nvSpPr>
        <p:spPr>
          <a:xfrm>
            <a:off x="2392363" y="2997200"/>
            <a:ext cx="1027112" cy="322263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hangingPunct="1">
              <a:lnSpc>
                <a:spcPts val="900"/>
              </a:lnSpc>
              <a:defRPr/>
            </a:pPr>
            <a:r>
              <a:rPr lang="en-US" altLang="en-US" sz="16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Mali</a:t>
            </a:r>
          </a:p>
          <a:p>
            <a:pPr algn="r" eaLnBrk="1" hangingPunct="1">
              <a:lnSpc>
                <a:spcPts val="900"/>
              </a:lnSpc>
              <a:defRPr/>
            </a:pPr>
            <a:r>
              <a:rPr lang="en-US" altLang="en-US" sz="110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UNHCR/IOM</a:t>
            </a:r>
            <a:endParaRPr lang="en-GB" altLang="en-US" sz="1100" smtClean="0">
              <a:solidFill>
                <a:schemeClr val="accent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13" name="TextBox 612"/>
          <p:cNvSpPr txBox="1"/>
          <p:nvPr/>
        </p:nvSpPr>
        <p:spPr>
          <a:xfrm>
            <a:off x="4265613" y="2736850"/>
            <a:ext cx="1027112" cy="331788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900"/>
              </a:lnSpc>
              <a:defRPr/>
            </a:pPr>
            <a:r>
              <a:rPr lang="en-US" altLang="en-US" sz="18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n-US" altLang="en-US" sz="16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Sudan</a:t>
            </a:r>
          </a:p>
          <a:p>
            <a:pPr eaLnBrk="1" hangingPunct="1">
              <a:lnSpc>
                <a:spcPts val="900"/>
              </a:lnSpc>
              <a:defRPr/>
            </a:pPr>
            <a:r>
              <a:rPr lang="en-US" altLang="en-US" sz="180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n-US" altLang="en-US" sz="110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UNHCR</a:t>
            </a:r>
            <a:endParaRPr lang="en-GB" altLang="en-US" sz="1100" smtClean="0">
              <a:solidFill>
                <a:schemeClr val="accent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14" name="TextBox 613"/>
          <p:cNvSpPr txBox="1"/>
          <p:nvPr/>
        </p:nvSpPr>
        <p:spPr>
          <a:xfrm>
            <a:off x="3492500" y="4156075"/>
            <a:ext cx="860425" cy="323850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hangingPunct="1">
              <a:lnSpc>
                <a:spcPts val="900"/>
              </a:lnSpc>
              <a:defRPr/>
            </a:pPr>
            <a:r>
              <a:rPr lang="en-US" altLang="en-US" sz="16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DRC</a:t>
            </a:r>
          </a:p>
          <a:p>
            <a:pPr algn="r" eaLnBrk="1" hangingPunct="1">
              <a:lnSpc>
                <a:spcPts val="900"/>
              </a:lnSpc>
              <a:defRPr/>
            </a:pPr>
            <a:r>
              <a:rPr lang="en-US" altLang="en-US" sz="1100" b="1" smtClean="0">
                <a:solidFill>
                  <a:srgbClr val="994345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 </a:t>
            </a:r>
            <a:r>
              <a:rPr lang="en-US" altLang="en-US" sz="110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UNICEF</a:t>
            </a:r>
            <a:endParaRPr lang="en-GB" altLang="en-US" sz="1100" smtClean="0">
              <a:solidFill>
                <a:schemeClr val="accent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17" name="TextBox 616"/>
          <p:cNvSpPr txBox="1"/>
          <p:nvPr/>
        </p:nvSpPr>
        <p:spPr>
          <a:xfrm>
            <a:off x="3236913" y="3827463"/>
            <a:ext cx="1058862" cy="322262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hangingPunct="1">
              <a:lnSpc>
                <a:spcPts val="900"/>
              </a:lnSpc>
              <a:defRPr/>
            </a:pPr>
            <a:r>
              <a:rPr lang="en-US" altLang="en-US" sz="16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CAR</a:t>
            </a:r>
          </a:p>
          <a:p>
            <a:pPr algn="r" eaLnBrk="1" hangingPunct="1">
              <a:lnSpc>
                <a:spcPts val="900"/>
              </a:lnSpc>
              <a:defRPr/>
            </a:pPr>
            <a:r>
              <a:rPr lang="en-US" altLang="en-US" sz="110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UNHCR/ACTED</a:t>
            </a:r>
            <a:endParaRPr lang="en-GB" altLang="en-US" sz="1100" smtClean="0">
              <a:solidFill>
                <a:schemeClr val="accent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20" name="TextBox 619"/>
          <p:cNvSpPr txBox="1"/>
          <p:nvPr/>
        </p:nvSpPr>
        <p:spPr>
          <a:xfrm>
            <a:off x="3082925" y="3573463"/>
            <a:ext cx="1417638" cy="296862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750"/>
              </a:lnSpc>
              <a:defRPr/>
            </a:pPr>
            <a:r>
              <a:rPr lang="en-US" altLang="en-US" sz="8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n-US" altLang="en-US" sz="16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South Sudan</a:t>
            </a:r>
          </a:p>
          <a:p>
            <a:pPr eaLnBrk="1" hangingPunct="1">
              <a:lnSpc>
                <a:spcPts val="750"/>
              </a:lnSpc>
              <a:defRPr/>
            </a:pPr>
            <a:r>
              <a:rPr lang="en-US" altLang="en-US" sz="110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IOM/World Vision</a:t>
            </a:r>
          </a:p>
        </p:txBody>
      </p:sp>
      <p:sp>
        <p:nvSpPr>
          <p:cNvPr id="621" name="TextBox 620"/>
          <p:cNvSpPr txBox="1"/>
          <p:nvPr/>
        </p:nvSpPr>
        <p:spPr>
          <a:xfrm>
            <a:off x="5076825" y="3805238"/>
            <a:ext cx="1027113" cy="322262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900"/>
              </a:lnSpc>
              <a:defRPr/>
            </a:pPr>
            <a:r>
              <a:rPr lang="en-US" altLang="en-US" sz="16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Somalia</a:t>
            </a:r>
          </a:p>
          <a:p>
            <a:pPr eaLnBrk="1" hangingPunct="1">
              <a:lnSpc>
                <a:spcPts val="900"/>
              </a:lnSpc>
              <a:defRPr/>
            </a:pPr>
            <a:r>
              <a:rPr lang="en-US" altLang="en-US" sz="160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n-US" altLang="en-US" sz="110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UNHCR</a:t>
            </a:r>
          </a:p>
        </p:txBody>
      </p:sp>
      <p:sp>
        <p:nvSpPr>
          <p:cNvPr id="622" name="TextBox 621"/>
          <p:cNvSpPr txBox="1"/>
          <p:nvPr/>
        </p:nvSpPr>
        <p:spPr>
          <a:xfrm>
            <a:off x="5364163" y="3141663"/>
            <a:ext cx="946150" cy="322262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900"/>
              </a:lnSpc>
              <a:defRPr/>
            </a:pPr>
            <a:r>
              <a:rPr lang="en-US" altLang="en-US" sz="18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n-US" altLang="en-US" sz="16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Yemen</a:t>
            </a:r>
          </a:p>
          <a:p>
            <a:pPr eaLnBrk="1" hangingPunct="1">
              <a:lnSpc>
                <a:spcPts val="900"/>
              </a:lnSpc>
              <a:defRPr/>
            </a:pPr>
            <a:r>
              <a:rPr lang="en-US" altLang="en-US" sz="18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n-US" altLang="en-US" sz="110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UNHCR</a:t>
            </a:r>
            <a:endParaRPr lang="en-US" altLang="en-US" sz="1800" smtClean="0">
              <a:solidFill>
                <a:schemeClr val="accent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24" name="TextBox 623"/>
          <p:cNvSpPr txBox="1"/>
          <p:nvPr/>
        </p:nvSpPr>
        <p:spPr>
          <a:xfrm>
            <a:off x="5672138" y="2052638"/>
            <a:ext cx="1509712" cy="354012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1000"/>
              </a:lnSpc>
              <a:defRPr/>
            </a:pPr>
            <a:r>
              <a:rPr lang="en-US" altLang="en-US" sz="16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Afghanistan</a:t>
            </a:r>
          </a:p>
          <a:p>
            <a:pPr eaLnBrk="1" hangingPunct="1">
              <a:lnSpc>
                <a:spcPts val="1000"/>
              </a:lnSpc>
              <a:defRPr/>
            </a:pPr>
            <a:r>
              <a:rPr lang="en-US" altLang="en-US" sz="110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UNHCR/IOM</a:t>
            </a:r>
          </a:p>
        </p:txBody>
      </p:sp>
      <p:sp>
        <p:nvSpPr>
          <p:cNvPr id="627" name="TextBox 626"/>
          <p:cNvSpPr txBox="1"/>
          <p:nvPr/>
        </p:nvSpPr>
        <p:spPr>
          <a:xfrm>
            <a:off x="6196013" y="2503488"/>
            <a:ext cx="1027112" cy="347662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1000"/>
              </a:lnSpc>
              <a:defRPr/>
            </a:pPr>
            <a:r>
              <a:rPr lang="en-US" altLang="en-US" sz="1600" b="1" smtClean="0">
                <a:solidFill>
                  <a:srgbClr val="149C4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Nepal</a:t>
            </a:r>
          </a:p>
          <a:p>
            <a:pPr eaLnBrk="1" hangingPunct="1">
              <a:lnSpc>
                <a:spcPts val="1000"/>
              </a:lnSpc>
              <a:defRPr/>
            </a:pPr>
            <a:r>
              <a:rPr lang="en-US" altLang="en-US" sz="1100" smtClean="0">
                <a:solidFill>
                  <a:srgbClr val="149C4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IFRC</a:t>
            </a:r>
          </a:p>
        </p:txBody>
      </p:sp>
      <p:sp>
        <p:nvSpPr>
          <p:cNvPr id="628" name="TextBox 627"/>
          <p:cNvSpPr txBox="1"/>
          <p:nvPr/>
        </p:nvSpPr>
        <p:spPr>
          <a:xfrm>
            <a:off x="6927850" y="2836863"/>
            <a:ext cx="1406525" cy="354012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1000"/>
              </a:lnSpc>
              <a:defRPr/>
            </a:pPr>
            <a:r>
              <a:rPr lang="en-US" altLang="en-US" sz="1600" b="1" smtClean="0">
                <a:solidFill>
                  <a:srgbClr val="149C4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Bangladesh</a:t>
            </a:r>
          </a:p>
          <a:p>
            <a:pPr eaLnBrk="1" hangingPunct="1">
              <a:lnSpc>
                <a:spcPts val="1000"/>
              </a:lnSpc>
              <a:defRPr/>
            </a:pPr>
            <a:r>
              <a:rPr lang="en-US" altLang="en-US" sz="1100" smtClean="0">
                <a:solidFill>
                  <a:srgbClr val="149C4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FRC/UNDP</a:t>
            </a:r>
          </a:p>
        </p:txBody>
      </p:sp>
      <p:sp>
        <p:nvSpPr>
          <p:cNvPr id="629" name="TextBox 628"/>
          <p:cNvSpPr txBox="1"/>
          <p:nvPr/>
        </p:nvSpPr>
        <p:spPr>
          <a:xfrm>
            <a:off x="6334125" y="3513138"/>
            <a:ext cx="1177925" cy="349250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lnSpc>
                <a:spcPts val="1000"/>
              </a:lnSpc>
              <a:defRPr/>
            </a:pPr>
            <a:r>
              <a:rPr lang="en-US" altLang="en-US" sz="16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Myanmar</a:t>
            </a:r>
          </a:p>
          <a:p>
            <a:pPr algn="ctr" eaLnBrk="1" hangingPunct="1">
              <a:lnSpc>
                <a:spcPts val="1000"/>
              </a:lnSpc>
              <a:defRPr/>
            </a:pPr>
            <a:r>
              <a:rPr lang="en-US" altLang="en-US" sz="110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UNHCR</a:t>
            </a:r>
          </a:p>
        </p:txBody>
      </p:sp>
      <p:sp>
        <p:nvSpPr>
          <p:cNvPr id="632" name="TextBox 631"/>
          <p:cNvSpPr txBox="1"/>
          <p:nvPr/>
        </p:nvSpPr>
        <p:spPr>
          <a:xfrm>
            <a:off x="8207375" y="4619625"/>
            <a:ext cx="901700" cy="349250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1000"/>
              </a:lnSpc>
              <a:defRPr/>
            </a:pPr>
            <a:r>
              <a:rPr lang="en-US" altLang="en-US" sz="1600" b="1" dirty="0" smtClean="0">
                <a:solidFill>
                  <a:srgbClr val="149C4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Vanuatu</a:t>
            </a:r>
          </a:p>
          <a:p>
            <a:pPr eaLnBrk="1" hangingPunct="1">
              <a:lnSpc>
                <a:spcPts val="1000"/>
              </a:lnSpc>
              <a:defRPr/>
            </a:pPr>
            <a:r>
              <a:rPr lang="en-US" altLang="en-US" sz="1100" dirty="0" smtClean="0">
                <a:solidFill>
                  <a:srgbClr val="149C4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FRC</a:t>
            </a:r>
          </a:p>
        </p:txBody>
      </p:sp>
      <p:sp>
        <p:nvSpPr>
          <p:cNvPr id="633" name="TextBox 632"/>
          <p:cNvSpPr txBox="1"/>
          <p:nvPr/>
        </p:nvSpPr>
        <p:spPr>
          <a:xfrm>
            <a:off x="4806950" y="4835525"/>
            <a:ext cx="1455738" cy="349250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1000"/>
              </a:lnSpc>
              <a:defRPr/>
            </a:pPr>
            <a:r>
              <a:rPr lang="en-US" altLang="en-US" sz="1600" b="1" smtClean="0">
                <a:solidFill>
                  <a:srgbClr val="149C4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Mozambique</a:t>
            </a:r>
          </a:p>
          <a:p>
            <a:pPr eaLnBrk="1" hangingPunct="1">
              <a:lnSpc>
                <a:spcPts val="1000"/>
              </a:lnSpc>
              <a:defRPr/>
            </a:pPr>
            <a:r>
              <a:rPr lang="en-US" altLang="en-US" sz="1100" smtClean="0">
                <a:solidFill>
                  <a:srgbClr val="149C4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FRC/UNHABITAT</a:t>
            </a:r>
          </a:p>
        </p:txBody>
      </p:sp>
      <p:sp>
        <p:nvSpPr>
          <p:cNvPr id="635" name="TextBox 634"/>
          <p:cNvSpPr txBox="1"/>
          <p:nvPr/>
        </p:nvSpPr>
        <p:spPr>
          <a:xfrm>
            <a:off x="3689350" y="2349500"/>
            <a:ext cx="1243013" cy="322263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hangingPunct="1">
              <a:lnSpc>
                <a:spcPts val="900"/>
              </a:lnSpc>
              <a:defRPr/>
            </a:pPr>
            <a:r>
              <a:rPr lang="en-US" altLang="en-US" sz="16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Palestine</a:t>
            </a:r>
          </a:p>
          <a:p>
            <a:pPr algn="r" eaLnBrk="1" hangingPunct="1">
              <a:lnSpc>
                <a:spcPts val="900"/>
              </a:lnSpc>
              <a:defRPr/>
            </a:pPr>
            <a:r>
              <a:rPr lang="en-US" altLang="en-US" sz="110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NRC/ACTED</a:t>
            </a:r>
            <a:endParaRPr lang="en-GB" altLang="en-US" sz="1100" smtClean="0">
              <a:solidFill>
                <a:schemeClr val="accent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36" name="TextBox 635"/>
          <p:cNvSpPr txBox="1"/>
          <p:nvPr/>
        </p:nvSpPr>
        <p:spPr>
          <a:xfrm>
            <a:off x="4765675" y="2233613"/>
            <a:ext cx="984250" cy="322262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900"/>
              </a:lnSpc>
              <a:defRPr/>
            </a:pPr>
            <a:r>
              <a:rPr lang="en-US" altLang="en-US" sz="16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Syria</a:t>
            </a:r>
          </a:p>
          <a:p>
            <a:pPr eaLnBrk="1" hangingPunct="1">
              <a:lnSpc>
                <a:spcPts val="900"/>
              </a:lnSpc>
              <a:defRPr/>
            </a:pPr>
            <a:r>
              <a:rPr lang="en-US" altLang="en-US" sz="110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UNHCR</a:t>
            </a:r>
            <a:endParaRPr lang="en-GB" altLang="en-US" sz="1100" smtClean="0">
              <a:solidFill>
                <a:schemeClr val="accent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41" name="TextBox 640"/>
          <p:cNvSpPr txBox="1"/>
          <p:nvPr/>
        </p:nvSpPr>
        <p:spPr>
          <a:xfrm>
            <a:off x="4910138" y="4078288"/>
            <a:ext cx="989012" cy="420687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750"/>
              </a:lnSpc>
              <a:defRPr/>
            </a:pPr>
            <a:r>
              <a:rPr lang="en-US" altLang="en-US" sz="1600" b="1" dirty="0" smtClean="0">
                <a:solidFill>
                  <a:srgbClr val="994345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Kenya</a:t>
            </a:r>
          </a:p>
          <a:p>
            <a:pPr eaLnBrk="1" hangingPunct="1">
              <a:lnSpc>
                <a:spcPts val="750"/>
              </a:lnSpc>
              <a:defRPr/>
            </a:pPr>
            <a:r>
              <a:rPr lang="en-US" altLang="en-US" sz="1100" b="1" dirty="0" smtClean="0">
                <a:solidFill>
                  <a:srgbClr val="994345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 </a:t>
            </a:r>
            <a:r>
              <a:rPr lang="en-US" altLang="en-US" sz="1100" dirty="0" smtClean="0">
                <a:solidFill>
                  <a:srgbClr val="994345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OM / KRCS</a:t>
            </a:r>
          </a:p>
          <a:p>
            <a:pPr eaLnBrk="1" hangingPunct="1">
              <a:defRPr/>
            </a:pPr>
            <a:endParaRPr lang="en-GB" altLang="en-US" sz="800" b="1" dirty="0" smtClean="0">
              <a:solidFill>
                <a:srgbClr val="994345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42" name="TextBox 641"/>
          <p:cNvSpPr txBox="1"/>
          <p:nvPr/>
        </p:nvSpPr>
        <p:spPr>
          <a:xfrm>
            <a:off x="5311775" y="3494088"/>
            <a:ext cx="1084263" cy="477837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1000"/>
              </a:lnSpc>
              <a:defRPr/>
            </a:pPr>
            <a:r>
              <a:rPr lang="en-US" altLang="en-US" sz="1800" b="1" smtClean="0">
                <a:solidFill>
                  <a:srgbClr val="994345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n-US" altLang="en-US" sz="1600" b="1" smtClean="0">
                <a:solidFill>
                  <a:srgbClr val="994345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Ethiopia</a:t>
            </a:r>
          </a:p>
          <a:p>
            <a:pPr eaLnBrk="1" hangingPunct="1">
              <a:lnSpc>
                <a:spcPts val="1000"/>
              </a:lnSpc>
              <a:defRPr/>
            </a:pPr>
            <a:r>
              <a:rPr lang="en-US" altLang="en-US" sz="1800" smtClean="0">
                <a:solidFill>
                  <a:srgbClr val="994345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n-US" altLang="en-US" sz="1100" smtClean="0">
                <a:solidFill>
                  <a:srgbClr val="994345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OM</a:t>
            </a:r>
          </a:p>
          <a:p>
            <a:pPr eaLnBrk="1" hangingPunct="1">
              <a:lnSpc>
                <a:spcPts val="1000"/>
              </a:lnSpc>
              <a:defRPr/>
            </a:pPr>
            <a:endParaRPr lang="en-GB" altLang="en-US" sz="1800" b="1" smtClean="0">
              <a:solidFill>
                <a:srgbClr val="994345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grpSp>
        <p:nvGrpSpPr>
          <p:cNvPr id="15387" name="Group 4"/>
          <p:cNvGrpSpPr>
            <a:grpSpLocks/>
          </p:cNvGrpSpPr>
          <p:nvPr/>
        </p:nvGrpSpPr>
        <p:grpSpPr bwMode="auto">
          <a:xfrm>
            <a:off x="7275513" y="6016625"/>
            <a:ext cx="1808162" cy="488950"/>
            <a:chOff x="3837853" y="5986947"/>
            <a:chExt cx="1808604" cy="489630"/>
          </a:xfrm>
        </p:grpSpPr>
        <p:sp>
          <p:nvSpPr>
            <p:cNvPr id="650" name="TextBox 649"/>
            <p:cNvSpPr txBox="1"/>
            <p:nvPr/>
          </p:nvSpPr>
          <p:spPr>
            <a:xfrm>
              <a:off x="3837853" y="5986947"/>
              <a:ext cx="1808604" cy="249585"/>
            </a:xfrm>
            <a:prstGeom prst="rect">
              <a:avLst/>
            </a:prstGeom>
            <a:noFill/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lnSpc>
                  <a:spcPts val="1000"/>
                </a:lnSpc>
                <a:defRPr/>
              </a:pPr>
              <a:r>
                <a:rPr lang="fr-CH" altLang="en-US" sz="1800" b="1" smtClean="0">
                  <a:solidFill>
                    <a:srgbClr val="149C48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Natural </a:t>
              </a:r>
              <a:r>
                <a:rPr lang="en-GB" altLang="en-US" sz="1800" b="1" smtClean="0">
                  <a:solidFill>
                    <a:srgbClr val="149C48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disasters</a:t>
              </a:r>
            </a:p>
          </p:txBody>
        </p:sp>
        <p:sp>
          <p:nvSpPr>
            <p:cNvPr id="652" name="TextBox 651"/>
            <p:cNvSpPr txBox="1"/>
            <p:nvPr/>
          </p:nvSpPr>
          <p:spPr>
            <a:xfrm>
              <a:off x="3947417" y="6226993"/>
              <a:ext cx="1691101" cy="249584"/>
            </a:xfrm>
            <a:prstGeom prst="rect">
              <a:avLst/>
            </a:prstGeom>
            <a:noFill/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37931725" indent="-37474525"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r" eaLnBrk="1" hangingPunct="1">
                <a:lnSpc>
                  <a:spcPts val="1000"/>
                </a:lnSpc>
                <a:defRPr/>
              </a:pPr>
              <a:r>
                <a:rPr lang="en-US" altLang="en-US" sz="1800" b="1" smtClean="0">
                  <a:solidFill>
                    <a:srgbClr val="994345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Both</a:t>
              </a:r>
              <a:endParaRPr lang="en-GB" altLang="en-US" sz="1800" b="1" smtClean="0">
                <a:solidFill>
                  <a:srgbClr val="994345"/>
                </a:solidFill>
                <a:effectLst>
                  <a:outerShdw blurRad="38100" dist="38100" dir="2700000" algn="tl">
                    <a:srgbClr val="C0C0C0"/>
                  </a:outerShdw>
                </a:effectLst>
              </a:endParaRPr>
            </a:p>
          </p:txBody>
        </p:sp>
      </p:grpSp>
      <p:sp>
        <p:nvSpPr>
          <p:cNvPr id="655" name="TextBox 654"/>
          <p:cNvSpPr txBox="1"/>
          <p:nvPr/>
        </p:nvSpPr>
        <p:spPr>
          <a:xfrm>
            <a:off x="7345363" y="5805488"/>
            <a:ext cx="1701800" cy="249237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hangingPunct="1">
              <a:lnSpc>
                <a:spcPts val="1000"/>
              </a:lnSpc>
              <a:defRPr/>
            </a:pPr>
            <a:r>
              <a:rPr lang="en-US" altLang="en-US" sz="18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Conflict</a:t>
            </a:r>
            <a:endParaRPr lang="en-GB" altLang="en-US" sz="1800" b="1" smtClean="0">
              <a:solidFill>
                <a:schemeClr val="accent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15389" name="Title 1"/>
          <p:cNvSpPr txBox="1">
            <a:spLocks/>
          </p:cNvSpPr>
          <p:nvPr/>
        </p:nvSpPr>
        <p:spPr bwMode="auto">
          <a:xfrm>
            <a:off x="1016000" y="631571"/>
            <a:ext cx="8229600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3200" b="1" dirty="0">
                <a:solidFill>
                  <a:srgbClr val="04314C"/>
                </a:solidFill>
                <a:latin typeface="Verdana" panose="020B0604030504040204" pitchFamily="34" charset="0"/>
              </a:rPr>
              <a:t>25 Shelter Clusters or cluster-like</a:t>
            </a:r>
            <a:endParaRPr lang="en-GB" altLang="en-US" sz="3200" b="1" dirty="0">
              <a:solidFill>
                <a:srgbClr val="04314C"/>
              </a:solidFill>
              <a:latin typeface="Verdana" panose="020B0604030504040204" pitchFamily="34" charset="0"/>
            </a:endParaRPr>
          </a:p>
        </p:txBody>
      </p:sp>
      <p:sp>
        <p:nvSpPr>
          <p:cNvPr id="625" name="TextBox 624"/>
          <p:cNvSpPr txBox="1"/>
          <p:nvPr/>
        </p:nvSpPr>
        <p:spPr>
          <a:xfrm>
            <a:off x="4932363" y="2852738"/>
            <a:ext cx="946150" cy="322262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900"/>
              </a:lnSpc>
              <a:defRPr/>
            </a:pPr>
            <a:r>
              <a:rPr lang="en-US" altLang="en-US" sz="18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n-US" altLang="en-US" sz="16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raq</a:t>
            </a:r>
          </a:p>
          <a:p>
            <a:pPr eaLnBrk="1" hangingPunct="1">
              <a:lnSpc>
                <a:spcPts val="900"/>
              </a:lnSpc>
              <a:defRPr/>
            </a:pPr>
            <a:r>
              <a:rPr lang="en-US" altLang="en-US" sz="18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n-US" altLang="en-US" sz="110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UNHCR</a:t>
            </a:r>
            <a:endParaRPr lang="en-US" altLang="en-US" sz="1800" smtClean="0">
              <a:solidFill>
                <a:schemeClr val="accent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26" name="TextBox 625"/>
          <p:cNvSpPr txBox="1"/>
          <p:nvPr/>
        </p:nvSpPr>
        <p:spPr>
          <a:xfrm>
            <a:off x="2700338" y="3284538"/>
            <a:ext cx="1027112" cy="331787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900"/>
              </a:lnSpc>
              <a:defRPr/>
            </a:pPr>
            <a:r>
              <a:rPr lang="en-US" altLang="en-US" sz="18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n-US" altLang="en-US" sz="16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Chad</a:t>
            </a:r>
          </a:p>
          <a:p>
            <a:pPr eaLnBrk="1" hangingPunct="1">
              <a:lnSpc>
                <a:spcPts val="900"/>
              </a:lnSpc>
              <a:defRPr/>
            </a:pPr>
            <a:r>
              <a:rPr lang="en-US" altLang="en-US" sz="180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n-US" altLang="en-US" sz="110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UNHCR/IOM</a:t>
            </a:r>
            <a:endParaRPr lang="en-GB" altLang="en-US" sz="1100" smtClean="0">
              <a:solidFill>
                <a:schemeClr val="accent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30" name="TextBox 629"/>
          <p:cNvSpPr txBox="1"/>
          <p:nvPr/>
        </p:nvSpPr>
        <p:spPr>
          <a:xfrm>
            <a:off x="4587875" y="1681163"/>
            <a:ext cx="984250" cy="322262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900"/>
              </a:lnSpc>
              <a:defRPr/>
            </a:pPr>
            <a:r>
              <a:rPr lang="en-US" altLang="en-US" sz="1600" b="1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Ukraine</a:t>
            </a:r>
          </a:p>
          <a:p>
            <a:pPr eaLnBrk="1" hangingPunct="1">
              <a:lnSpc>
                <a:spcPts val="900"/>
              </a:lnSpc>
              <a:defRPr/>
            </a:pPr>
            <a:r>
              <a:rPr lang="en-US" altLang="en-US" sz="1100" smtClean="0">
                <a:solidFill>
                  <a:schemeClr val="accent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UNHCR</a:t>
            </a:r>
            <a:endParaRPr lang="en-GB" altLang="en-US" sz="1100" smtClean="0">
              <a:solidFill>
                <a:schemeClr val="accent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31" name="TextBox 630"/>
          <p:cNvSpPr txBox="1"/>
          <p:nvPr/>
        </p:nvSpPr>
        <p:spPr>
          <a:xfrm>
            <a:off x="4568825" y="5180013"/>
            <a:ext cx="900113" cy="349250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1000"/>
              </a:lnSpc>
              <a:defRPr/>
            </a:pPr>
            <a:r>
              <a:rPr lang="en-US" altLang="en-US" sz="1600" b="1" dirty="0" smtClean="0">
                <a:solidFill>
                  <a:srgbClr val="149C4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Malawi</a:t>
            </a:r>
          </a:p>
          <a:p>
            <a:pPr eaLnBrk="1" hangingPunct="1">
              <a:lnSpc>
                <a:spcPts val="1000"/>
              </a:lnSpc>
              <a:defRPr/>
            </a:pPr>
            <a:r>
              <a:rPr lang="en-US" altLang="en-US" sz="1100" dirty="0" smtClean="0">
                <a:solidFill>
                  <a:srgbClr val="149C4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FRC</a:t>
            </a:r>
          </a:p>
        </p:txBody>
      </p:sp>
      <p:sp>
        <p:nvSpPr>
          <p:cNvPr id="637" name="5-Point Star 636"/>
          <p:cNvSpPr/>
          <p:nvPr/>
        </p:nvSpPr>
        <p:spPr>
          <a:xfrm>
            <a:off x="2784137" y="2950288"/>
            <a:ext cx="131679" cy="118672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8" name="5-Point Star 637"/>
          <p:cNvSpPr/>
          <p:nvPr/>
        </p:nvSpPr>
        <p:spPr>
          <a:xfrm>
            <a:off x="5304417" y="2230208"/>
            <a:ext cx="131679" cy="118672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9" name="5-Point Star 638"/>
          <p:cNvSpPr/>
          <p:nvPr/>
        </p:nvSpPr>
        <p:spPr>
          <a:xfrm>
            <a:off x="3923928" y="2374224"/>
            <a:ext cx="131679" cy="118672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0" name="5-Point Star 639"/>
          <p:cNvSpPr/>
          <p:nvPr/>
        </p:nvSpPr>
        <p:spPr>
          <a:xfrm>
            <a:off x="2987824" y="3573016"/>
            <a:ext cx="131679" cy="118672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3" name="5-Point Star 642"/>
          <p:cNvSpPr/>
          <p:nvPr/>
        </p:nvSpPr>
        <p:spPr>
          <a:xfrm>
            <a:off x="3720241" y="4174424"/>
            <a:ext cx="131679" cy="118672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4" name="5-Point Star 643"/>
          <p:cNvSpPr/>
          <p:nvPr/>
        </p:nvSpPr>
        <p:spPr>
          <a:xfrm>
            <a:off x="7307304" y="3668330"/>
            <a:ext cx="131679" cy="118672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5" name="5-Point Star 644"/>
          <p:cNvSpPr/>
          <p:nvPr/>
        </p:nvSpPr>
        <p:spPr>
          <a:xfrm>
            <a:off x="6804248" y="2492896"/>
            <a:ext cx="131679" cy="118672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6" name="5-Point Star 645"/>
          <p:cNvSpPr/>
          <p:nvPr/>
        </p:nvSpPr>
        <p:spPr>
          <a:xfrm>
            <a:off x="8688793" y="3166312"/>
            <a:ext cx="131679" cy="118672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7" name="5-Point Star 646"/>
          <p:cNvSpPr/>
          <p:nvPr/>
        </p:nvSpPr>
        <p:spPr>
          <a:xfrm>
            <a:off x="5952489" y="3789040"/>
            <a:ext cx="131679" cy="118672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8" name="TextBox 647"/>
          <p:cNvSpPr txBox="1"/>
          <p:nvPr/>
        </p:nvSpPr>
        <p:spPr>
          <a:xfrm>
            <a:off x="3003325" y="5825641"/>
            <a:ext cx="34178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17  (70%) Represented here today </a:t>
            </a:r>
            <a:endParaRPr lang="en-US" dirty="0"/>
          </a:p>
        </p:txBody>
      </p:sp>
      <p:sp>
        <p:nvSpPr>
          <p:cNvPr id="649" name="5-Point Star 648"/>
          <p:cNvSpPr/>
          <p:nvPr/>
        </p:nvSpPr>
        <p:spPr>
          <a:xfrm>
            <a:off x="4211960" y="2734264"/>
            <a:ext cx="131679" cy="118672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1" name="5-Point Star 650"/>
          <p:cNvSpPr/>
          <p:nvPr/>
        </p:nvSpPr>
        <p:spPr>
          <a:xfrm>
            <a:off x="6096505" y="3166312"/>
            <a:ext cx="131679" cy="118672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3" name="5-Point Star 652"/>
          <p:cNvSpPr/>
          <p:nvPr/>
        </p:nvSpPr>
        <p:spPr>
          <a:xfrm>
            <a:off x="5796136" y="4102416"/>
            <a:ext cx="131679" cy="118672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4" name="5-Point Star 653"/>
          <p:cNvSpPr/>
          <p:nvPr/>
        </p:nvSpPr>
        <p:spPr>
          <a:xfrm>
            <a:off x="2856145" y="5949280"/>
            <a:ext cx="131679" cy="118672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6" name="5-Point Star 655"/>
          <p:cNvSpPr/>
          <p:nvPr/>
        </p:nvSpPr>
        <p:spPr>
          <a:xfrm>
            <a:off x="5364088" y="1628800"/>
            <a:ext cx="131679" cy="118672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7" name="5-Point Star 656"/>
          <p:cNvSpPr/>
          <p:nvPr/>
        </p:nvSpPr>
        <p:spPr>
          <a:xfrm>
            <a:off x="8841193" y="4822496"/>
            <a:ext cx="131679" cy="118672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8" name="5-Point Star 657"/>
          <p:cNvSpPr/>
          <p:nvPr/>
        </p:nvSpPr>
        <p:spPr>
          <a:xfrm>
            <a:off x="5364088" y="5229200"/>
            <a:ext cx="131679" cy="118672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9" name="5-Point Star 658"/>
          <p:cNvSpPr/>
          <p:nvPr/>
        </p:nvSpPr>
        <p:spPr>
          <a:xfrm>
            <a:off x="5508104" y="2924944"/>
            <a:ext cx="131679" cy="118672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0" name="5-Point Star 659"/>
          <p:cNvSpPr/>
          <p:nvPr/>
        </p:nvSpPr>
        <p:spPr>
          <a:xfrm>
            <a:off x="8184737" y="3598360"/>
            <a:ext cx="131679" cy="118672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13160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7" grpId="0" animBg="1"/>
      <p:bldP spid="638" grpId="0" animBg="1"/>
      <p:bldP spid="639" grpId="0" animBg="1"/>
      <p:bldP spid="640" grpId="0" animBg="1"/>
      <p:bldP spid="643" grpId="0" animBg="1"/>
      <p:bldP spid="644" grpId="0" animBg="1"/>
      <p:bldP spid="645" grpId="0" animBg="1"/>
      <p:bldP spid="646" grpId="0" animBg="1"/>
      <p:bldP spid="647" grpId="0" animBg="1"/>
      <p:bldP spid="648" grpId="0"/>
      <p:bldP spid="649" grpId="0" animBg="1"/>
      <p:bldP spid="651" grpId="0" animBg="1"/>
      <p:bldP spid="653" grpId="0" animBg="1"/>
      <p:bldP spid="654" grpId="0" animBg="1"/>
      <p:bldP spid="656" grpId="0" animBg="1"/>
      <p:bldP spid="657" grpId="0" animBg="1"/>
      <p:bldP spid="658" grpId="0" animBg="1"/>
      <p:bldP spid="659" grpId="0" animBg="1"/>
      <p:bldP spid="66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855365"/>
            <a:ext cx="8363272" cy="4525963"/>
          </a:xfrm>
        </p:spPr>
        <p:txBody>
          <a:bodyPr>
            <a:normAutofit fontScale="92500" lnSpcReduction="10000"/>
          </a:bodyPr>
          <a:lstStyle/>
          <a:p>
            <a:r>
              <a:rPr lang="en-US" dirty="0" smtClean="0"/>
              <a:t>Nepal and Vanuatu emergencies</a:t>
            </a:r>
          </a:p>
          <a:p>
            <a:r>
              <a:rPr lang="en-US" dirty="0" smtClean="0"/>
              <a:t>Yemen declared L3 emergency</a:t>
            </a:r>
            <a:endParaRPr lang="en-GB" dirty="0" smtClean="0"/>
          </a:p>
          <a:p>
            <a:r>
              <a:rPr lang="en-GB" dirty="0"/>
              <a:t>4</a:t>
            </a:r>
            <a:r>
              <a:rPr lang="en-GB" dirty="0" smtClean="0"/>
              <a:t> system-wide </a:t>
            </a:r>
            <a:r>
              <a:rPr lang="en-GB" b="1" dirty="0" smtClean="0"/>
              <a:t>L3 emergencies:</a:t>
            </a:r>
            <a:endParaRPr lang="de-CH" dirty="0" smtClean="0"/>
          </a:p>
          <a:p>
            <a:pPr lvl="1"/>
            <a:r>
              <a:rPr lang="de-CH" dirty="0" smtClean="0"/>
              <a:t>Syria</a:t>
            </a:r>
          </a:p>
          <a:p>
            <a:pPr lvl="1"/>
            <a:r>
              <a:rPr lang="de-CH" dirty="0" smtClean="0"/>
              <a:t>South Sudan</a:t>
            </a:r>
          </a:p>
          <a:p>
            <a:pPr lvl="1"/>
            <a:r>
              <a:rPr lang="de-CH" dirty="0" smtClean="0"/>
              <a:t>Iraq</a:t>
            </a:r>
          </a:p>
          <a:p>
            <a:pPr lvl="1"/>
            <a:r>
              <a:rPr lang="de-CH" dirty="0" smtClean="0"/>
              <a:t>Yemen</a:t>
            </a:r>
          </a:p>
          <a:p>
            <a:r>
              <a:rPr lang="de-CH" dirty="0" smtClean="0"/>
              <a:t>CAR no longer L3</a:t>
            </a:r>
          </a:p>
          <a:p>
            <a:r>
              <a:rPr lang="en-GB" dirty="0" smtClean="0"/>
              <a:t>Deployment</a:t>
            </a:r>
            <a:r>
              <a:rPr lang="fr-CH" dirty="0" smtClean="0"/>
              <a:t> </a:t>
            </a:r>
            <a:r>
              <a:rPr lang="fr-CH" dirty="0"/>
              <a:t>to </a:t>
            </a:r>
            <a:r>
              <a:rPr lang="fr-CH" dirty="0" smtClean="0"/>
              <a:t>Malawi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7C452-0D12-48F3-BB65-BBA3E6350F2C}" type="slidenum">
              <a:rPr lang="en-GB" smtClean="0"/>
              <a:t>4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Since our </a:t>
            </a:r>
            <a:r>
              <a:rPr lang="fr-CH" dirty="0" smtClean="0"/>
              <a:t>last meeting…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2384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7C452-0D12-48F3-BB65-BBA3E6350F2C}" type="slidenum">
              <a:rPr lang="en-GB" smtClean="0"/>
              <a:t>5</a:t>
            </a:fld>
            <a:endParaRPr lang="en-GB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512" y="764704"/>
            <a:ext cx="3600400" cy="356302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36096" y="777050"/>
            <a:ext cx="3576109" cy="353833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10666" y="3184455"/>
            <a:ext cx="3542534" cy="3530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2653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Total: </a:t>
            </a:r>
            <a:r>
              <a:rPr lang="en-GB" b="1" dirty="0" smtClean="0"/>
              <a:t>11,8 </a:t>
            </a:r>
            <a:r>
              <a:rPr lang="en-GB" b="1" dirty="0" err="1" smtClean="0"/>
              <a:t>mio</a:t>
            </a:r>
            <a:r>
              <a:rPr lang="en-GB" b="1" dirty="0" smtClean="0"/>
              <a:t> persons. </a:t>
            </a:r>
            <a:r>
              <a:rPr lang="en-GB" sz="2400" b="1" dirty="0" smtClean="0"/>
              <a:t>Top 15 countries:</a:t>
            </a:r>
            <a:endParaRPr lang="en-GB" sz="24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7C452-0D12-48F3-BB65-BBA3E6350F2C}" type="slidenum">
              <a:rPr lang="en-GB" smtClean="0"/>
              <a:t>6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Beneficiaries reached so far in 2015</a:t>
            </a:r>
            <a:endParaRPr lang="en-GB" dirty="0"/>
          </a:p>
        </p:txBody>
      </p:sp>
      <p:pic>
        <p:nvPicPr>
          <p:cNvPr id="6" name="Picture 5" descr="D:\Users\Shirin.Narymbaeva\Desktop\Beneficiaries reached 2015 Syria.PN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851" y="2420887"/>
            <a:ext cx="7856811" cy="387789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3943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7C452-0D12-48F3-BB65-BBA3E6350F2C}" type="slidenum">
              <a:rPr lang="en-GB" smtClean="0"/>
              <a:t>7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In 2014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3648" y="1698689"/>
            <a:ext cx="5629498" cy="500000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923928" y="6525344"/>
            <a:ext cx="1368152" cy="1733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0613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7C452-0D12-48F3-BB65-BBA3E6350F2C}" type="slidenum">
              <a:rPr lang="en-GB" smtClean="0"/>
              <a:t>8</a:t>
            </a:fld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Achievements 2014 &amp; 2015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544" y="1815292"/>
            <a:ext cx="3437696" cy="450912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16016" y="1940270"/>
            <a:ext cx="3128831" cy="440165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843647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3"/>
          <p:cNvSpPr txBox="1">
            <a:spLocks/>
          </p:cNvSpPr>
          <p:nvPr/>
        </p:nvSpPr>
        <p:spPr bwMode="auto">
          <a:xfrm>
            <a:off x="5729486" y="764704"/>
            <a:ext cx="2465387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200" b="1" dirty="0">
                <a:solidFill>
                  <a:srgbClr val="04314C"/>
                </a:solidFill>
                <a:latin typeface="Verdana" panose="020B0604030504040204" pitchFamily="34" charset="0"/>
              </a:rPr>
              <a:t>Deputy Coordinators</a:t>
            </a:r>
            <a:endParaRPr lang="en-GB" altLang="en-US" sz="1200" b="1" dirty="0">
              <a:solidFill>
                <a:srgbClr val="04314C"/>
              </a:solidFill>
              <a:latin typeface="Verdana" panose="020B0604030504040204" pitchFamily="34" charset="0"/>
            </a:endParaRPr>
          </a:p>
        </p:txBody>
      </p:sp>
      <p:sp>
        <p:nvSpPr>
          <p:cNvPr id="26627" name="Rectangle 7"/>
          <p:cNvSpPr>
            <a:spLocks noChangeArrowheads="1"/>
          </p:cNvSpPr>
          <p:nvPr/>
        </p:nvSpPr>
        <p:spPr bwMode="auto">
          <a:xfrm>
            <a:off x="0" y="195263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/>
          </a:p>
        </p:txBody>
      </p:sp>
      <p:sp>
        <p:nvSpPr>
          <p:cNvPr id="26628" name="Title 3"/>
          <p:cNvSpPr txBox="1">
            <a:spLocks/>
          </p:cNvSpPr>
          <p:nvPr/>
        </p:nvSpPr>
        <p:spPr bwMode="auto">
          <a:xfrm>
            <a:off x="644525" y="4176713"/>
            <a:ext cx="1312863" cy="44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000" b="1"/>
              <a:t>Davide Nicolini</a:t>
            </a:r>
          </a:p>
          <a:p>
            <a:pPr eaLnBrk="1" hangingPunct="1"/>
            <a:r>
              <a:rPr lang="en-US" altLang="en-US" sz="1000"/>
              <a:t>GFP UNHCR/SDC</a:t>
            </a:r>
            <a:endParaRPr lang="en-GB" altLang="en-US" sz="1000"/>
          </a:p>
          <a:p>
            <a:pPr eaLnBrk="1" hangingPunct="1"/>
            <a:endParaRPr lang="en-GB" altLang="en-US" sz="1000"/>
          </a:p>
        </p:txBody>
      </p:sp>
      <p:sp>
        <p:nvSpPr>
          <p:cNvPr id="26629" name="Title 3"/>
          <p:cNvSpPr txBox="1">
            <a:spLocks/>
          </p:cNvSpPr>
          <p:nvPr/>
        </p:nvSpPr>
        <p:spPr bwMode="auto">
          <a:xfrm>
            <a:off x="3479800" y="3907904"/>
            <a:ext cx="124142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000" b="1" dirty="0"/>
              <a:t>Neil Bauman </a:t>
            </a:r>
          </a:p>
          <a:p>
            <a:pPr eaLnBrk="1" hangingPunct="1"/>
            <a:r>
              <a:rPr lang="en-GB" altLang="en-US" sz="1000" dirty="0"/>
              <a:t>GFP IFRC/</a:t>
            </a:r>
            <a:r>
              <a:rPr lang="en-GB" altLang="en-US" sz="1000" dirty="0" err="1"/>
              <a:t>CanRC</a:t>
            </a:r>
            <a:endParaRPr lang="en-GB" altLang="en-US" sz="1000" dirty="0"/>
          </a:p>
          <a:p>
            <a:pPr eaLnBrk="1" hangingPunct="1"/>
            <a:endParaRPr lang="en-US" altLang="en-US" sz="1000" b="1" dirty="0"/>
          </a:p>
          <a:p>
            <a:pPr eaLnBrk="1" hangingPunct="1"/>
            <a:endParaRPr lang="en-GB" altLang="en-US" sz="1000" b="1" dirty="0"/>
          </a:p>
        </p:txBody>
      </p:sp>
      <p:sp>
        <p:nvSpPr>
          <p:cNvPr id="26630" name="Title 3"/>
          <p:cNvSpPr txBox="1">
            <a:spLocks/>
          </p:cNvSpPr>
          <p:nvPr/>
        </p:nvSpPr>
        <p:spPr bwMode="auto">
          <a:xfrm>
            <a:off x="1900238" y="4040188"/>
            <a:ext cx="1241425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000" b="1"/>
              <a:t>Gregg McDonald</a:t>
            </a:r>
          </a:p>
          <a:p>
            <a:pPr eaLnBrk="1" hangingPunct="1"/>
            <a:r>
              <a:rPr lang="en-US" altLang="en-US" sz="1000"/>
              <a:t>GFP UNHCR</a:t>
            </a:r>
            <a:endParaRPr lang="en-GB" altLang="en-US" sz="1000"/>
          </a:p>
          <a:p>
            <a:pPr eaLnBrk="1" hangingPunct="1"/>
            <a:endParaRPr lang="en-GB" altLang="en-US" sz="1000">
              <a:solidFill>
                <a:srgbClr val="7F7F7F"/>
              </a:solidFill>
            </a:endParaRPr>
          </a:p>
        </p:txBody>
      </p:sp>
      <p:sp>
        <p:nvSpPr>
          <p:cNvPr id="26631" name="Title 3"/>
          <p:cNvSpPr txBox="1">
            <a:spLocks/>
          </p:cNvSpPr>
          <p:nvPr/>
        </p:nvSpPr>
        <p:spPr bwMode="auto">
          <a:xfrm>
            <a:off x="654050" y="5651054"/>
            <a:ext cx="1397000" cy="728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000" b="1"/>
              <a:t>Joseph Ashmore</a:t>
            </a:r>
          </a:p>
          <a:p>
            <a:pPr eaLnBrk="1" hangingPunct="1"/>
            <a:r>
              <a:rPr lang="en-US" altLang="en-US" sz="1000"/>
              <a:t>GFP IOM </a:t>
            </a:r>
            <a:r>
              <a:rPr lang="en-US" altLang="en-US" sz="1000" b="1"/>
              <a:t>(80%)</a:t>
            </a:r>
            <a:endParaRPr lang="en-GB" altLang="en-US" sz="1000"/>
          </a:p>
          <a:p>
            <a:pPr eaLnBrk="1" hangingPunct="1"/>
            <a:endParaRPr lang="en-GB" altLang="en-US" sz="1000" b="1"/>
          </a:p>
        </p:txBody>
      </p:sp>
      <p:sp>
        <p:nvSpPr>
          <p:cNvPr id="26632" name="Title 3"/>
          <p:cNvSpPr txBox="1">
            <a:spLocks/>
          </p:cNvSpPr>
          <p:nvPr/>
        </p:nvSpPr>
        <p:spPr bwMode="auto">
          <a:xfrm>
            <a:off x="5743773" y="1988840"/>
            <a:ext cx="1565275" cy="547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000" b="1" dirty="0"/>
              <a:t>Miguel Urquia</a:t>
            </a:r>
          </a:p>
          <a:p>
            <a:pPr eaLnBrk="1" hangingPunct="1"/>
            <a:r>
              <a:rPr lang="en-US" altLang="en-US" sz="1000" dirty="0"/>
              <a:t>Conflict UNHCR</a:t>
            </a:r>
          </a:p>
        </p:txBody>
      </p:sp>
      <p:sp>
        <p:nvSpPr>
          <p:cNvPr id="26633" name="Title 3"/>
          <p:cNvSpPr txBox="1">
            <a:spLocks/>
          </p:cNvSpPr>
          <p:nvPr/>
        </p:nvSpPr>
        <p:spPr bwMode="auto">
          <a:xfrm>
            <a:off x="6920111" y="2052166"/>
            <a:ext cx="1684337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000" b="1"/>
              <a:t>Pablo Medina</a:t>
            </a:r>
          </a:p>
          <a:p>
            <a:pPr eaLnBrk="1" hangingPunct="1"/>
            <a:r>
              <a:rPr lang="en-GB" altLang="en-US" sz="1000"/>
              <a:t>Natural Disasters IFRC</a:t>
            </a:r>
            <a:r>
              <a:rPr lang="en-GB" altLang="en-US" sz="1000" b="1"/>
              <a:t/>
            </a:r>
            <a:br>
              <a:rPr lang="en-GB" altLang="en-US" sz="1000" b="1"/>
            </a:br>
            <a:endParaRPr lang="en-GB" altLang="en-US" sz="1000" b="1"/>
          </a:p>
        </p:txBody>
      </p:sp>
      <p:sp>
        <p:nvSpPr>
          <p:cNvPr id="26634" name="Title 3"/>
          <p:cNvSpPr txBox="1">
            <a:spLocks/>
          </p:cNvSpPr>
          <p:nvPr/>
        </p:nvSpPr>
        <p:spPr bwMode="auto">
          <a:xfrm>
            <a:off x="630238" y="2542480"/>
            <a:ext cx="2511425" cy="598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200" b="1" dirty="0" smtClean="0">
                <a:solidFill>
                  <a:srgbClr val="04314C"/>
                </a:solidFill>
                <a:latin typeface="Verdana" panose="020B0604030504040204" pitchFamily="34" charset="0"/>
              </a:rPr>
              <a:t>Global Focal Points for Coordination</a:t>
            </a:r>
            <a:endParaRPr lang="en-US" altLang="en-US" sz="1200" b="1" dirty="0">
              <a:solidFill>
                <a:srgbClr val="04314C"/>
              </a:solidFill>
              <a:latin typeface="Verdana" panose="020B0604030504040204" pitchFamily="34" charset="0"/>
            </a:endParaRPr>
          </a:p>
        </p:txBody>
      </p:sp>
      <p:sp>
        <p:nvSpPr>
          <p:cNvPr id="26635" name="Title 3"/>
          <p:cNvSpPr txBox="1">
            <a:spLocks/>
          </p:cNvSpPr>
          <p:nvPr/>
        </p:nvSpPr>
        <p:spPr bwMode="auto">
          <a:xfrm>
            <a:off x="6359525" y="3891012"/>
            <a:ext cx="1452563" cy="54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000" b="1" dirty="0" err="1"/>
              <a:t>Shirin</a:t>
            </a:r>
            <a:r>
              <a:rPr lang="en-US" altLang="en-US" sz="1000" b="1" dirty="0"/>
              <a:t> </a:t>
            </a:r>
            <a:r>
              <a:rPr lang="en-US" altLang="en-US" sz="1000" b="1" dirty="0" err="1"/>
              <a:t>Narymbaeva</a:t>
            </a:r>
            <a:endParaRPr lang="en-US" altLang="en-US" sz="1000" b="1" dirty="0"/>
          </a:p>
          <a:p>
            <a:pPr eaLnBrk="1" hangingPunct="1"/>
            <a:r>
              <a:rPr lang="en-GB" altLang="en-US" sz="1000" dirty="0"/>
              <a:t>Website support IFRC</a:t>
            </a:r>
          </a:p>
          <a:p>
            <a:pPr eaLnBrk="1" hangingPunct="1"/>
            <a:endParaRPr lang="en-US" altLang="en-US" sz="1000" b="1" dirty="0"/>
          </a:p>
          <a:p>
            <a:pPr eaLnBrk="1" hangingPunct="1"/>
            <a:endParaRPr lang="en-GB" altLang="en-US" sz="1000" b="1" dirty="0"/>
          </a:p>
        </p:txBody>
      </p:sp>
      <p:grpSp>
        <p:nvGrpSpPr>
          <p:cNvPr id="26636" name="Group 79"/>
          <p:cNvGrpSpPr>
            <a:grpSpLocks/>
          </p:cNvGrpSpPr>
          <p:nvPr/>
        </p:nvGrpSpPr>
        <p:grpSpPr bwMode="auto">
          <a:xfrm>
            <a:off x="3460750" y="4698331"/>
            <a:ext cx="1711325" cy="1755005"/>
            <a:chOff x="1848204" y="4621931"/>
            <a:chExt cx="1711170" cy="1754797"/>
          </a:xfrm>
        </p:grpSpPr>
        <p:pic>
          <p:nvPicPr>
            <p:cNvPr id="26662" name="Picture 80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071" t="7722" b="13988"/>
            <a:stretch>
              <a:fillRect/>
            </a:stretch>
          </p:blipFill>
          <p:spPr bwMode="auto">
            <a:xfrm rot="5400000">
              <a:off x="1833327" y="4726517"/>
              <a:ext cx="1073324" cy="864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6663" name="Title 3"/>
            <p:cNvSpPr txBox="1">
              <a:spLocks/>
            </p:cNvSpPr>
            <p:nvPr/>
          </p:nvSpPr>
          <p:spPr bwMode="auto">
            <a:xfrm>
              <a:off x="1848204" y="5487834"/>
              <a:ext cx="1711170" cy="8888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1000" b="1" dirty="0"/>
                <a:t>Vincent </a:t>
              </a:r>
              <a:r>
                <a:rPr lang="en-US" altLang="en-US" sz="1000" b="1" dirty="0" err="1" smtClean="0"/>
                <a:t>Annoni</a:t>
              </a:r>
              <a:r>
                <a:rPr lang="en-US" altLang="en-US" sz="1000" dirty="0"/>
                <a:t/>
              </a:r>
              <a:br>
                <a:rPr lang="en-US" altLang="en-US" sz="1000" dirty="0"/>
              </a:br>
              <a:r>
                <a:rPr lang="en-US" altLang="en-US" sz="1000" dirty="0"/>
                <a:t>REACH/Impact Initiatives</a:t>
              </a:r>
              <a:endParaRPr lang="en-GB" altLang="en-US" sz="1000" dirty="0"/>
            </a:p>
            <a:p>
              <a:pPr eaLnBrk="1" hangingPunct="1"/>
              <a:endParaRPr lang="en-GB" altLang="en-US" sz="1000" dirty="0">
                <a:solidFill>
                  <a:srgbClr val="7F7F7F"/>
                </a:solidFill>
              </a:endParaRPr>
            </a:p>
          </p:txBody>
        </p:sp>
      </p:grpSp>
      <p:sp>
        <p:nvSpPr>
          <p:cNvPr id="26637" name="Title 3"/>
          <p:cNvSpPr txBox="1">
            <a:spLocks/>
          </p:cNvSpPr>
          <p:nvPr/>
        </p:nvSpPr>
        <p:spPr bwMode="auto">
          <a:xfrm>
            <a:off x="3455988" y="4117754"/>
            <a:ext cx="3489325" cy="598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 b="1" dirty="0">
                <a:solidFill>
                  <a:srgbClr val="04314C"/>
                </a:solidFill>
                <a:latin typeface="Verdana" panose="020B0604030504040204" pitchFamily="34" charset="0"/>
              </a:rPr>
              <a:t>Assessment M&amp;E</a:t>
            </a:r>
          </a:p>
        </p:txBody>
      </p:sp>
      <p:sp>
        <p:nvSpPr>
          <p:cNvPr id="26638" name="Title 3"/>
          <p:cNvSpPr txBox="1">
            <a:spLocks/>
          </p:cNvSpPr>
          <p:nvPr/>
        </p:nvSpPr>
        <p:spPr bwMode="auto">
          <a:xfrm>
            <a:off x="3512419" y="2312786"/>
            <a:ext cx="2396653" cy="598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 b="1" dirty="0">
                <a:solidFill>
                  <a:srgbClr val="04314C"/>
                </a:solidFill>
                <a:latin typeface="Verdana" panose="020B0604030504040204" pitchFamily="34" charset="0"/>
              </a:rPr>
              <a:t>Information Management</a:t>
            </a:r>
          </a:p>
        </p:txBody>
      </p:sp>
      <p:sp>
        <p:nvSpPr>
          <p:cNvPr id="26639" name="Title 3"/>
          <p:cNvSpPr txBox="1">
            <a:spLocks/>
          </p:cNvSpPr>
          <p:nvPr/>
        </p:nvSpPr>
        <p:spPr bwMode="auto">
          <a:xfrm>
            <a:off x="6196013" y="2492896"/>
            <a:ext cx="1616075" cy="657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 b="1" dirty="0">
                <a:solidFill>
                  <a:srgbClr val="04314C"/>
                </a:solidFill>
                <a:latin typeface="Verdana" panose="020B0604030504040204" pitchFamily="34" charset="0"/>
              </a:rPr>
              <a:t>Communication &amp; Advocacy</a:t>
            </a:r>
          </a:p>
          <a:p>
            <a:pPr eaLnBrk="1" hangingPunct="1"/>
            <a:endParaRPr lang="en-US" altLang="en-US" sz="1200" b="1" dirty="0">
              <a:solidFill>
                <a:srgbClr val="04314C"/>
              </a:solidFill>
              <a:latin typeface="Verdana" panose="020B0604030504040204" pitchFamily="34" charset="0"/>
            </a:endParaRPr>
          </a:p>
        </p:txBody>
      </p:sp>
      <p:sp>
        <p:nvSpPr>
          <p:cNvPr id="26640" name="Title 3"/>
          <p:cNvSpPr txBox="1">
            <a:spLocks/>
          </p:cNvSpPr>
          <p:nvPr/>
        </p:nvSpPr>
        <p:spPr bwMode="auto">
          <a:xfrm>
            <a:off x="5203825" y="4179666"/>
            <a:ext cx="2255837" cy="474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200" b="1" dirty="0">
                <a:solidFill>
                  <a:srgbClr val="04314C"/>
                </a:solidFill>
                <a:latin typeface="Verdana" panose="020B0604030504040204" pitchFamily="34" charset="0"/>
              </a:rPr>
              <a:t>Roving Focal Points</a:t>
            </a:r>
          </a:p>
        </p:txBody>
      </p:sp>
      <p:sp>
        <p:nvSpPr>
          <p:cNvPr id="26641" name="Title 3"/>
          <p:cNvSpPr txBox="1">
            <a:spLocks/>
          </p:cNvSpPr>
          <p:nvPr/>
        </p:nvSpPr>
        <p:spPr bwMode="auto">
          <a:xfrm>
            <a:off x="4711700" y="3724546"/>
            <a:ext cx="1492250" cy="687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000" b="1" dirty="0"/>
              <a:t>Bo Hurkmans</a:t>
            </a:r>
            <a:endParaRPr lang="fr-FR" altLang="en-US" sz="1000" b="1" dirty="0"/>
          </a:p>
          <a:p>
            <a:pPr eaLnBrk="1" hangingPunct="1"/>
            <a:r>
              <a:rPr lang="en-GB" altLang="en-US" sz="1000" dirty="0"/>
              <a:t>IMO UNHCR</a:t>
            </a:r>
          </a:p>
          <a:p>
            <a:pPr eaLnBrk="1" hangingPunct="1"/>
            <a:endParaRPr lang="en-GB" altLang="en-US" sz="1000" dirty="0">
              <a:solidFill>
                <a:srgbClr val="7F7F7F"/>
              </a:solidFill>
            </a:endParaRPr>
          </a:p>
        </p:txBody>
      </p:sp>
      <p:sp>
        <p:nvSpPr>
          <p:cNvPr id="26642" name="Title 1"/>
          <p:cNvSpPr>
            <a:spLocks noGrp="1"/>
          </p:cNvSpPr>
          <p:nvPr>
            <p:ph type="title" idx="4294967295"/>
          </p:nvPr>
        </p:nvSpPr>
        <p:spPr>
          <a:xfrm>
            <a:off x="230832" y="-171400"/>
            <a:ext cx="8229600" cy="1143000"/>
          </a:xfrm>
        </p:spPr>
        <p:txBody>
          <a:bodyPr/>
          <a:lstStyle/>
          <a:p>
            <a:r>
              <a:rPr lang="fr-CH" altLang="en-US" dirty="0" smtClean="0">
                <a:hlinkClick r:id="rId4"/>
              </a:rPr>
              <a:t>GSC support team</a:t>
            </a:r>
            <a:endParaRPr lang="en-GB" altLang="en-US" dirty="0" smtClean="0"/>
          </a:p>
        </p:txBody>
      </p:sp>
      <p:pic>
        <p:nvPicPr>
          <p:cNvPr id="26643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6475" y="2823941"/>
            <a:ext cx="769938" cy="958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44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8711" y="1164754"/>
            <a:ext cx="739775" cy="92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45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8211" y="1052736"/>
            <a:ext cx="847725" cy="105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46" name="Picture 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463" y="3013075"/>
            <a:ext cx="869950" cy="108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47" name="Picture 1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463" y="4758879"/>
            <a:ext cx="827087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6648" name="Group 70"/>
          <p:cNvGrpSpPr>
            <a:grpSpLocks/>
          </p:cNvGrpSpPr>
          <p:nvPr/>
        </p:nvGrpSpPr>
        <p:grpSpPr bwMode="auto">
          <a:xfrm>
            <a:off x="7595170" y="4123880"/>
            <a:ext cx="1657350" cy="2088530"/>
            <a:chOff x="6182003" y="543881"/>
            <a:chExt cx="1657202" cy="2088875"/>
          </a:xfrm>
        </p:grpSpPr>
        <p:sp>
          <p:nvSpPr>
            <p:cNvPr id="26660" name="Title 3"/>
            <p:cNvSpPr txBox="1">
              <a:spLocks/>
            </p:cNvSpPr>
            <p:nvPr/>
          </p:nvSpPr>
          <p:spPr bwMode="auto">
            <a:xfrm>
              <a:off x="6208619" y="2117803"/>
              <a:ext cx="1460099" cy="514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1000" b="1"/>
                <a:t>Antanas Jurksaitis</a:t>
              </a:r>
            </a:p>
            <a:p>
              <a:pPr eaLnBrk="1" hangingPunct="1"/>
              <a:r>
                <a:rPr lang="en-US" altLang="en-US" sz="1000"/>
                <a:t>ECHO grant manager UNHCR</a:t>
              </a:r>
              <a:endParaRPr lang="en-GB" altLang="en-US" sz="1000"/>
            </a:p>
            <a:p>
              <a:pPr eaLnBrk="1" hangingPunct="1"/>
              <a:endParaRPr lang="en-GB" altLang="en-US" sz="1000" b="1"/>
            </a:p>
          </p:txBody>
        </p:sp>
        <p:sp>
          <p:nvSpPr>
            <p:cNvPr id="26661" name="Title 3"/>
            <p:cNvSpPr txBox="1">
              <a:spLocks/>
            </p:cNvSpPr>
            <p:nvPr/>
          </p:nvSpPr>
          <p:spPr bwMode="auto">
            <a:xfrm>
              <a:off x="6182003" y="543881"/>
              <a:ext cx="1657202" cy="5984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1200" b="1" dirty="0">
                  <a:solidFill>
                    <a:srgbClr val="04314C"/>
                  </a:solidFill>
                  <a:latin typeface="Verdana" panose="020B0604030504040204" pitchFamily="34" charset="0"/>
                </a:rPr>
                <a:t>Grant Management</a:t>
              </a:r>
            </a:p>
          </p:txBody>
        </p:sp>
      </p:grpSp>
      <p:sp>
        <p:nvSpPr>
          <p:cNvPr id="26649" name="Title 3"/>
          <p:cNvSpPr txBox="1">
            <a:spLocks/>
          </p:cNvSpPr>
          <p:nvPr/>
        </p:nvSpPr>
        <p:spPr bwMode="auto">
          <a:xfrm>
            <a:off x="5226050" y="5765132"/>
            <a:ext cx="1474788" cy="477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000" b="1"/>
              <a:t>Anna Pont</a:t>
            </a:r>
          </a:p>
          <a:p>
            <a:pPr eaLnBrk="1" hangingPunct="1"/>
            <a:r>
              <a:rPr lang="en-US" altLang="en-US" sz="1000"/>
              <a:t>Americas </a:t>
            </a:r>
          </a:p>
          <a:p>
            <a:pPr eaLnBrk="1" hangingPunct="1"/>
            <a:r>
              <a:rPr lang="en-US" altLang="en-US" sz="1000"/>
              <a:t>UN-HABITAT</a:t>
            </a:r>
            <a:endParaRPr lang="en-GB" altLang="en-US" sz="1000"/>
          </a:p>
          <a:p>
            <a:pPr eaLnBrk="1" hangingPunct="1"/>
            <a:endParaRPr lang="en-GB" altLang="en-US" sz="1000" b="1"/>
          </a:p>
        </p:txBody>
      </p:sp>
      <p:sp>
        <p:nvSpPr>
          <p:cNvPr id="26650" name="Title 3"/>
          <p:cNvSpPr txBox="1">
            <a:spLocks/>
          </p:cNvSpPr>
          <p:nvPr/>
        </p:nvSpPr>
        <p:spPr bwMode="auto">
          <a:xfrm>
            <a:off x="6300788" y="5766720"/>
            <a:ext cx="1700212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000" b="1" dirty="0" err="1"/>
              <a:t>Wardell</a:t>
            </a:r>
            <a:r>
              <a:rPr lang="fr-FR" altLang="en-US" sz="1000" b="1" dirty="0"/>
              <a:t> </a:t>
            </a:r>
            <a:r>
              <a:rPr lang="fr-FR" altLang="en-US" sz="1000" b="1" dirty="0" smtClean="0"/>
              <a:t>Eastwood</a:t>
            </a:r>
            <a:endParaRPr lang="fr-FR" altLang="en-US" sz="1000" b="1" dirty="0"/>
          </a:p>
          <a:p>
            <a:pPr eaLnBrk="1" hangingPunct="1"/>
            <a:r>
              <a:rPr lang="en-US" altLang="en-US" sz="1000" dirty="0" err="1"/>
              <a:t>AusRC</a:t>
            </a:r>
            <a:endParaRPr lang="en-GB" altLang="en-US" sz="1000" dirty="0"/>
          </a:p>
          <a:p>
            <a:pPr eaLnBrk="1" hangingPunct="1"/>
            <a:endParaRPr lang="en-GB" altLang="en-US" sz="1000" b="1" dirty="0"/>
          </a:p>
        </p:txBody>
      </p:sp>
      <p:sp>
        <p:nvSpPr>
          <p:cNvPr id="26651" name="Title 3"/>
          <p:cNvSpPr txBox="1">
            <a:spLocks/>
          </p:cNvSpPr>
          <p:nvPr/>
        </p:nvSpPr>
        <p:spPr bwMode="auto">
          <a:xfrm>
            <a:off x="1879600" y="5660579"/>
            <a:ext cx="1397000" cy="728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000" b="1"/>
              <a:t>Tom Bamforth</a:t>
            </a:r>
          </a:p>
          <a:p>
            <a:pPr eaLnBrk="1" hangingPunct="1"/>
            <a:r>
              <a:rPr lang="en-US" altLang="en-US" sz="1000"/>
              <a:t>GFP IFRC </a:t>
            </a:r>
            <a:endParaRPr lang="en-GB" altLang="en-US" sz="1000"/>
          </a:p>
          <a:p>
            <a:pPr eaLnBrk="1" hangingPunct="1"/>
            <a:endParaRPr lang="en-GB" altLang="en-US" sz="1000" b="1"/>
          </a:p>
        </p:txBody>
      </p:sp>
      <p:pic>
        <p:nvPicPr>
          <p:cNvPr id="26652" name="Picture 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3175" y="2903808"/>
            <a:ext cx="879475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54" name="Picture 2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8831" y="4582047"/>
            <a:ext cx="706438" cy="101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55" name="Picture 3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6213" y="4649120"/>
            <a:ext cx="876300" cy="1084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56" name="Picture 40" descr="bo.jp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400" y="2802208"/>
            <a:ext cx="923925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57" name="Picture 42" descr="gregg.jp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9763" y="3046413"/>
            <a:ext cx="914400" cy="99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58" name="Picture 44" descr="tom45.jp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8175" y="4676329"/>
            <a:ext cx="835025" cy="1030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59" name="Picture 45" descr="woody.jp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6988" y="4603082"/>
            <a:ext cx="923925" cy="109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71513" y="1036960"/>
            <a:ext cx="1085850" cy="11811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209800" y="1103564"/>
            <a:ext cx="1228725" cy="1190625"/>
          </a:xfrm>
          <a:prstGeom prst="rect">
            <a:avLst/>
          </a:prstGeom>
        </p:spPr>
      </p:pic>
      <p:sp>
        <p:nvSpPr>
          <p:cNvPr id="42" name="Title 3"/>
          <p:cNvSpPr txBox="1">
            <a:spLocks/>
          </p:cNvSpPr>
          <p:nvPr/>
        </p:nvSpPr>
        <p:spPr bwMode="auto">
          <a:xfrm>
            <a:off x="683568" y="764704"/>
            <a:ext cx="295232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200" b="1" dirty="0" smtClean="0">
                <a:solidFill>
                  <a:srgbClr val="04314C"/>
                </a:solidFill>
                <a:latin typeface="Verdana" panose="020B0604030504040204" pitchFamily="34" charset="0"/>
              </a:rPr>
              <a:t>Global Cluster Coordinators</a:t>
            </a:r>
            <a:endParaRPr lang="en-GB" altLang="en-US" sz="1200" b="1" dirty="0">
              <a:solidFill>
                <a:srgbClr val="04314C"/>
              </a:solidFill>
              <a:latin typeface="Verdana" panose="020B0604030504040204" pitchFamily="34" charset="0"/>
            </a:endParaRPr>
          </a:p>
        </p:txBody>
      </p:sp>
      <p:sp>
        <p:nvSpPr>
          <p:cNvPr id="45" name="Title 3"/>
          <p:cNvSpPr txBox="1">
            <a:spLocks/>
          </p:cNvSpPr>
          <p:nvPr/>
        </p:nvSpPr>
        <p:spPr bwMode="auto">
          <a:xfrm>
            <a:off x="755576" y="2089224"/>
            <a:ext cx="1565275" cy="547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000" b="1" dirty="0" smtClean="0"/>
              <a:t>Graham Saunders</a:t>
            </a:r>
            <a:endParaRPr lang="en-US" altLang="en-US" sz="1000" b="1" dirty="0"/>
          </a:p>
          <a:p>
            <a:pPr eaLnBrk="1" hangingPunct="1"/>
            <a:r>
              <a:rPr lang="en-US" altLang="en-US" sz="1000" dirty="0" smtClean="0"/>
              <a:t>Natural Disasters IFRC</a:t>
            </a:r>
            <a:endParaRPr lang="en-US" altLang="en-US" sz="1000" dirty="0"/>
          </a:p>
        </p:txBody>
      </p:sp>
      <p:sp>
        <p:nvSpPr>
          <p:cNvPr id="46" name="Title 3"/>
          <p:cNvSpPr txBox="1">
            <a:spLocks/>
          </p:cNvSpPr>
          <p:nvPr/>
        </p:nvSpPr>
        <p:spPr bwMode="auto">
          <a:xfrm>
            <a:off x="2286645" y="2132856"/>
            <a:ext cx="1565275" cy="547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000" b="1" dirty="0" smtClean="0"/>
              <a:t>Shaun Scales</a:t>
            </a:r>
            <a:endParaRPr lang="en-US" altLang="en-US" sz="1000" b="1" dirty="0"/>
          </a:p>
          <a:p>
            <a:pPr eaLnBrk="1" hangingPunct="1"/>
            <a:r>
              <a:rPr lang="en-US" altLang="en-US" sz="1000" dirty="0"/>
              <a:t>Conflict UNHCR</a:t>
            </a:r>
          </a:p>
        </p:txBody>
      </p:sp>
    </p:spTree>
    <p:extLst>
      <p:ext uri="{BB962C8B-B14F-4D97-AF65-F5344CB8AC3E}">
        <p14:creationId xmlns:p14="http://schemas.microsoft.com/office/powerpoint/2010/main" val="49386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Cross Cutting Issues and Inter Cluster Coordination">
  <a:themeElements>
    <a:clrScheme name="Shelter Cluster 3 Soft">
      <a:dk1>
        <a:sysClr val="windowText" lastClr="000000"/>
      </a:dk1>
      <a:lt1>
        <a:sysClr val="window" lastClr="FFFFFF"/>
      </a:lt1>
      <a:dk2>
        <a:srgbClr val="04314C"/>
      </a:dk2>
      <a:lt2>
        <a:srgbClr val="F6F6F6"/>
      </a:lt2>
      <a:accent1>
        <a:srgbClr val="365A70"/>
      </a:accent1>
      <a:accent2>
        <a:srgbClr val="FFC133"/>
      </a:accent2>
      <a:accent3>
        <a:srgbClr val="994345"/>
      </a:accent3>
      <a:accent4>
        <a:srgbClr val="84C559"/>
      </a:accent4>
      <a:accent5>
        <a:srgbClr val="FD3333"/>
      </a:accent5>
      <a:accent6>
        <a:srgbClr val="459FD5"/>
      </a:accent6>
      <a:hlink>
        <a:srgbClr val="994345"/>
      </a:hlink>
      <a:folHlink>
        <a:srgbClr val="7030A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69</TotalTime>
  <Words>459</Words>
  <Application>Microsoft Office PowerPoint</Application>
  <PresentationFormat>On-screen Show (4:3)</PresentationFormat>
  <Paragraphs>191</Paragraphs>
  <Slides>22</Slides>
  <Notes>9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3" baseType="lpstr">
      <vt:lpstr>Cross Cutting Issues and Inter Cluster Coordination</vt:lpstr>
      <vt:lpstr>GSC Strategy 2013-2017</vt:lpstr>
      <vt:lpstr>Strategic Aim 1</vt:lpstr>
      <vt:lpstr>PowerPoint Presentation</vt:lpstr>
      <vt:lpstr>Since our last meeting…</vt:lpstr>
      <vt:lpstr>PowerPoint Presentation</vt:lpstr>
      <vt:lpstr>Beneficiaries reached so far in 2015</vt:lpstr>
      <vt:lpstr>In 2014</vt:lpstr>
      <vt:lpstr>Achievements 2014 &amp; 2015</vt:lpstr>
      <vt:lpstr>GSC support team</vt:lpstr>
      <vt:lpstr>PowerPoint Presentation</vt:lpstr>
      <vt:lpstr>Harmonized Surge Capacity</vt:lpstr>
      <vt:lpstr>Assessments, monitoring and evaluations </vt:lpstr>
      <vt:lpstr>Strategic Aim 2</vt:lpstr>
      <vt:lpstr>New sheltercluster.org</vt:lpstr>
      <vt:lpstr>Online training on shelter</vt:lpstr>
      <vt:lpstr>Broader donor base</vt:lpstr>
      <vt:lpstr>Strategic Aim 3</vt:lpstr>
      <vt:lpstr>Posters, video</vt:lpstr>
      <vt:lpstr>Website and Twitter</vt:lpstr>
      <vt:lpstr>Shelter Project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ic Aim 2 and 3</dc:title>
  <dc:creator>Timo</dc:creator>
  <cp:lastModifiedBy>Shirin NARYMBAEVA</cp:lastModifiedBy>
  <cp:revision>126</cp:revision>
  <cp:lastPrinted>2014-09-26T08:49:01Z</cp:lastPrinted>
  <dcterms:created xsi:type="dcterms:W3CDTF">2013-10-25T10:31:45Z</dcterms:created>
  <dcterms:modified xsi:type="dcterms:W3CDTF">2015-10-19T08:10:39Z</dcterms:modified>
</cp:coreProperties>
</file>